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ti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2.xml" ContentType="application/vnd.openxmlformats-officedocument.drawingml.chartshape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notesSlides/notesSlide3.xml" ContentType="application/vnd.openxmlformats-officedocument.presentationml.notesSlide+xml"/>
  <Override PartName="/ppt/comments/comment1.xml" ContentType="application/vnd.openxmlformats-officedocument.presentationml.comment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4.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embedTrueTypeFonts="1">
  <p:sldMasterIdLst>
    <p:sldMasterId id="2147483658" r:id="rId4"/>
  </p:sldMasterIdLst>
  <p:notesMasterIdLst>
    <p:notesMasterId r:id="rId24"/>
  </p:notesMasterIdLst>
  <p:handoutMasterIdLst>
    <p:handoutMasterId r:id="rId25"/>
  </p:handoutMasterIdLst>
  <p:sldIdLst>
    <p:sldId id="403" r:id="rId5"/>
    <p:sldId id="447" r:id="rId6"/>
    <p:sldId id="451" r:id="rId7"/>
    <p:sldId id="452" r:id="rId8"/>
    <p:sldId id="1810" r:id="rId9"/>
    <p:sldId id="262" r:id="rId10"/>
    <p:sldId id="264" r:id="rId11"/>
    <p:sldId id="1862" r:id="rId12"/>
    <p:sldId id="267" r:id="rId13"/>
    <p:sldId id="1856" r:id="rId14"/>
    <p:sldId id="1857" r:id="rId15"/>
    <p:sldId id="1847" r:id="rId16"/>
    <p:sldId id="1852" r:id="rId17"/>
    <p:sldId id="1858" r:id="rId18"/>
    <p:sldId id="1859" r:id="rId19"/>
    <p:sldId id="449" r:id="rId20"/>
    <p:sldId id="1849" r:id="rId21"/>
    <p:sldId id="1860" r:id="rId22"/>
    <p:sldId id="1861" r:id="rId23"/>
  </p:sldIdLst>
  <p:sldSz cx="11963400" cy="6729413"/>
  <p:notesSz cx="6797675" cy="9872663"/>
  <p:embeddedFontLst>
    <p:embeddedFont>
      <p:font typeface="Calibri" panose="020F0502020204030204" pitchFamily="34" charset="0"/>
      <p:regular r:id="rId26"/>
      <p:bold r:id="rId27"/>
      <p:italic r:id="rId28"/>
      <p:boldItalic r:id="rId29"/>
    </p:embeddedFont>
    <p:embeddedFont>
      <p:font typeface="MetaPlusLF" panose="02000503060000020004" pitchFamily="2" charset="-70"/>
      <p:regular r:id="rId30"/>
      <p:bold r:id="rId31"/>
    </p:embeddedFont>
  </p:embeddedFontLst>
  <p:defaultTextStyle>
    <a:defPPr>
      <a:defRPr lang="en-US"/>
    </a:defPPr>
    <a:lvl1pPr algn="l" rtl="0" fontAlgn="base">
      <a:spcBef>
        <a:spcPct val="0"/>
      </a:spcBef>
      <a:spcAft>
        <a:spcPct val="0"/>
      </a:spcAft>
      <a:defRPr kern="1200">
        <a:solidFill>
          <a:schemeClr val="tx1"/>
        </a:solidFill>
        <a:latin typeface="MetaPlusLF" charset="0"/>
        <a:ea typeface="+mn-ea"/>
        <a:cs typeface="MetaPlusLF" charset="0"/>
      </a:defRPr>
    </a:lvl1pPr>
    <a:lvl2pPr marL="457200" algn="l" rtl="0" fontAlgn="base">
      <a:spcBef>
        <a:spcPct val="0"/>
      </a:spcBef>
      <a:spcAft>
        <a:spcPct val="0"/>
      </a:spcAft>
      <a:defRPr kern="1200">
        <a:solidFill>
          <a:schemeClr val="tx1"/>
        </a:solidFill>
        <a:latin typeface="MetaPlusLF" charset="0"/>
        <a:ea typeface="+mn-ea"/>
        <a:cs typeface="MetaPlusLF" charset="0"/>
      </a:defRPr>
    </a:lvl2pPr>
    <a:lvl3pPr marL="914400" algn="l" rtl="0" fontAlgn="base">
      <a:spcBef>
        <a:spcPct val="0"/>
      </a:spcBef>
      <a:spcAft>
        <a:spcPct val="0"/>
      </a:spcAft>
      <a:defRPr kern="1200">
        <a:solidFill>
          <a:schemeClr val="tx1"/>
        </a:solidFill>
        <a:latin typeface="MetaPlusLF" charset="0"/>
        <a:ea typeface="+mn-ea"/>
        <a:cs typeface="MetaPlusLF" charset="0"/>
      </a:defRPr>
    </a:lvl3pPr>
    <a:lvl4pPr marL="1371600" algn="l" rtl="0" fontAlgn="base">
      <a:spcBef>
        <a:spcPct val="0"/>
      </a:spcBef>
      <a:spcAft>
        <a:spcPct val="0"/>
      </a:spcAft>
      <a:defRPr kern="1200">
        <a:solidFill>
          <a:schemeClr val="tx1"/>
        </a:solidFill>
        <a:latin typeface="MetaPlusLF" charset="0"/>
        <a:ea typeface="+mn-ea"/>
        <a:cs typeface="MetaPlusLF" charset="0"/>
      </a:defRPr>
    </a:lvl4pPr>
    <a:lvl5pPr marL="1828800" algn="l" rtl="0" fontAlgn="base">
      <a:spcBef>
        <a:spcPct val="0"/>
      </a:spcBef>
      <a:spcAft>
        <a:spcPct val="0"/>
      </a:spcAft>
      <a:defRPr kern="1200">
        <a:solidFill>
          <a:schemeClr val="tx1"/>
        </a:solidFill>
        <a:latin typeface="MetaPlusLF" charset="0"/>
        <a:ea typeface="+mn-ea"/>
        <a:cs typeface="MetaPlusLF" charset="0"/>
      </a:defRPr>
    </a:lvl5pPr>
    <a:lvl6pPr marL="2286000" algn="l" defTabSz="914400" rtl="0" eaLnBrk="1" latinLnBrk="0" hangingPunct="1">
      <a:defRPr kern="1200">
        <a:solidFill>
          <a:schemeClr val="tx1"/>
        </a:solidFill>
        <a:latin typeface="MetaPlusLF" charset="0"/>
        <a:ea typeface="+mn-ea"/>
        <a:cs typeface="MetaPlusLF" charset="0"/>
      </a:defRPr>
    </a:lvl6pPr>
    <a:lvl7pPr marL="2743200" algn="l" defTabSz="914400" rtl="0" eaLnBrk="1" latinLnBrk="0" hangingPunct="1">
      <a:defRPr kern="1200">
        <a:solidFill>
          <a:schemeClr val="tx1"/>
        </a:solidFill>
        <a:latin typeface="MetaPlusLF" charset="0"/>
        <a:ea typeface="+mn-ea"/>
        <a:cs typeface="MetaPlusLF" charset="0"/>
      </a:defRPr>
    </a:lvl7pPr>
    <a:lvl8pPr marL="3200400" algn="l" defTabSz="914400" rtl="0" eaLnBrk="1" latinLnBrk="0" hangingPunct="1">
      <a:defRPr kern="1200">
        <a:solidFill>
          <a:schemeClr val="tx1"/>
        </a:solidFill>
        <a:latin typeface="MetaPlusLF" charset="0"/>
        <a:ea typeface="+mn-ea"/>
        <a:cs typeface="MetaPlusLF" charset="0"/>
      </a:defRPr>
    </a:lvl8pPr>
    <a:lvl9pPr marL="3657600" algn="l" defTabSz="914400" rtl="0" eaLnBrk="1" latinLnBrk="0" hangingPunct="1">
      <a:defRPr kern="1200">
        <a:solidFill>
          <a:schemeClr val="tx1"/>
        </a:solidFill>
        <a:latin typeface="MetaPlusLF" charset="0"/>
        <a:ea typeface="+mn-ea"/>
        <a:cs typeface="MetaPlusLF" charset="0"/>
      </a:defRPr>
    </a:lvl9pPr>
  </p:defaultTextStyle>
  <p:extLst>
    <p:ext uri="{EFAFB233-063F-42B5-8137-9DF3F51BA10A}">
      <p15:sldGuideLst xmlns:p15="http://schemas.microsoft.com/office/powerpoint/2012/main">
        <p15:guide id="1" pos="3768" userDrawn="1">
          <p15:clr>
            <a:srgbClr val="A4A3A4"/>
          </p15:clr>
        </p15:guide>
        <p15:guide id="2" orient="horz" pos="2845" userDrawn="1">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C8ED"/>
    <a:srgbClr val="878C91"/>
    <a:srgbClr val="DCEBF6"/>
    <a:srgbClr val="D8DCE1"/>
    <a:srgbClr val="AFB9BC"/>
    <a:srgbClr val="F6F6F6"/>
    <a:srgbClr val="E6E6E6"/>
    <a:srgbClr val="9BB4C3"/>
    <a:srgbClr val="BEC3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487817-7D05-476F-8272-00B4946C2A42}" v="202" dt="2021-09-22T11:46:25.086"/>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76" autoAdjust="0"/>
    <p:restoredTop sz="96310" autoAdjust="0"/>
  </p:normalViewPr>
  <p:slideViewPr>
    <p:cSldViewPr>
      <p:cViewPr varScale="1">
        <p:scale>
          <a:sx n="80" d="100"/>
          <a:sy n="80" d="100"/>
        </p:scale>
        <p:origin x="538" y="48"/>
      </p:cViewPr>
      <p:guideLst>
        <p:guide pos="3768"/>
        <p:guide orient="horz" pos="2845"/>
      </p:guideLst>
    </p:cSldViewPr>
  </p:slideViewPr>
  <p:outlineViewPr>
    <p:cViewPr>
      <p:scale>
        <a:sx n="25" d="100"/>
        <a:sy n="25"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3" d="100"/>
          <a:sy n="83" d="100"/>
        </p:scale>
        <p:origin x="2778" y="60"/>
      </p:cViewPr>
      <p:guideLst>
        <p:guide orient="horz" pos="3110"/>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1.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4.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3.fntdata"/><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festo.sharepoint.com/sites/effi/automation/Shared%20Documents/0%20Automation%20Overall/Newsletter/Ingrida4.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festo.sharepoint.com/sites/effi/automation/Shared%20Documents/0%20Automation%20Overall/Newsletter/Ingrida4.xlsx" TargetMode="External"/><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43836147153149"/>
          <c:y val="9.7472536281444061E-2"/>
          <c:w val="0.62465681002205642"/>
          <c:h val="0.76173380020091452"/>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lt-LT"/>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1"/>
          <c:tx>
            <c:strRef>
              <c:f>SUM!$B$3:$C$3</c:f>
              <c:strCache>
                <c:ptCount val="2"/>
                <c:pt idx="0">
                  <c:v>AP01</c:v>
                </c:pt>
                <c:pt idx="1">
                  <c:v>Number of incoming documents</c:v>
                </c:pt>
              </c:strCache>
            </c:strRef>
          </c:tx>
          <c:spPr>
            <a:solidFill>
              <a:schemeClr val="accent2"/>
            </a:solidFill>
            <a:ln>
              <a:noFill/>
            </a:ln>
            <a:effectLst/>
          </c:spPr>
          <c:invertIfNegative val="0"/>
          <c:cat>
            <c:strRef>
              <c:f>SUM!$D$1:$P$1</c:f>
              <c:strCache>
                <c:ptCount val="13"/>
                <c:pt idx="0">
                  <c:v>April 2020</c:v>
                </c:pt>
                <c:pt idx="1">
                  <c:v>May 2020</c:v>
                </c:pt>
                <c:pt idx="2">
                  <c:v>June 2020</c:v>
                </c:pt>
                <c:pt idx="3">
                  <c:v>July 2020</c:v>
                </c:pt>
                <c:pt idx="4">
                  <c:v>August 2020</c:v>
                </c:pt>
                <c:pt idx="5">
                  <c:v>September 2020</c:v>
                </c:pt>
                <c:pt idx="6">
                  <c:v>October 2020</c:v>
                </c:pt>
                <c:pt idx="7">
                  <c:v>November 2020</c:v>
                </c:pt>
                <c:pt idx="8">
                  <c:v>December 2020</c:v>
                </c:pt>
                <c:pt idx="9">
                  <c:v>January 2021</c:v>
                </c:pt>
                <c:pt idx="10">
                  <c:v>February 2021</c:v>
                </c:pt>
                <c:pt idx="11">
                  <c:v>March 2021</c:v>
                </c:pt>
                <c:pt idx="12">
                  <c:v>April 2021</c:v>
                </c:pt>
              </c:strCache>
            </c:strRef>
          </c:cat>
          <c:val>
            <c:numRef>
              <c:f>SUM!$D$3:$P$3</c:f>
              <c:numCache>
                <c:formatCode>General</c:formatCode>
                <c:ptCount val="13"/>
                <c:pt idx="0">
                  <c:v>34812</c:v>
                </c:pt>
                <c:pt idx="1">
                  <c:v>33713</c:v>
                </c:pt>
                <c:pt idx="2">
                  <c:v>32564</c:v>
                </c:pt>
                <c:pt idx="3">
                  <c:v>35636</c:v>
                </c:pt>
                <c:pt idx="4">
                  <c:v>29360</c:v>
                </c:pt>
                <c:pt idx="5">
                  <c:v>34468</c:v>
                </c:pt>
                <c:pt idx="6">
                  <c:v>38413</c:v>
                </c:pt>
                <c:pt idx="7">
                  <c:v>38855</c:v>
                </c:pt>
                <c:pt idx="8">
                  <c:v>35709</c:v>
                </c:pt>
                <c:pt idx="9">
                  <c:v>37251</c:v>
                </c:pt>
                <c:pt idx="10">
                  <c:v>38570</c:v>
                </c:pt>
                <c:pt idx="11">
                  <c:v>42701</c:v>
                </c:pt>
                <c:pt idx="12">
                  <c:v>39870</c:v>
                </c:pt>
              </c:numCache>
            </c:numRef>
          </c:val>
          <c:extLst>
            <c:ext xmlns:c16="http://schemas.microsoft.com/office/drawing/2014/chart" uri="{C3380CC4-5D6E-409C-BE32-E72D297353CC}">
              <c16:uniqueId val="{00000000-3839-4FBA-82F2-39C9595F87FB}"/>
            </c:ext>
          </c:extLst>
        </c:ser>
        <c:dLbls>
          <c:showLegendKey val="0"/>
          <c:showVal val="0"/>
          <c:showCatName val="0"/>
          <c:showSerName val="0"/>
          <c:showPercent val="0"/>
          <c:showBubbleSize val="0"/>
        </c:dLbls>
        <c:gapWidth val="219"/>
        <c:axId val="1330447256"/>
        <c:axId val="1330448568"/>
      </c:barChart>
      <c:lineChart>
        <c:grouping val="standard"/>
        <c:varyColors val="0"/>
        <c:ser>
          <c:idx val="0"/>
          <c:order val="0"/>
          <c:tx>
            <c:strRef>
              <c:f>SUM!$B$2:$C$2</c:f>
              <c:strCache>
                <c:ptCount val="2"/>
                <c:pt idx="0">
                  <c:v> OV01 </c:v>
                </c:pt>
                <c:pt idx="1">
                  <c:v> Total number of FTE in the SSC organisation (AP) </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B0F0"/>
                    </a:solidFill>
                    <a:latin typeface="+mn-lt"/>
                    <a:ea typeface="+mn-ea"/>
                    <a:cs typeface="+mn-cs"/>
                  </a:defRPr>
                </a:pPr>
                <a:endParaRPr lang="lt-L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M!$D$1:$P$1</c:f>
              <c:strCache>
                <c:ptCount val="13"/>
                <c:pt idx="0">
                  <c:v>April 2020</c:v>
                </c:pt>
                <c:pt idx="1">
                  <c:v>May 2020</c:v>
                </c:pt>
                <c:pt idx="2">
                  <c:v>June 2020</c:v>
                </c:pt>
                <c:pt idx="3">
                  <c:v>July 2020</c:v>
                </c:pt>
                <c:pt idx="4">
                  <c:v>August 2020</c:v>
                </c:pt>
                <c:pt idx="5">
                  <c:v>September 2020</c:v>
                </c:pt>
                <c:pt idx="6">
                  <c:v>October 2020</c:v>
                </c:pt>
                <c:pt idx="7">
                  <c:v>November 2020</c:v>
                </c:pt>
                <c:pt idx="8">
                  <c:v>December 2020</c:v>
                </c:pt>
                <c:pt idx="9">
                  <c:v>January 2021</c:v>
                </c:pt>
                <c:pt idx="10">
                  <c:v>February 2021</c:v>
                </c:pt>
                <c:pt idx="11">
                  <c:v>March 2021</c:v>
                </c:pt>
                <c:pt idx="12">
                  <c:v>April 2021</c:v>
                </c:pt>
              </c:strCache>
            </c:strRef>
          </c:cat>
          <c:val>
            <c:numRef>
              <c:f>SUM!$D$2:$P$2</c:f>
              <c:numCache>
                <c:formatCode>_-* #\ ##0.0_-;\-* #\ ##0.0_-;_-* "-"??_-;_-@_-</c:formatCode>
                <c:ptCount val="13"/>
                <c:pt idx="0">
                  <c:v>40.580605581736528</c:v>
                </c:pt>
                <c:pt idx="1">
                  <c:v>39.524061813749995</c:v>
                </c:pt>
                <c:pt idx="2">
                  <c:v>37.9</c:v>
                </c:pt>
                <c:pt idx="3">
                  <c:v>39.042214151442558</c:v>
                </c:pt>
                <c:pt idx="4">
                  <c:v>40.274550000000012</c:v>
                </c:pt>
                <c:pt idx="5">
                  <c:v>34.936050983557422</c:v>
                </c:pt>
                <c:pt idx="6">
                  <c:v>34.927351276704549</c:v>
                </c:pt>
                <c:pt idx="7">
                  <c:v>35.413249384687482</c:v>
                </c:pt>
                <c:pt idx="8">
                  <c:v>35.178167903313259</c:v>
                </c:pt>
                <c:pt idx="9">
                  <c:v>35.931926793298075</c:v>
                </c:pt>
                <c:pt idx="10">
                  <c:v>34.372975850253042</c:v>
                </c:pt>
                <c:pt idx="11">
                  <c:v>35.241558699245672</c:v>
                </c:pt>
                <c:pt idx="12">
                  <c:v>34.865141839155626</c:v>
                </c:pt>
              </c:numCache>
            </c:numRef>
          </c:val>
          <c:smooth val="0"/>
          <c:extLst>
            <c:ext xmlns:c16="http://schemas.microsoft.com/office/drawing/2014/chart" uri="{C3380CC4-5D6E-409C-BE32-E72D297353CC}">
              <c16:uniqueId val="{00000001-3839-4FBA-82F2-39C9595F87FB}"/>
            </c:ext>
          </c:extLst>
        </c:ser>
        <c:dLbls>
          <c:showLegendKey val="0"/>
          <c:showVal val="0"/>
          <c:showCatName val="0"/>
          <c:showSerName val="0"/>
          <c:showPercent val="0"/>
          <c:showBubbleSize val="0"/>
        </c:dLbls>
        <c:marker val="1"/>
        <c:smooth val="0"/>
        <c:axId val="1452603496"/>
        <c:axId val="1452603168"/>
      </c:lineChart>
      <c:catAx>
        <c:axId val="1330447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lt-LT"/>
          </a:p>
        </c:txPr>
        <c:crossAx val="1330448568"/>
        <c:crosses val="autoZero"/>
        <c:auto val="1"/>
        <c:lblAlgn val="ctr"/>
        <c:lblOffset val="100"/>
        <c:noMultiLvlLbl val="0"/>
      </c:catAx>
      <c:valAx>
        <c:axId val="1330448568"/>
        <c:scaling>
          <c:orientation val="minMax"/>
          <c:min val="25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 of document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lt-LT"/>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lt-LT"/>
          </a:p>
        </c:txPr>
        <c:crossAx val="1330447256"/>
        <c:crosses val="autoZero"/>
        <c:crossBetween val="between"/>
      </c:valAx>
      <c:valAx>
        <c:axId val="1452603168"/>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 of FT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lt-LT"/>
            </a:p>
          </c:txPr>
        </c:title>
        <c:numFmt formatCode="_-* #\ ##0.0_-;\-* #\ ##0.0_-;_-* &quot;-&quot;??_-;_-@_-"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lt-LT"/>
          </a:p>
        </c:txPr>
        <c:crossAx val="1452603496"/>
        <c:crosses val="max"/>
        <c:crossBetween val="between"/>
      </c:valAx>
      <c:catAx>
        <c:axId val="1452603496"/>
        <c:scaling>
          <c:orientation val="minMax"/>
        </c:scaling>
        <c:delete val="1"/>
        <c:axPos val="b"/>
        <c:numFmt formatCode="General" sourceLinked="1"/>
        <c:majorTickMark val="out"/>
        <c:minorTickMark val="none"/>
        <c:tickLblPos val="nextTo"/>
        <c:crossAx val="145260316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lt-L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lt-LT"/>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1"/>
          <c:tx>
            <c:strRef>
              <c:f>SUM!$B$7:$C$7</c:f>
              <c:strCache>
                <c:ptCount val="2"/>
                <c:pt idx="0">
                  <c:v>AR03</c:v>
                </c:pt>
                <c:pt idx="1">
                  <c:v>Total Number of incoming and outgoing payments</c:v>
                </c:pt>
              </c:strCache>
            </c:strRef>
          </c:tx>
          <c:spPr>
            <a:solidFill>
              <a:schemeClr val="accent2"/>
            </a:solidFill>
            <a:ln>
              <a:noFill/>
            </a:ln>
            <a:effectLst/>
          </c:spPr>
          <c:invertIfNegative val="0"/>
          <c:cat>
            <c:strRef>
              <c:f>SUM!$D$5:$P$5</c:f>
              <c:strCache>
                <c:ptCount val="13"/>
                <c:pt idx="0">
                  <c:v>April 2020</c:v>
                </c:pt>
                <c:pt idx="1">
                  <c:v>May 2020</c:v>
                </c:pt>
                <c:pt idx="2">
                  <c:v>June 2020</c:v>
                </c:pt>
                <c:pt idx="3">
                  <c:v>July 2020</c:v>
                </c:pt>
                <c:pt idx="4">
                  <c:v>August 2020</c:v>
                </c:pt>
                <c:pt idx="5">
                  <c:v>September 2020</c:v>
                </c:pt>
                <c:pt idx="6">
                  <c:v>October 2020</c:v>
                </c:pt>
                <c:pt idx="7">
                  <c:v>November 2020</c:v>
                </c:pt>
                <c:pt idx="8">
                  <c:v>December 2020</c:v>
                </c:pt>
                <c:pt idx="9">
                  <c:v>January 2021</c:v>
                </c:pt>
                <c:pt idx="10">
                  <c:v>February 2021</c:v>
                </c:pt>
                <c:pt idx="11">
                  <c:v>March 2021</c:v>
                </c:pt>
                <c:pt idx="12">
                  <c:v>April 2021</c:v>
                </c:pt>
              </c:strCache>
            </c:strRef>
          </c:cat>
          <c:val>
            <c:numRef>
              <c:f>SUM!$D$7:$P$7</c:f>
              <c:numCache>
                <c:formatCode>General</c:formatCode>
                <c:ptCount val="13"/>
                <c:pt idx="0">
                  <c:v>86099</c:v>
                </c:pt>
                <c:pt idx="1">
                  <c:v>86242</c:v>
                </c:pt>
                <c:pt idx="2">
                  <c:v>74475</c:v>
                </c:pt>
                <c:pt idx="3">
                  <c:v>85661</c:v>
                </c:pt>
                <c:pt idx="4">
                  <c:v>75054</c:v>
                </c:pt>
                <c:pt idx="5">
                  <c:v>80225</c:v>
                </c:pt>
                <c:pt idx="6">
                  <c:v>87282</c:v>
                </c:pt>
                <c:pt idx="7">
                  <c:v>80258</c:v>
                </c:pt>
                <c:pt idx="8">
                  <c:v>87282</c:v>
                </c:pt>
                <c:pt idx="9">
                  <c:v>71900</c:v>
                </c:pt>
                <c:pt idx="10">
                  <c:v>80911</c:v>
                </c:pt>
                <c:pt idx="11">
                  <c:v>99448</c:v>
                </c:pt>
                <c:pt idx="12">
                  <c:v>94549</c:v>
                </c:pt>
              </c:numCache>
            </c:numRef>
          </c:val>
          <c:extLst>
            <c:ext xmlns:c16="http://schemas.microsoft.com/office/drawing/2014/chart" uri="{C3380CC4-5D6E-409C-BE32-E72D297353CC}">
              <c16:uniqueId val="{00000000-C411-4BD0-92F4-40555B1F05C3}"/>
            </c:ext>
          </c:extLst>
        </c:ser>
        <c:dLbls>
          <c:showLegendKey val="0"/>
          <c:showVal val="0"/>
          <c:showCatName val="0"/>
          <c:showSerName val="0"/>
          <c:showPercent val="0"/>
          <c:showBubbleSize val="0"/>
        </c:dLbls>
        <c:gapWidth val="219"/>
        <c:axId val="1273443632"/>
        <c:axId val="1273447240"/>
      </c:barChart>
      <c:lineChart>
        <c:grouping val="standard"/>
        <c:varyColors val="0"/>
        <c:ser>
          <c:idx val="0"/>
          <c:order val="0"/>
          <c:tx>
            <c:strRef>
              <c:f>SUM!$B$6:$C$6</c:f>
              <c:strCache>
                <c:ptCount val="2"/>
                <c:pt idx="0">
                  <c:v>OV01</c:v>
                </c:pt>
                <c:pt idx="1">
                  <c:v>Total number of FTE in the SSC organisation (AR)</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B0F0"/>
                    </a:solidFill>
                    <a:latin typeface="+mn-lt"/>
                    <a:ea typeface="+mn-ea"/>
                    <a:cs typeface="+mn-cs"/>
                  </a:defRPr>
                </a:pPr>
                <a:endParaRPr lang="lt-L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M!$D$5:$P$5</c:f>
              <c:strCache>
                <c:ptCount val="13"/>
                <c:pt idx="0">
                  <c:v>April 2020</c:v>
                </c:pt>
                <c:pt idx="1">
                  <c:v>May 2020</c:v>
                </c:pt>
                <c:pt idx="2">
                  <c:v>June 2020</c:v>
                </c:pt>
                <c:pt idx="3">
                  <c:v>July 2020</c:v>
                </c:pt>
                <c:pt idx="4">
                  <c:v>August 2020</c:v>
                </c:pt>
                <c:pt idx="5">
                  <c:v>September 2020</c:v>
                </c:pt>
                <c:pt idx="6">
                  <c:v>October 2020</c:v>
                </c:pt>
                <c:pt idx="7">
                  <c:v>November 2020</c:v>
                </c:pt>
                <c:pt idx="8">
                  <c:v>December 2020</c:v>
                </c:pt>
                <c:pt idx="9">
                  <c:v>January 2021</c:v>
                </c:pt>
                <c:pt idx="10">
                  <c:v>February 2021</c:v>
                </c:pt>
                <c:pt idx="11">
                  <c:v>March 2021</c:v>
                </c:pt>
                <c:pt idx="12">
                  <c:v>April 2021</c:v>
                </c:pt>
              </c:strCache>
            </c:strRef>
          </c:cat>
          <c:val>
            <c:numRef>
              <c:f>SUM!$D$6:$P$6</c:f>
              <c:numCache>
                <c:formatCode>_-* #\ ##0.0_-;\-* #\ ##0.0_-;_-* "-"??_-;_-@_-</c:formatCode>
                <c:ptCount val="13"/>
                <c:pt idx="0">
                  <c:v>22.185098601197605</c:v>
                </c:pt>
                <c:pt idx="1">
                  <c:v>20.735296455937497</c:v>
                </c:pt>
                <c:pt idx="2">
                  <c:v>19.22348740421943</c:v>
                </c:pt>
                <c:pt idx="3">
                  <c:v>21.964719137210373</c:v>
                </c:pt>
                <c:pt idx="4">
                  <c:v>21.586500000000004</c:v>
                </c:pt>
                <c:pt idx="5">
                  <c:v>17.341363015058715</c:v>
                </c:pt>
                <c:pt idx="6">
                  <c:v>16.878274639772727</c:v>
                </c:pt>
                <c:pt idx="7">
                  <c:v>16.873090615227269</c:v>
                </c:pt>
                <c:pt idx="8">
                  <c:v>18.197132779518068</c:v>
                </c:pt>
                <c:pt idx="9">
                  <c:v>19.133971602602081</c:v>
                </c:pt>
                <c:pt idx="10">
                  <c:v>19.524760264553741</c:v>
                </c:pt>
                <c:pt idx="11">
                  <c:v>20.631639785400122</c:v>
                </c:pt>
                <c:pt idx="12">
                  <c:v>19.639022074770399</c:v>
                </c:pt>
              </c:numCache>
            </c:numRef>
          </c:val>
          <c:smooth val="0"/>
          <c:extLst>
            <c:ext xmlns:c16="http://schemas.microsoft.com/office/drawing/2014/chart" uri="{C3380CC4-5D6E-409C-BE32-E72D297353CC}">
              <c16:uniqueId val="{00000001-C411-4BD0-92F4-40555B1F05C3}"/>
            </c:ext>
          </c:extLst>
        </c:ser>
        <c:dLbls>
          <c:showLegendKey val="0"/>
          <c:showVal val="0"/>
          <c:showCatName val="0"/>
          <c:showSerName val="0"/>
          <c:showPercent val="0"/>
          <c:showBubbleSize val="0"/>
        </c:dLbls>
        <c:marker val="1"/>
        <c:smooth val="0"/>
        <c:axId val="1452607760"/>
        <c:axId val="1452606120"/>
      </c:lineChart>
      <c:catAx>
        <c:axId val="1273443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lt-LT"/>
          </a:p>
        </c:txPr>
        <c:crossAx val="1273447240"/>
        <c:crosses val="autoZero"/>
        <c:auto val="1"/>
        <c:lblAlgn val="ctr"/>
        <c:lblOffset val="100"/>
        <c:noMultiLvlLbl val="0"/>
      </c:catAx>
      <c:valAx>
        <c:axId val="1273447240"/>
        <c:scaling>
          <c:orientation val="minMax"/>
          <c:min val="60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 of document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lt-LT"/>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lt-LT"/>
          </a:p>
        </c:txPr>
        <c:crossAx val="1273443632"/>
        <c:crosses val="autoZero"/>
        <c:crossBetween val="between"/>
      </c:valAx>
      <c:valAx>
        <c:axId val="1452606120"/>
        <c:scaling>
          <c:orientation val="minMax"/>
          <c:min val="10"/>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a:t>
                </a:r>
                <a:r>
                  <a:rPr lang="en-US" baseline="0"/>
                  <a:t> of FTE</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lt-LT"/>
            </a:p>
          </c:txPr>
        </c:title>
        <c:numFmt formatCode="_-* #\ ##0.0_-;\-* #\ ##0.0_-;_-* &quot;-&quot;??_-;_-@_-"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lt-LT"/>
          </a:p>
        </c:txPr>
        <c:crossAx val="1452607760"/>
        <c:crosses val="max"/>
        <c:crossBetween val="between"/>
      </c:valAx>
      <c:catAx>
        <c:axId val="1452607760"/>
        <c:scaling>
          <c:orientation val="minMax"/>
        </c:scaling>
        <c:delete val="1"/>
        <c:axPos val="b"/>
        <c:numFmt formatCode="General" sourceLinked="1"/>
        <c:majorTickMark val="out"/>
        <c:minorTickMark val="none"/>
        <c:tickLblPos val="nextTo"/>
        <c:crossAx val="145260612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lt-L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lt-L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43836147153149"/>
          <c:y val="9.7472536281444061E-2"/>
          <c:w val="0.62465681002205642"/>
          <c:h val="0.76173380020091452"/>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lt-LT"/>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lt-LT" dirty="0"/>
              <a:t>Atliekamos funkcijos, pagal</a:t>
            </a:r>
            <a:r>
              <a:rPr lang="lt-LT" baseline="0" dirty="0"/>
              <a:t> darbuotojų skaičių</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lt-LT"/>
        </a:p>
      </c:txPr>
    </c:title>
    <c:autoTitleDeleted val="0"/>
    <c:plotArea>
      <c:layout/>
      <c:barChart>
        <c:barDir val="bar"/>
        <c:grouping val="clustered"/>
        <c:varyColors val="0"/>
        <c:ser>
          <c:idx val="0"/>
          <c:order val="0"/>
          <c:tx>
            <c:strRef>
              <c:f>Sheet1!$B$1</c:f>
              <c:strCache>
                <c:ptCount val="1"/>
                <c:pt idx="0">
                  <c:v>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lt-L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Kita</c:v>
                </c:pt>
                <c:pt idx="1">
                  <c:v>RPA</c:v>
                </c:pt>
                <c:pt idx="2">
                  <c:v>Personalo funkcijos</c:v>
                </c:pt>
                <c:pt idx="3">
                  <c:v>Pardavimai ir marketingas</c:v>
                </c:pt>
                <c:pt idx="4">
                  <c:v>Tiekimas  ir pirkimai</c:v>
                </c:pt>
                <c:pt idx="5">
                  <c:v>Inžinerija</c:v>
                </c:pt>
                <c:pt idx="6">
                  <c:v>Finansai ir apskaita</c:v>
                </c:pt>
                <c:pt idx="7">
                  <c:v>Klientų aptarnavimas</c:v>
                </c:pt>
                <c:pt idx="8">
                  <c:v>IT</c:v>
                </c:pt>
              </c:strCache>
            </c:strRef>
          </c:cat>
          <c:val>
            <c:numRef>
              <c:f>Sheet1!$B$2:$B$10</c:f>
              <c:numCache>
                <c:formatCode>0%</c:formatCode>
                <c:ptCount val="9"/>
                <c:pt idx="0">
                  <c:v>0.09</c:v>
                </c:pt>
                <c:pt idx="1">
                  <c:v>0.02</c:v>
                </c:pt>
                <c:pt idx="2">
                  <c:v>0.03</c:v>
                </c:pt>
                <c:pt idx="3">
                  <c:v>0.03</c:v>
                </c:pt>
                <c:pt idx="4">
                  <c:v>0.08</c:v>
                </c:pt>
                <c:pt idx="5">
                  <c:v>0.06</c:v>
                </c:pt>
                <c:pt idx="6">
                  <c:v>0.14000000000000001</c:v>
                </c:pt>
                <c:pt idx="7">
                  <c:v>0.26</c:v>
                </c:pt>
                <c:pt idx="8">
                  <c:v>0.27</c:v>
                </c:pt>
              </c:numCache>
            </c:numRef>
          </c:val>
          <c:extLst>
            <c:ext xmlns:c16="http://schemas.microsoft.com/office/drawing/2014/chart" uri="{C3380CC4-5D6E-409C-BE32-E72D297353CC}">
              <c16:uniqueId val="{00000000-4B81-40A2-9E4E-15FEFE86B47D}"/>
            </c:ext>
          </c:extLst>
        </c:ser>
        <c:dLbls>
          <c:showLegendKey val="0"/>
          <c:showVal val="0"/>
          <c:showCatName val="0"/>
          <c:showSerName val="0"/>
          <c:showPercent val="0"/>
          <c:showBubbleSize val="0"/>
        </c:dLbls>
        <c:gapWidth val="182"/>
        <c:axId val="1231798048"/>
        <c:axId val="1231798376"/>
      </c:barChart>
      <c:catAx>
        <c:axId val="12317980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lt-LT"/>
          </a:p>
        </c:txPr>
        <c:crossAx val="1231798376"/>
        <c:crosses val="autoZero"/>
        <c:auto val="1"/>
        <c:lblAlgn val="ctr"/>
        <c:lblOffset val="100"/>
        <c:noMultiLvlLbl val="0"/>
      </c:catAx>
      <c:valAx>
        <c:axId val="1231798376"/>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2317980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lt-L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2">
        <a:lumMod val="85000"/>
      </a:schemeClr>
    </a:solidFill>
    <a:ln>
      <a:noFill/>
    </a:ln>
    <a:effectLst/>
  </c:spPr>
  <c:txPr>
    <a:bodyPr/>
    <a:lstStyle/>
    <a:p>
      <a:pPr>
        <a:defRPr/>
      </a:pPr>
      <a:endParaRPr lang="lt-LT"/>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43836147153149"/>
          <c:y val="9.7472536281444061E-2"/>
          <c:w val="0.62465681002205642"/>
          <c:h val="0.76173380020091452"/>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lt-LT"/>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43836147153149"/>
          <c:y val="9.7472536281444061E-2"/>
          <c:w val="0.62465681002205642"/>
          <c:h val="0.76173380020091452"/>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lt-L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lt-LT"/>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lt-LT" dirty="0"/>
              <a:t>Atliekamos funkcijos, pagal</a:t>
            </a:r>
            <a:r>
              <a:rPr lang="lt-LT" baseline="0" dirty="0"/>
              <a:t> darbuotojų skaičių</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lt-LT"/>
        </a:p>
      </c:txPr>
    </c:title>
    <c:autoTitleDeleted val="0"/>
    <c:plotArea>
      <c:layout/>
      <c:barChart>
        <c:barDir val="bar"/>
        <c:grouping val="clustered"/>
        <c:varyColors val="0"/>
        <c:ser>
          <c:idx val="0"/>
          <c:order val="0"/>
          <c:tx>
            <c:strRef>
              <c:f>Sheet1!$B$1</c:f>
              <c:strCache>
                <c:ptCount val="1"/>
                <c:pt idx="0">
                  <c:v>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lt-L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Kita</c:v>
                </c:pt>
                <c:pt idx="1">
                  <c:v>Personalo funkcijos</c:v>
                </c:pt>
                <c:pt idx="2">
                  <c:v>Tiekimas  ir pirkimai</c:v>
                </c:pt>
                <c:pt idx="3">
                  <c:v>Admin asistentų paslaugos</c:v>
                </c:pt>
                <c:pt idx="4">
                  <c:v>Inžinerija</c:v>
                </c:pt>
                <c:pt idx="5">
                  <c:v>Finansai ir apskaita</c:v>
                </c:pt>
                <c:pt idx="6">
                  <c:v>IT</c:v>
                </c:pt>
                <c:pt idx="7">
                  <c:v>Pardavimai ir marketingas (RPA)</c:v>
                </c:pt>
              </c:strCache>
            </c:strRef>
          </c:cat>
          <c:val>
            <c:numRef>
              <c:f>Sheet1!$B$2:$B$9</c:f>
              <c:numCache>
                <c:formatCode>0%</c:formatCode>
                <c:ptCount val="8"/>
                <c:pt idx="0">
                  <c:v>0.02</c:v>
                </c:pt>
                <c:pt idx="1">
                  <c:v>0.01</c:v>
                </c:pt>
                <c:pt idx="2">
                  <c:v>0.02</c:v>
                </c:pt>
                <c:pt idx="3">
                  <c:v>0.06</c:v>
                </c:pt>
                <c:pt idx="4">
                  <c:v>0.14000000000000001</c:v>
                </c:pt>
                <c:pt idx="5">
                  <c:v>0.15</c:v>
                </c:pt>
                <c:pt idx="6">
                  <c:v>0.26</c:v>
                </c:pt>
                <c:pt idx="7">
                  <c:v>0.33</c:v>
                </c:pt>
              </c:numCache>
            </c:numRef>
          </c:val>
          <c:extLst>
            <c:ext xmlns:c16="http://schemas.microsoft.com/office/drawing/2014/chart" uri="{C3380CC4-5D6E-409C-BE32-E72D297353CC}">
              <c16:uniqueId val="{00000000-4B81-40A2-9E4E-15FEFE86B47D}"/>
            </c:ext>
          </c:extLst>
        </c:ser>
        <c:ser>
          <c:idx val="1"/>
          <c:order val="1"/>
          <c:tx>
            <c:strRef>
              <c:f>Sheet1!$C$1</c:f>
              <c:strCache>
                <c:ptCount val="1"/>
              </c:strCache>
            </c:strRef>
          </c:tx>
          <c:spPr>
            <a:solidFill>
              <a:schemeClr val="accent2"/>
            </a:solidFill>
            <a:ln>
              <a:noFill/>
            </a:ln>
            <a:effectLst/>
          </c:spPr>
          <c:invertIfNegative val="0"/>
          <c:cat>
            <c:strRef>
              <c:f>Sheet1!$A$2:$A$9</c:f>
              <c:strCache>
                <c:ptCount val="8"/>
                <c:pt idx="0">
                  <c:v>Kita</c:v>
                </c:pt>
                <c:pt idx="1">
                  <c:v>Personalo funkcijos</c:v>
                </c:pt>
                <c:pt idx="2">
                  <c:v>Tiekimas  ir pirkimai</c:v>
                </c:pt>
                <c:pt idx="3">
                  <c:v>Admin asistentų paslaugos</c:v>
                </c:pt>
                <c:pt idx="4">
                  <c:v>Inžinerija</c:v>
                </c:pt>
                <c:pt idx="5">
                  <c:v>Finansai ir apskaita</c:v>
                </c:pt>
                <c:pt idx="6">
                  <c:v>IT</c:v>
                </c:pt>
                <c:pt idx="7">
                  <c:v>Pardavimai ir marketingas (RPA)</c:v>
                </c:pt>
              </c:strCache>
            </c:strRef>
          </c:cat>
          <c:val>
            <c:numRef>
              <c:f>Sheet1!$C$2:$C$9</c:f>
              <c:numCache>
                <c:formatCode>General</c:formatCode>
                <c:ptCount val="8"/>
              </c:numCache>
            </c:numRef>
          </c:val>
          <c:extLst>
            <c:ext xmlns:c16="http://schemas.microsoft.com/office/drawing/2014/chart" uri="{C3380CC4-5D6E-409C-BE32-E72D297353CC}">
              <c16:uniqueId val="{00000001-DCD1-4FCB-9F06-0CCC1617C6C2}"/>
            </c:ext>
          </c:extLst>
        </c:ser>
        <c:dLbls>
          <c:showLegendKey val="0"/>
          <c:showVal val="0"/>
          <c:showCatName val="0"/>
          <c:showSerName val="0"/>
          <c:showPercent val="0"/>
          <c:showBubbleSize val="0"/>
        </c:dLbls>
        <c:gapWidth val="182"/>
        <c:axId val="1231798048"/>
        <c:axId val="1231798376"/>
      </c:barChart>
      <c:catAx>
        <c:axId val="12317980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lt-LT"/>
          </a:p>
        </c:txPr>
        <c:crossAx val="1231798376"/>
        <c:crosses val="autoZero"/>
        <c:auto val="1"/>
        <c:lblAlgn val="ctr"/>
        <c:lblOffset val="100"/>
        <c:noMultiLvlLbl val="0"/>
      </c:catAx>
      <c:valAx>
        <c:axId val="1231798376"/>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2317980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lt-L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2">
        <a:lumMod val="85000"/>
      </a:schemeClr>
    </a:solidFill>
    <a:ln>
      <a:noFill/>
    </a:ln>
    <a:effectLst/>
  </c:spPr>
  <c:txPr>
    <a:bodyPr/>
    <a:lstStyle/>
    <a:p>
      <a:pPr>
        <a:defRPr/>
      </a:pPr>
      <a:endParaRPr lang="lt-LT"/>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43836147153149"/>
          <c:y val="9.7472536281444061E-2"/>
          <c:w val="0.62465681002205642"/>
          <c:h val="0.76173380020091452"/>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lt-LT"/>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43836147153149"/>
          <c:y val="9.7472536281444061E-2"/>
          <c:w val="0.62465681002205642"/>
          <c:h val="0.76173380020091452"/>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lt-L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lt-LT"/>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lt-LT" dirty="0"/>
              <a:t>Atliekamos funkcijos, pagal</a:t>
            </a:r>
            <a:r>
              <a:rPr lang="lt-LT" baseline="0" dirty="0"/>
              <a:t> darbuotojų skaičių</a:t>
            </a:r>
            <a:endParaRPr lang="en-US" dirty="0"/>
          </a:p>
        </c:rich>
      </c:tx>
      <c:layout>
        <c:manualLayout>
          <c:xMode val="edge"/>
          <c:yMode val="edge"/>
          <c:x val="0.19128430792652765"/>
          <c:y val="0.13864695041529265"/>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lt-LT"/>
        </a:p>
      </c:txPr>
    </c:title>
    <c:autoTitleDeleted val="0"/>
    <c:plotArea>
      <c:layout>
        <c:manualLayout>
          <c:layoutTarget val="inner"/>
          <c:xMode val="edge"/>
          <c:yMode val="edge"/>
          <c:x val="0.33283904930490404"/>
          <c:y val="0.22392733407796936"/>
          <c:w val="0.65248553944775101"/>
          <c:h val="0.77607266592203061"/>
        </c:manualLayout>
      </c:layout>
      <c:barChart>
        <c:barDir val="bar"/>
        <c:grouping val="clustered"/>
        <c:varyColors val="0"/>
        <c:ser>
          <c:idx val="0"/>
          <c:order val="0"/>
          <c:tx>
            <c:strRef>
              <c:f>Sheet1!$B$1</c:f>
              <c:strCache>
                <c:ptCount val="1"/>
                <c:pt idx="0">
                  <c:v>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lt-L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Kita</c:v>
                </c:pt>
                <c:pt idx="1">
                  <c:v>Personalo funkcijos</c:v>
                </c:pt>
                <c:pt idx="2">
                  <c:v>Tiekimas  ir pirkimai</c:v>
                </c:pt>
                <c:pt idx="3">
                  <c:v>Admin asistentų paslaugos</c:v>
                </c:pt>
                <c:pt idx="4">
                  <c:v>Inžinerija</c:v>
                </c:pt>
                <c:pt idx="5">
                  <c:v>Finansai ir apskaita</c:v>
                </c:pt>
                <c:pt idx="6">
                  <c:v>IT</c:v>
                </c:pt>
                <c:pt idx="7">
                  <c:v>Pardavimai ir marketingas (RPA)</c:v>
                </c:pt>
              </c:strCache>
            </c:strRef>
          </c:cat>
          <c:val>
            <c:numRef>
              <c:f>Sheet1!$B$2:$B$9</c:f>
              <c:numCache>
                <c:formatCode>0%</c:formatCode>
                <c:ptCount val="8"/>
                <c:pt idx="0">
                  <c:v>0.02</c:v>
                </c:pt>
                <c:pt idx="1">
                  <c:v>0.01</c:v>
                </c:pt>
                <c:pt idx="2">
                  <c:v>0.02</c:v>
                </c:pt>
                <c:pt idx="3">
                  <c:v>0.06</c:v>
                </c:pt>
                <c:pt idx="4">
                  <c:v>0.14000000000000001</c:v>
                </c:pt>
                <c:pt idx="5">
                  <c:v>0.15</c:v>
                </c:pt>
                <c:pt idx="6">
                  <c:v>0.26</c:v>
                </c:pt>
                <c:pt idx="7">
                  <c:v>0.33</c:v>
                </c:pt>
              </c:numCache>
            </c:numRef>
          </c:val>
          <c:extLst>
            <c:ext xmlns:c16="http://schemas.microsoft.com/office/drawing/2014/chart" uri="{C3380CC4-5D6E-409C-BE32-E72D297353CC}">
              <c16:uniqueId val="{00000000-4B81-40A2-9E4E-15FEFE86B47D}"/>
            </c:ext>
          </c:extLst>
        </c:ser>
        <c:dLbls>
          <c:showLegendKey val="0"/>
          <c:showVal val="0"/>
          <c:showCatName val="0"/>
          <c:showSerName val="0"/>
          <c:showPercent val="0"/>
          <c:showBubbleSize val="0"/>
        </c:dLbls>
        <c:gapWidth val="182"/>
        <c:axId val="1231798048"/>
        <c:axId val="1231798376"/>
      </c:barChart>
      <c:catAx>
        <c:axId val="12317980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lt-LT"/>
          </a:p>
        </c:txPr>
        <c:crossAx val="1231798376"/>
        <c:crosses val="autoZero"/>
        <c:auto val="1"/>
        <c:lblAlgn val="ctr"/>
        <c:lblOffset val="100"/>
        <c:noMultiLvlLbl val="0"/>
      </c:catAx>
      <c:valAx>
        <c:axId val="1231798376"/>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2317980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lt-L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2">
        <a:lumMod val="85000"/>
      </a:schemeClr>
    </a:solidFill>
    <a:ln>
      <a:noFill/>
    </a:ln>
    <a:effectLst/>
  </c:spPr>
  <c:txPr>
    <a:bodyPr/>
    <a:lstStyle/>
    <a:p>
      <a:pPr>
        <a:defRPr/>
      </a:pPr>
      <a:endParaRPr lang="lt-LT"/>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2" dt="2021-09-20T20:52:21.312" idx="9">
    <p:pos x="3527" y="3617"/>
    <p:text/>
    <p:extLst>
      <p:ext uri="{C676402C-5697-4E1C-873F-D02D1690AC5C}">
        <p15:threadingInfo xmlns:p15="http://schemas.microsoft.com/office/powerpoint/2012/main" timeZoneBias="-180"/>
      </p:ext>
    </p:extLst>
  </p:cm>
</p: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7F31AF3-75A2-4DBD-ABFA-679E86DE8FCA}" type="doc">
      <dgm:prSet loTypeId="urn:microsoft.com/office/officeart/2005/8/layout/hProcess4" loCatId="process" qsTypeId="urn:microsoft.com/office/officeart/2005/8/quickstyle/simple1" qsCatId="simple" csTypeId="urn:microsoft.com/office/officeart/2005/8/colors/colorful3" csCatId="colorful" phldr="1"/>
      <dgm:spPr/>
      <dgm:t>
        <a:bodyPr/>
        <a:lstStyle/>
        <a:p>
          <a:endParaRPr lang="lt-LT"/>
        </a:p>
      </dgm:t>
    </dgm:pt>
    <dgm:pt modelId="{31DF71B6-14FD-4ED0-A591-8C023EC20C7C}">
      <dgm:prSet phldrT="[Text]"/>
      <dgm:spPr/>
      <dgm:t>
        <a:bodyPr/>
        <a:lstStyle/>
        <a:p>
          <a:r>
            <a:rPr lang="lt-LT" dirty="0"/>
            <a:t>Harmonizavimas ir optimizavimas</a:t>
          </a:r>
        </a:p>
      </dgm:t>
    </dgm:pt>
    <dgm:pt modelId="{CDFABD99-EF4D-4741-B1DC-AF99AFCE0152}" type="parTrans" cxnId="{C7C2CE30-B936-4567-96C5-BBE2C655D41E}">
      <dgm:prSet/>
      <dgm:spPr/>
      <dgm:t>
        <a:bodyPr/>
        <a:lstStyle/>
        <a:p>
          <a:endParaRPr lang="lt-LT"/>
        </a:p>
      </dgm:t>
    </dgm:pt>
    <dgm:pt modelId="{7443D972-6DE1-406C-9570-832504AB13B3}" type="sibTrans" cxnId="{C7C2CE30-B936-4567-96C5-BBE2C655D41E}">
      <dgm:prSet/>
      <dgm:spPr/>
      <dgm:t>
        <a:bodyPr/>
        <a:lstStyle/>
        <a:p>
          <a:endParaRPr lang="lt-LT"/>
        </a:p>
      </dgm:t>
    </dgm:pt>
    <dgm:pt modelId="{CA9C230E-AF6F-45B1-AE79-FA5AD9B00CD9}">
      <dgm:prSet phldrT="[Text]" custT="1"/>
      <dgm:spPr/>
      <dgm:t>
        <a:bodyPr/>
        <a:lstStyle/>
        <a:p>
          <a:r>
            <a:rPr lang="lt-LT" sz="1400" dirty="0"/>
            <a:t>Procesų perkėlimas ir koncentravimas</a:t>
          </a:r>
        </a:p>
      </dgm:t>
    </dgm:pt>
    <dgm:pt modelId="{49709256-26D3-4D29-8DC6-8969C52F288A}" type="parTrans" cxnId="{E758B32F-8C76-4982-8EDF-1F8C785F27D6}">
      <dgm:prSet/>
      <dgm:spPr/>
      <dgm:t>
        <a:bodyPr/>
        <a:lstStyle/>
        <a:p>
          <a:endParaRPr lang="lt-LT"/>
        </a:p>
      </dgm:t>
    </dgm:pt>
    <dgm:pt modelId="{A316433B-B596-416C-A351-C0205AF95CEA}" type="sibTrans" cxnId="{E758B32F-8C76-4982-8EDF-1F8C785F27D6}">
      <dgm:prSet/>
      <dgm:spPr/>
      <dgm:t>
        <a:bodyPr/>
        <a:lstStyle/>
        <a:p>
          <a:endParaRPr lang="lt-LT"/>
        </a:p>
      </dgm:t>
    </dgm:pt>
    <dgm:pt modelId="{45FBA1E7-16D7-4F1E-ADCF-301E11D353CB}">
      <dgm:prSet phldrT="[Text]" custT="1"/>
      <dgm:spPr/>
      <dgm:t>
        <a:bodyPr/>
        <a:lstStyle/>
        <a:p>
          <a:r>
            <a:rPr lang="lt-LT" sz="1400" dirty="0"/>
            <a:t>Procesų Optimizavimas</a:t>
          </a:r>
        </a:p>
      </dgm:t>
    </dgm:pt>
    <dgm:pt modelId="{A4AF9631-73AC-4305-97BC-DCFABD19A2A0}" type="parTrans" cxnId="{A24D5948-C0E6-4F43-8406-B61DDFD7C555}">
      <dgm:prSet/>
      <dgm:spPr/>
      <dgm:t>
        <a:bodyPr/>
        <a:lstStyle/>
        <a:p>
          <a:endParaRPr lang="lt-LT"/>
        </a:p>
      </dgm:t>
    </dgm:pt>
    <dgm:pt modelId="{16C4D89A-97E3-4686-8692-E51ED48C40CD}" type="sibTrans" cxnId="{A24D5948-C0E6-4F43-8406-B61DDFD7C555}">
      <dgm:prSet/>
      <dgm:spPr/>
      <dgm:t>
        <a:bodyPr/>
        <a:lstStyle/>
        <a:p>
          <a:endParaRPr lang="lt-LT"/>
        </a:p>
      </dgm:t>
    </dgm:pt>
    <dgm:pt modelId="{34C92ABA-8050-4BA2-AC55-F4CB764F1845}">
      <dgm:prSet phldrT="[Text]"/>
      <dgm:spPr>
        <a:solidFill>
          <a:schemeClr val="accent6">
            <a:lumMod val="40000"/>
            <a:lumOff val="60000"/>
          </a:schemeClr>
        </a:solidFill>
      </dgm:spPr>
      <dgm:t>
        <a:bodyPr/>
        <a:lstStyle/>
        <a:p>
          <a:r>
            <a:rPr lang="lt-LT" dirty="0"/>
            <a:t>Skaitmeninimas</a:t>
          </a:r>
        </a:p>
      </dgm:t>
    </dgm:pt>
    <dgm:pt modelId="{6E357541-37A5-49E4-82F8-F455EFF864DB}" type="parTrans" cxnId="{70E35E38-6953-4254-948D-FB4C1D55544A}">
      <dgm:prSet/>
      <dgm:spPr/>
      <dgm:t>
        <a:bodyPr/>
        <a:lstStyle/>
        <a:p>
          <a:endParaRPr lang="lt-LT"/>
        </a:p>
      </dgm:t>
    </dgm:pt>
    <dgm:pt modelId="{CF3F04F7-FE2B-4D8F-B57D-B6BAF86AF88F}" type="sibTrans" cxnId="{70E35E38-6953-4254-948D-FB4C1D55544A}">
      <dgm:prSet/>
      <dgm:spPr>
        <a:solidFill>
          <a:schemeClr val="accent6">
            <a:lumMod val="40000"/>
            <a:lumOff val="60000"/>
          </a:schemeClr>
        </a:solidFill>
      </dgm:spPr>
      <dgm:t>
        <a:bodyPr/>
        <a:lstStyle/>
        <a:p>
          <a:endParaRPr lang="lt-LT"/>
        </a:p>
      </dgm:t>
    </dgm:pt>
    <dgm:pt modelId="{813F8136-0F0D-426D-8DE2-A1EE64040B27}">
      <dgm:prSet phldrT="[Text]" custT="1"/>
      <dgm:spPr/>
      <dgm:t>
        <a:bodyPr/>
        <a:lstStyle/>
        <a:p>
          <a:r>
            <a:rPr lang="lt-LT" sz="1400" dirty="0"/>
            <a:t>Automatizavimo mechanizmai</a:t>
          </a:r>
        </a:p>
      </dgm:t>
    </dgm:pt>
    <dgm:pt modelId="{F6656EE5-2063-4DC2-9E5C-A2ECB217EC26}" type="parTrans" cxnId="{ADD0B3FA-D3AE-4274-8ADC-F7011B451DAB}">
      <dgm:prSet/>
      <dgm:spPr/>
      <dgm:t>
        <a:bodyPr/>
        <a:lstStyle/>
        <a:p>
          <a:endParaRPr lang="lt-LT"/>
        </a:p>
      </dgm:t>
    </dgm:pt>
    <dgm:pt modelId="{E571267D-DFD2-4F0A-A359-33E9ACF2A0BE}" type="sibTrans" cxnId="{ADD0B3FA-D3AE-4274-8ADC-F7011B451DAB}">
      <dgm:prSet/>
      <dgm:spPr/>
      <dgm:t>
        <a:bodyPr/>
        <a:lstStyle/>
        <a:p>
          <a:endParaRPr lang="lt-LT"/>
        </a:p>
      </dgm:t>
    </dgm:pt>
    <dgm:pt modelId="{CB9697BA-BC32-4E78-82FE-ED440B5D0C3E}">
      <dgm:prSet phldrT="[Text]" custT="1"/>
      <dgm:spPr/>
      <dgm:t>
        <a:bodyPr/>
        <a:lstStyle/>
        <a:p>
          <a:r>
            <a:rPr lang="lt-LT" sz="1400" dirty="0"/>
            <a:t>RPA ir IA</a:t>
          </a:r>
        </a:p>
      </dgm:t>
    </dgm:pt>
    <dgm:pt modelId="{C3F116C1-29D0-4923-9E1B-5BB566DDF4C2}" type="parTrans" cxnId="{3CFCB10B-5DA3-4992-BCE5-0F65A07D2659}">
      <dgm:prSet/>
      <dgm:spPr/>
      <dgm:t>
        <a:bodyPr/>
        <a:lstStyle/>
        <a:p>
          <a:endParaRPr lang="lt-LT"/>
        </a:p>
      </dgm:t>
    </dgm:pt>
    <dgm:pt modelId="{E3D17AD3-FDF4-4C1F-A525-157067FA521F}" type="sibTrans" cxnId="{3CFCB10B-5DA3-4992-BCE5-0F65A07D2659}">
      <dgm:prSet/>
      <dgm:spPr/>
      <dgm:t>
        <a:bodyPr/>
        <a:lstStyle/>
        <a:p>
          <a:endParaRPr lang="lt-LT"/>
        </a:p>
      </dgm:t>
    </dgm:pt>
    <dgm:pt modelId="{116A681C-0A22-4E7E-AD26-D26CAC2491E5}">
      <dgm:prSet/>
      <dgm:spPr>
        <a:solidFill>
          <a:srgbClr val="7FC8ED"/>
        </a:solidFill>
      </dgm:spPr>
      <dgm:t>
        <a:bodyPr/>
        <a:lstStyle/>
        <a:p>
          <a:r>
            <a:rPr lang="lt-LT" dirty="0"/>
            <a:t>Standartizavimas</a:t>
          </a:r>
        </a:p>
      </dgm:t>
    </dgm:pt>
    <dgm:pt modelId="{5B689F8B-3B5F-43C0-BFFE-C5D5AAB22227}" type="parTrans" cxnId="{AEA2A498-59ED-48E1-87D5-A43C92115FC0}">
      <dgm:prSet/>
      <dgm:spPr/>
      <dgm:t>
        <a:bodyPr/>
        <a:lstStyle/>
        <a:p>
          <a:endParaRPr lang="en-US"/>
        </a:p>
      </dgm:t>
    </dgm:pt>
    <dgm:pt modelId="{FDCD049B-5497-466C-B8C0-55407A4F3D6E}" type="sibTrans" cxnId="{AEA2A498-59ED-48E1-87D5-A43C92115FC0}">
      <dgm:prSet/>
      <dgm:spPr>
        <a:solidFill>
          <a:srgbClr val="7FC8ED"/>
        </a:solidFill>
      </dgm:spPr>
      <dgm:t>
        <a:bodyPr/>
        <a:lstStyle/>
        <a:p>
          <a:endParaRPr lang="en-US"/>
        </a:p>
      </dgm:t>
    </dgm:pt>
    <dgm:pt modelId="{ADD79F3C-41DC-441C-9538-C995E46EA65F}">
      <dgm:prSet phldrT="[Text]"/>
      <dgm:spPr>
        <a:solidFill>
          <a:srgbClr val="878C91"/>
        </a:solidFill>
      </dgm:spPr>
      <dgm:t>
        <a:bodyPr/>
        <a:lstStyle/>
        <a:p>
          <a:r>
            <a:rPr lang="lt-LT" dirty="0"/>
            <a:t>Kas toliau?</a:t>
          </a:r>
        </a:p>
      </dgm:t>
    </dgm:pt>
    <dgm:pt modelId="{59725837-1A37-4534-BE41-17D1D1B2D085}" type="sibTrans" cxnId="{5DA90EB2-F761-477F-8F8D-61C426EC73C3}">
      <dgm:prSet/>
      <dgm:spPr/>
      <dgm:t>
        <a:bodyPr/>
        <a:lstStyle/>
        <a:p>
          <a:endParaRPr lang="lt-LT"/>
        </a:p>
      </dgm:t>
    </dgm:pt>
    <dgm:pt modelId="{79B886D4-11F3-4C89-A548-5CB22BD7725D}" type="parTrans" cxnId="{5DA90EB2-F761-477F-8F8D-61C426EC73C3}">
      <dgm:prSet/>
      <dgm:spPr/>
      <dgm:t>
        <a:bodyPr/>
        <a:lstStyle/>
        <a:p>
          <a:endParaRPr lang="lt-LT"/>
        </a:p>
      </dgm:t>
    </dgm:pt>
    <dgm:pt modelId="{1AF16789-D8FD-400E-A9E4-A94E3DB2A71C}">
      <dgm:prSet custT="1"/>
      <dgm:spPr/>
      <dgm:t>
        <a:bodyPr/>
        <a:lstStyle/>
        <a:p>
          <a:r>
            <a:rPr lang="lt-LT" sz="1400" dirty="0"/>
            <a:t>Procesų taisyklių aprašymas</a:t>
          </a:r>
          <a:endParaRPr lang="en-US" sz="1400" dirty="0"/>
        </a:p>
      </dgm:t>
    </dgm:pt>
    <dgm:pt modelId="{2093C249-F5F9-42FA-9FF0-BCC680D4F607}" type="parTrans" cxnId="{2A90D7CE-E7A9-43FA-B16E-86A6AF4B5164}">
      <dgm:prSet/>
      <dgm:spPr/>
      <dgm:t>
        <a:bodyPr/>
        <a:lstStyle/>
        <a:p>
          <a:endParaRPr lang="en-US"/>
        </a:p>
      </dgm:t>
    </dgm:pt>
    <dgm:pt modelId="{165153C2-7584-4951-9732-FC48B289AE46}" type="sibTrans" cxnId="{2A90D7CE-E7A9-43FA-B16E-86A6AF4B5164}">
      <dgm:prSet/>
      <dgm:spPr/>
      <dgm:t>
        <a:bodyPr/>
        <a:lstStyle/>
        <a:p>
          <a:endParaRPr lang="en-US"/>
        </a:p>
      </dgm:t>
    </dgm:pt>
    <dgm:pt modelId="{F2AEA9D5-B7CF-4346-BA01-C80E67709E52}" type="pres">
      <dgm:prSet presAssocID="{C7F31AF3-75A2-4DBD-ABFA-679E86DE8FCA}" presName="Name0" presStyleCnt="0">
        <dgm:presLayoutVars>
          <dgm:dir/>
          <dgm:animLvl val="lvl"/>
          <dgm:resizeHandles val="exact"/>
        </dgm:presLayoutVars>
      </dgm:prSet>
      <dgm:spPr/>
    </dgm:pt>
    <dgm:pt modelId="{6F49A006-27A4-4AED-9D54-BC024D8EB4C4}" type="pres">
      <dgm:prSet presAssocID="{C7F31AF3-75A2-4DBD-ABFA-679E86DE8FCA}" presName="tSp" presStyleCnt="0"/>
      <dgm:spPr/>
    </dgm:pt>
    <dgm:pt modelId="{3F1F1D8B-FD9F-470C-ABC1-1D3DEB9EDBAF}" type="pres">
      <dgm:prSet presAssocID="{C7F31AF3-75A2-4DBD-ABFA-679E86DE8FCA}" presName="bSp" presStyleCnt="0"/>
      <dgm:spPr/>
    </dgm:pt>
    <dgm:pt modelId="{F992F0E1-048B-4EE8-AD74-EC607993AE78}" type="pres">
      <dgm:prSet presAssocID="{C7F31AF3-75A2-4DBD-ABFA-679E86DE8FCA}" presName="process" presStyleCnt="0"/>
      <dgm:spPr/>
    </dgm:pt>
    <dgm:pt modelId="{4E47CA8D-7A3C-48C0-B482-A0965D6EE4A4}" type="pres">
      <dgm:prSet presAssocID="{31DF71B6-14FD-4ED0-A591-8C023EC20C7C}" presName="composite1" presStyleCnt="0"/>
      <dgm:spPr/>
    </dgm:pt>
    <dgm:pt modelId="{6E0F7B81-5B66-42CA-8509-71F25859965E}" type="pres">
      <dgm:prSet presAssocID="{31DF71B6-14FD-4ED0-A591-8C023EC20C7C}" presName="dummyNode1" presStyleLbl="node1" presStyleIdx="0" presStyleCnt="4"/>
      <dgm:spPr/>
    </dgm:pt>
    <dgm:pt modelId="{18028CA3-63FB-4E5A-85A7-D961B5977594}" type="pres">
      <dgm:prSet presAssocID="{31DF71B6-14FD-4ED0-A591-8C023EC20C7C}" presName="childNode1" presStyleLbl="bgAcc1" presStyleIdx="0" presStyleCnt="4" custScaleX="116271" custLinFactNeighborX="-4948" custLinFactNeighborY="-3941">
        <dgm:presLayoutVars>
          <dgm:bulletEnabled val="1"/>
        </dgm:presLayoutVars>
      </dgm:prSet>
      <dgm:spPr/>
    </dgm:pt>
    <dgm:pt modelId="{E90DBF1B-85C4-4574-93FF-0307DA8EBC6E}" type="pres">
      <dgm:prSet presAssocID="{31DF71B6-14FD-4ED0-A591-8C023EC20C7C}" presName="childNode1tx" presStyleLbl="bgAcc1" presStyleIdx="0" presStyleCnt="4">
        <dgm:presLayoutVars>
          <dgm:bulletEnabled val="1"/>
        </dgm:presLayoutVars>
      </dgm:prSet>
      <dgm:spPr/>
    </dgm:pt>
    <dgm:pt modelId="{423428AD-A828-46D1-ADBD-B3ACD8E85C29}" type="pres">
      <dgm:prSet presAssocID="{31DF71B6-14FD-4ED0-A591-8C023EC20C7C}" presName="parentNode1" presStyleLbl="node1" presStyleIdx="0" presStyleCnt="4" custLinFactNeighborX="2362" custLinFactNeighborY="14112">
        <dgm:presLayoutVars>
          <dgm:chMax val="1"/>
          <dgm:bulletEnabled val="1"/>
        </dgm:presLayoutVars>
      </dgm:prSet>
      <dgm:spPr/>
    </dgm:pt>
    <dgm:pt modelId="{EA4D0DC7-B6D9-4B69-AAFA-13ADB90050C8}" type="pres">
      <dgm:prSet presAssocID="{31DF71B6-14FD-4ED0-A591-8C023EC20C7C}" presName="connSite1" presStyleCnt="0"/>
      <dgm:spPr/>
    </dgm:pt>
    <dgm:pt modelId="{2B013BDD-391C-44D3-A4AD-28FA08C96504}" type="pres">
      <dgm:prSet presAssocID="{7443D972-6DE1-406C-9570-832504AB13B3}" presName="Name9" presStyleLbl="sibTrans2D1" presStyleIdx="0" presStyleCnt="3"/>
      <dgm:spPr/>
    </dgm:pt>
    <dgm:pt modelId="{DC2C65B8-EA13-4E6C-93D9-2B565B53BA2C}" type="pres">
      <dgm:prSet presAssocID="{116A681C-0A22-4E7E-AD26-D26CAC2491E5}" presName="composite2" presStyleCnt="0"/>
      <dgm:spPr/>
    </dgm:pt>
    <dgm:pt modelId="{CB990CD6-3C8F-486D-B688-9142A4CE0B56}" type="pres">
      <dgm:prSet presAssocID="{116A681C-0A22-4E7E-AD26-D26CAC2491E5}" presName="dummyNode2" presStyleLbl="node1" presStyleIdx="0" presStyleCnt="4"/>
      <dgm:spPr/>
    </dgm:pt>
    <dgm:pt modelId="{AFFEDEC3-5B3F-449C-B1FC-22FF20293397}" type="pres">
      <dgm:prSet presAssocID="{116A681C-0A22-4E7E-AD26-D26CAC2491E5}" presName="childNode2" presStyleLbl="bgAcc1" presStyleIdx="1" presStyleCnt="4" custScaleX="115957">
        <dgm:presLayoutVars>
          <dgm:bulletEnabled val="1"/>
        </dgm:presLayoutVars>
      </dgm:prSet>
      <dgm:spPr/>
    </dgm:pt>
    <dgm:pt modelId="{C10FA11D-27C8-4EB9-9C72-2B905EC27781}" type="pres">
      <dgm:prSet presAssocID="{116A681C-0A22-4E7E-AD26-D26CAC2491E5}" presName="childNode2tx" presStyleLbl="bgAcc1" presStyleIdx="1" presStyleCnt="4">
        <dgm:presLayoutVars>
          <dgm:bulletEnabled val="1"/>
        </dgm:presLayoutVars>
      </dgm:prSet>
      <dgm:spPr/>
    </dgm:pt>
    <dgm:pt modelId="{F6FE2127-9FF8-455F-8A58-29F6A0F79A93}" type="pres">
      <dgm:prSet presAssocID="{116A681C-0A22-4E7E-AD26-D26CAC2491E5}" presName="parentNode2" presStyleLbl="node1" presStyleIdx="1" presStyleCnt="4">
        <dgm:presLayoutVars>
          <dgm:chMax val="0"/>
          <dgm:bulletEnabled val="1"/>
        </dgm:presLayoutVars>
      </dgm:prSet>
      <dgm:spPr/>
    </dgm:pt>
    <dgm:pt modelId="{B679853A-6E96-4209-9CE6-46DF5E8C1C72}" type="pres">
      <dgm:prSet presAssocID="{116A681C-0A22-4E7E-AD26-D26CAC2491E5}" presName="connSite2" presStyleCnt="0"/>
      <dgm:spPr/>
    </dgm:pt>
    <dgm:pt modelId="{7338E379-6E17-478C-A3EC-1DE1D2180B5F}" type="pres">
      <dgm:prSet presAssocID="{FDCD049B-5497-466C-B8C0-55407A4F3D6E}" presName="Name18" presStyleLbl="sibTrans2D1" presStyleIdx="1" presStyleCnt="3"/>
      <dgm:spPr/>
    </dgm:pt>
    <dgm:pt modelId="{53F470F7-5397-482A-93B2-2D93D3F05E7E}" type="pres">
      <dgm:prSet presAssocID="{34C92ABA-8050-4BA2-AC55-F4CB764F1845}" presName="composite1" presStyleCnt="0"/>
      <dgm:spPr/>
    </dgm:pt>
    <dgm:pt modelId="{64D81926-F00E-445D-BD2F-ACDEE0951F15}" type="pres">
      <dgm:prSet presAssocID="{34C92ABA-8050-4BA2-AC55-F4CB764F1845}" presName="dummyNode1" presStyleLbl="node1" presStyleIdx="1" presStyleCnt="4"/>
      <dgm:spPr/>
    </dgm:pt>
    <dgm:pt modelId="{F5437329-A4FF-4481-BD83-97F6816E8DF6}" type="pres">
      <dgm:prSet presAssocID="{34C92ABA-8050-4BA2-AC55-F4CB764F1845}" presName="childNode1" presStyleLbl="bgAcc1" presStyleIdx="2" presStyleCnt="4" custScaleX="115800">
        <dgm:presLayoutVars>
          <dgm:bulletEnabled val="1"/>
        </dgm:presLayoutVars>
      </dgm:prSet>
      <dgm:spPr/>
    </dgm:pt>
    <dgm:pt modelId="{DB60AC14-9B8B-4C58-B347-D37519DBA55B}" type="pres">
      <dgm:prSet presAssocID="{34C92ABA-8050-4BA2-AC55-F4CB764F1845}" presName="childNode1tx" presStyleLbl="bgAcc1" presStyleIdx="2" presStyleCnt="4">
        <dgm:presLayoutVars>
          <dgm:bulletEnabled val="1"/>
        </dgm:presLayoutVars>
      </dgm:prSet>
      <dgm:spPr/>
    </dgm:pt>
    <dgm:pt modelId="{D52BD8B3-5EBC-47A0-A5E1-084377DA13ED}" type="pres">
      <dgm:prSet presAssocID="{34C92ABA-8050-4BA2-AC55-F4CB764F1845}" presName="parentNode1" presStyleLbl="node1" presStyleIdx="2" presStyleCnt="4">
        <dgm:presLayoutVars>
          <dgm:chMax val="1"/>
          <dgm:bulletEnabled val="1"/>
        </dgm:presLayoutVars>
      </dgm:prSet>
      <dgm:spPr/>
    </dgm:pt>
    <dgm:pt modelId="{0C3E44E5-E40A-4A16-A2A5-D15786579D9A}" type="pres">
      <dgm:prSet presAssocID="{34C92ABA-8050-4BA2-AC55-F4CB764F1845}" presName="connSite1" presStyleCnt="0"/>
      <dgm:spPr/>
    </dgm:pt>
    <dgm:pt modelId="{29E7380C-D149-43B9-A9DD-2192B4F07B9A}" type="pres">
      <dgm:prSet presAssocID="{CF3F04F7-FE2B-4D8F-B57D-B6BAF86AF88F}" presName="Name9" presStyleLbl="sibTrans2D1" presStyleIdx="2" presStyleCnt="3"/>
      <dgm:spPr/>
    </dgm:pt>
    <dgm:pt modelId="{EFDEB0B8-45C3-48A3-A166-685D26A58F83}" type="pres">
      <dgm:prSet presAssocID="{ADD79F3C-41DC-441C-9538-C995E46EA65F}" presName="composite2" presStyleCnt="0"/>
      <dgm:spPr/>
    </dgm:pt>
    <dgm:pt modelId="{638D5383-A77E-48B6-8B14-4DF48FC28D82}" type="pres">
      <dgm:prSet presAssocID="{ADD79F3C-41DC-441C-9538-C995E46EA65F}" presName="dummyNode2" presStyleLbl="node1" presStyleIdx="2" presStyleCnt="4"/>
      <dgm:spPr/>
    </dgm:pt>
    <dgm:pt modelId="{148DBE3B-C4E3-4BFB-B6BB-6EE8D2156DF0}" type="pres">
      <dgm:prSet presAssocID="{ADD79F3C-41DC-441C-9538-C995E46EA65F}" presName="childNode2" presStyleLbl="bgAcc1" presStyleIdx="3" presStyleCnt="4" custScaleX="104610">
        <dgm:presLayoutVars>
          <dgm:bulletEnabled val="1"/>
        </dgm:presLayoutVars>
      </dgm:prSet>
      <dgm:spPr/>
    </dgm:pt>
    <dgm:pt modelId="{53C9308C-73CA-4002-9BF1-D9F0568E1C64}" type="pres">
      <dgm:prSet presAssocID="{ADD79F3C-41DC-441C-9538-C995E46EA65F}" presName="childNode2tx" presStyleLbl="bgAcc1" presStyleIdx="3" presStyleCnt="4">
        <dgm:presLayoutVars>
          <dgm:bulletEnabled val="1"/>
        </dgm:presLayoutVars>
      </dgm:prSet>
      <dgm:spPr/>
    </dgm:pt>
    <dgm:pt modelId="{CF4E95AE-8145-4D89-B4E1-2C6F0185921C}" type="pres">
      <dgm:prSet presAssocID="{ADD79F3C-41DC-441C-9538-C995E46EA65F}" presName="parentNode2" presStyleLbl="node1" presStyleIdx="3" presStyleCnt="4">
        <dgm:presLayoutVars>
          <dgm:chMax val="0"/>
          <dgm:bulletEnabled val="1"/>
        </dgm:presLayoutVars>
      </dgm:prSet>
      <dgm:spPr/>
    </dgm:pt>
    <dgm:pt modelId="{7ACFD725-C9D4-4326-B5F7-F299161B134F}" type="pres">
      <dgm:prSet presAssocID="{ADD79F3C-41DC-441C-9538-C995E46EA65F}" presName="connSite2" presStyleCnt="0"/>
      <dgm:spPr/>
    </dgm:pt>
  </dgm:ptLst>
  <dgm:cxnLst>
    <dgm:cxn modelId="{3CFCB10B-5DA3-4992-BCE5-0F65A07D2659}" srcId="{34C92ABA-8050-4BA2-AC55-F4CB764F1845}" destId="{CB9697BA-BC32-4E78-82FE-ED440B5D0C3E}" srcOrd="1" destOrd="0" parTransId="{C3F116C1-29D0-4923-9E1B-5BB566DDF4C2}" sibTransId="{E3D17AD3-FDF4-4C1F-A525-157067FA521F}"/>
    <dgm:cxn modelId="{7B83B80D-45FE-46A2-AD9B-BC14ACB80C5B}" type="presOf" srcId="{31DF71B6-14FD-4ED0-A591-8C023EC20C7C}" destId="{423428AD-A828-46D1-ADBD-B3ACD8E85C29}" srcOrd="0" destOrd="0" presId="urn:microsoft.com/office/officeart/2005/8/layout/hProcess4"/>
    <dgm:cxn modelId="{08BFDE1C-0D91-4882-9055-CF6085A77B11}" type="presOf" srcId="{813F8136-0F0D-426D-8DE2-A1EE64040B27}" destId="{DB60AC14-9B8B-4C58-B347-D37519DBA55B}" srcOrd="1" destOrd="0" presId="urn:microsoft.com/office/officeart/2005/8/layout/hProcess4"/>
    <dgm:cxn modelId="{E758B32F-8C76-4982-8EDF-1F8C785F27D6}" srcId="{31DF71B6-14FD-4ED0-A591-8C023EC20C7C}" destId="{CA9C230E-AF6F-45B1-AE79-FA5AD9B00CD9}" srcOrd="0" destOrd="0" parTransId="{49709256-26D3-4D29-8DC6-8969C52F288A}" sibTransId="{A316433B-B596-416C-A351-C0205AF95CEA}"/>
    <dgm:cxn modelId="{C7C2CE30-B936-4567-96C5-BBE2C655D41E}" srcId="{C7F31AF3-75A2-4DBD-ABFA-679E86DE8FCA}" destId="{31DF71B6-14FD-4ED0-A591-8C023EC20C7C}" srcOrd="0" destOrd="0" parTransId="{CDFABD99-EF4D-4741-B1DC-AF99AFCE0152}" sibTransId="{7443D972-6DE1-406C-9570-832504AB13B3}"/>
    <dgm:cxn modelId="{70E35E38-6953-4254-948D-FB4C1D55544A}" srcId="{C7F31AF3-75A2-4DBD-ABFA-679E86DE8FCA}" destId="{34C92ABA-8050-4BA2-AC55-F4CB764F1845}" srcOrd="2" destOrd="0" parTransId="{6E357541-37A5-49E4-82F8-F455EFF864DB}" sibTransId="{CF3F04F7-FE2B-4D8F-B57D-B6BAF86AF88F}"/>
    <dgm:cxn modelId="{3564745B-3778-43F1-B1AC-1769E7EA8883}" type="presOf" srcId="{1AF16789-D8FD-400E-A9E4-A94E3DB2A71C}" destId="{AFFEDEC3-5B3F-449C-B1FC-22FF20293397}" srcOrd="0" destOrd="0" presId="urn:microsoft.com/office/officeart/2005/8/layout/hProcess4"/>
    <dgm:cxn modelId="{58957646-5573-4763-93E1-57A3D311A4C0}" type="presOf" srcId="{CF3F04F7-FE2B-4D8F-B57D-B6BAF86AF88F}" destId="{29E7380C-D149-43B9-A9DD-2192B4F07B9A}" srcOrd="0" destOrd="0" presId="urn:microsoft.com/office/officeart/2005/8/layout/hProcess4"/>
    <dgm:cxn modelId="{A24D5948-C0E6-4F43-8406-B61DDFD7C555}" srcId="{31DF71B6-14FD-4ED0-A591-8C023EC20C7C}" destId="{45FBA1E7-16D7-4F1E-ADCF-301E11D353CB}" srcOrd="1" destOrd="0" parTransId="{A4AF9631-73AC-4305-97BC-DCFABD19A2A0}" sibTransId="{16C4D89A-97E3-4686-8692-E51ED48C40CD}"/>
    <dgm:cxn modelId="{E497AC48-81A3-4206-8100-A404D412FFC1}" type="presOf" srcId="{CB9697BA-BC32-4E78-82FE-ED440B5D0C3E}" destId="{F5437329-A4FF-4481-BD83-97F6816E8DF6}" srcOrd="0" destOrd="1" presId="urn:microsoft.com/office/officeart/2005/8/layout/hProcess4"/>
    <dgm:cxn modelId="{1CB5076A-0988-42B0-A58B-996A0D7CF189}" type="presOf" srcId="{CA9C230E-AF6F-45B1-AE79-FA5AD9B00CD9}" destId="{18028CA3-63FB-4E5A-85A7-D961B5977594}" srcOrd="0" destOrd="0" presId="urn:microsoft.com/office/officeart/2005/8/layout/hProcess4"/>
    <dgm:cxn modelId="{96792C6A-6B67-41E9-9A39-04A720D5976C}" type="presOf" srcId="{45FBA1E7-16D7-4F1E-ADCF-301E11D353CB}" destId="{18028CA3-63FB-4E5A-85A7-D961B5977594}" srcOrd="0" destOrd="1" presId="urn:microsoft.com/office/officeart/2005/8/layout/hProcess4"/>
    <dgm:cxn modelId="{3D3A8971-1CCF-4217-B9CC-034175BF558D}" type="presOf" srcId="{116A681C-0A22-4E7E-AD26-D26CAC2491E5}" destId="{F6FE2127-9FF8-455F-8A58-29F6A0F79A93}" srcOrd="0" destOrd="0" presId="urn:microsoft.com/office/officeart/2005/8/layout/hProcess4"/>
    <dgm:cxn modelId="{9A16D552-EE65-4A58-8368-C62DDEFD87A9}" type="presOf" srcId="{CB9697BA-BC32-4E78-82FE-ED440B5D0C3E}" destId="{DB60AC14-9B8B-4C58-B347-D37519DBA55B}" srcOrd="1" destOrd="1" presId="urn:microsoft.com/office/officeart/2005/8/layout/hProcess4"/>
    <dgm:cxn modelId="{AEA2A498-59ED-48E1-87D5-A43C92115FC0}" srcId="{C7F31AF3-75A2-4DBD-ABFA-679E86DE8FCA}" destId="{116A681C-0A22-4E7E-AD26-D26CAC2491E5}" srcOrd="1" destOrd="0" parTransId="{5B689F8B-3B5F-43C0-BFFE-C5D5AAB22227}" sibTransId="{FDCD049B-5497-466C-B8C0-55407A4F3D6E}"/>
    <dgm:cxn modelId="{4BD3919A-3A1C-459E-B655-033CEA62776A}" type="presOf" srcId="{7443D972-6DE1-406C-9570-832504AB13B3}" destId="{2B013BDD-391C-44D3-A4AD-28FA08C96504}" srcOrd="0" destOrd="0" presId="urn:microsoft.com/office/officeart/2005/8/layout/hProcess4"/>
    <dgm:cxn modelId="{6718CF9D-EFC3-45F8-B34D-5B87B41757C9}" type="presOf" srcId="{CA9C230E-AF6F-45B1-AE79-FA5AD9B00CD9}" destId="{E90DBF1B-85C4-4574-93FF-0307DA8EBC6E}" srcOrd="1" destOrd="0" presId="urn:microsoft.com/office/officeart/2005/8/layout/hProcess4"/>
    <dgm:cxn modelId="{67111CA7-CF4D-449E-90C9-17F7219196D2}" type="presOf" srcId="{FDCD049B-5497-466C-B8C0-55407A4F3D6E}" destId="{7338E379-6E17-478C-A3EC-1DE1D2180B5F}" srcOrd="0" destOrd="0" presId="urn:microsoft.com/office/officeart/2005/8/layout/hProcess4"/>
    <dgm:cxn modelId="{7B3AD3B1-9B48-43C4-BAB4-ECB0D3E69DBD}" type="presOf" srcId="{45FBA1E7-16D7-4F1E-ADCF-301E11D353CB}" destId="{E90DBF1B-85C4-4574-93FF-0307DA8EBC6E}" srcOrd="1" destOrd="1" presId="urn:microsoft.com/office/officeart/2005/8/layout/hProcess4"/>
    <dgm:cxn modelId="{5DA90EB2-F761-477F-8F8D-61C426EC73C3}" srcId="{C7F31AF3-75A2-4DBD-ABFA-679E86DE8FCA}" destId="{ADD79F3C-41DC-441C-9538-C995E46EA65F}" srcOrd="3" destOrd="0" parTransId="{79B886D4-11F3-4C89-A548-5CB22BD7725D}" sibTransId="{59725837-1A37-4534-BE41-17D1D1B2D085}"/>
    <dgm:cxn modelId="{89FA57BA-6884-490F-81C0-4BF72B75B3A3}" type="presOf" srcId="{ADD79F3C-41DC-441C-9538-C995E46EA65F}" destId="{CF4E95AE-8145-4D89-B4E1-2C6F0185921C}" srcOrd="0" destOrd="0" presId="urn:microsoft.com/office/officeart/2005/8/layout/hProcess4"/>
    <dgm:cxn modelId="{2A90D7CE-E7A9-43FA-B16E-86A6AF4B5164}" srcId="{116A681C-0A22-4E7E-AD26-D26CAC2491E5}" destId="{1AF16789-D8FD-400E-A9E4-A94E3DB2A71C}" srcOrd="0" destOrd="0" parTransId="{2093C249-F5F9-42FA-9FF0-BCC680D4F607}" sibTransId="{165153C2-7584-4951-9732-FC48B289AE46}"/>
    <dgm:cxn modelId="{80A212DF-C165-4CBD-AAA4-292ED163F77E}" type="presOf" srcId="{813F8136-0F0D-426D-8DE2-A1EE64040B27}" destId="{F5437329-A4FF-4481-BD83-97F6816E8DF6}" srcOrd="0" destOrd="0" presId="urn:microsoft.com/office/officeart/2005/8/layout/hProcess4"/>
    <dgm:cxn modelId="{85662CE9-7A57-4E10-A408-1871F8FD780B}" type="presOf" srcId="{C7F31AF3-75A2-4DBD-ABFA-679E86DE8FCA}" destId="{F2AEA9D5-B7CF-4346-BA01-C80E67709E52}" srcOrd="0" destOrd="0" presId="urn:microsoft.com/office/officeart/2005/8/layout/hProcess4"/>
    <dgm:cxn modelId="{9E4842E9-805D-4EDB-85EC-AFB9E10815B9}" type="presOf" srcId="{1AF16789-D8FD-400E-A9E4-A94E3DB2A71C}" destId="{C10FA11D-27C8-4EB9-9C72-2B905EC27781}" srcOrd="1" destOrd="0" presId="urn:microsoft.com/office/officeart/2005/8/layout/hProcess4"/>
    <dgm:cxn modelId="{4E56F2EF-6ADF-48B5-9BC2-13DAF1C09136}" type="presOf" srcId="{34C92ABA-8050-4BA2-AC55-F4CB764F1845}" destId="{D52BD8B3-5EBC-47A0-A5E1-084377DA13ED}" srcOrd="0" destOrd="0" presId="urn:microsoft.com/office/officeart/2005/8/layout/hProcess4"/>
    <dgm:cxn modelId="{ADD0B3FA-D3AE-4274-8ADC-F7011B451DAB}" srcId="{34C92ABA-8050-4BA2-AC55-F4CB764F1845}" destId="{813F8136-0F0D-426D-8DE2-A1EE64040B27}" srcOrd="0" destOrd="0" parTransId="{F6656EE5-2063-4DC2-9E5C-A2ECB217EC26}" sibTransId="{E571267D-DFD2-4F0A-A359-33E9ACF2A0BE}"/>
    <dgm:cxn modelId="{4B37ED1C-677E-483C-9DD2-B0123F674BC3}" type="presParOf" srcId="{F2AEA9D5-B7CF-4346-BA01-C80E67709E52}" destId="{6F49A006-27A4-4AED-9D54-BC024D8EB4C4}" srcOrd="0" destOrd="0" presId="urn:microsoft.com/office/officeart/2005/8/layout/hProcess4"/>
    <dgm:cxn modelId="{337A9F1C-FE68-4D0B-9E4C-0AD331CB001B}" type="presParOf" srcId="{F2AEA9D5-B7CF-4346-BA01-C80E67709E52}" destId="{3F1F1D8B-FD9F-470C-ABC1-1D3DEB9EDBAF}" srcOrd="1" destOrd="0" presId="urn:microsoft.com/office/officeart/2005/8/layout/hProcess4"/>
    <dgm:cxn modelId="{FF37083D-5ABE-4CD6-AD52-857DEBF2B887}" type="presParOf" srcId="{F2AEA9D5-B7CF-4346-BA01-C80E67709E52}" destId="{F992F0E1-048B-4EE8-AD74-EC607993AE78}" srcOrd="2" destOrd="0" presId="urn:microsoft.com/office/officeart/2005/8/layout/hProcess4"/>
    <dgm:cxn modelId="{AB1E9261-8666-49F0-B976-23D09C796F7B}" type="presParOf" srcId="{F992F0E1-048B-4EE8-AD74-EC607993AE78}" destId="{4E47CA8D-7A3C-48C0-B482-A0965D6EE4A4}" srcOrd="0" destOrd="0" presId="urn:microsoft.com/office/officeart/2005/8/layout/hProcess4"/>
    <dgm:cxn modelId="{91654BDB-F319-45FA-83CD-A0B6776EC3C9}" type="presParOf" srcId="{4E47CA8D-7A3C-48C0-B482-A0965D6EE4A4}" destId="{6E0F7B81-5B66-42CA-8509-71F25859965E}" srcOrd="0" destOrd="0" presId="urn:microsoft.com/office/officeart/2005/8/layout/hProcess4"/>
    <dgm:cxn modelId="{89CF0F29-077F-489E-80D0-992C5AFE0873}" type="presParOf" srcId="{4E47CA8D-7A3C-48C0-B482-A0965D6EE4A4}" destId="{18028CA3-63FB-4E5A-85A7-D961B5977594}" srcOrd="1" destOrd="0" presId="urn:microsoft.com/office/officeart/2005/8/layout/hProcess4"/>
    <dgm:cxn modelId="{6D1C5773-E31B-4015-8C2B-A9DA01838F9C}" type="presParOf" srcId="{4E47CA8D-7A3C-48C0-B482-A0965D6EE4A4}" destId="{E90DBF1B-85C4-4574-93FF-0307DA8EBC6E}" srcOrd="2" destOrd="0" presId="urn:microsoft.com/office/officeart/2005/8/layout/hProcess4"/>
    <dgm:cxn modelId="{45DE93EF-B8CC-4F60-AB42-1F804BD29E46}" type="presParOf" srcId="{4E47CA8D-7A3C-48C0-B482-A0965D6EE4A4}" destId="{423428AD-A828-46D1-ADBD-B3ACD8E85C29}" srcOrd="3" destOrd="0" presId="urn:microsoft.com/office/officeart/2005/8/layout/hProcess4"/>
    <dgm:cxn modelId="{A85A3AC3-DE98-4A2F-9CBF-C7B8AD9A9D75}" type="presParOf" srcId="{4E47CA8D-7A3C-48C0-B482-A0965D6EE4A4}" destId="{EA4D0DC7-B6D9-4B69-AAFA-13ADB90050C8}" srcOrd="4" destOrd="0" presId="urn:microsoft.com/office/officeart/2005/8/layout/hProcess4"/>
    <dgm:cxn modelId="{040B53C3-62A5-44D4-B7D1-2297CB46165D}" type="presParOf" srcId="{F992F0E1-048B-4EE8-AD74-EC607993AE78}" destId="{2B013BDD-391C-44D3-A4AD-28FA08C96504}" srcOrd="1" destOrd="0" presId="urn:microsoft.com/office/officeart/2005/8/layout/hProcess4"/>
    <dgm:cxn modelId="{00D31AE8-8930-472D-975C-F0F2A0DE0F69}" type="presParOf" srcId="{F992F0E1-048B-4EE8-AD74-EC607993AE78}" destId="{DC2C65B8-EA13-4E6C-93D9-2B565B53BA2C}" srcOrd="2" destOrd="0" presId="urn:microsoft.com/office/officeart/2005/8/layout/hProcess4"/>
    <dgm:cxn modelId="{9074EB76-DE08-4384-9009-661CBECE31F1}" type="presParOf" srcId="{DC2C65B8-EA13-4E6C-93D9-2B565B53BA2C}" destId="{CB990CD6-3C8F-486D-B688-9142A4CE0B56}" srcOrd="0" destOrd="0" presId="urn:microsoft.com/office/officeart/2005/8/layout/hProcess4"/>
    <dgm:cxn modelId="{5CF0673E-FDFC-4E58-BC27-2B5AACC206CB}" type="presParOf" srcId="{DC2C65B8-EA13-4E6C-93D9-2B565B53BA2C}" destId="{AFFEDEC3-5B3F-449C-B1FC-22FF20293397}" srcOrd="1" destOrd="0" presId="urn:microsoft.com/office/officeart/2005/8/layout/hProcess4"/>
    <dgm:cxn modelId="{9860E3FB-E9A6-44E0-BEFB-BDC00E01E551}" type="presParOf" srcId="{DC2C65B8-EA13-4E6C-93D9-2B565B53BA2C}" destId="{C10FA11D-27C8-4EB9-9C72-2B905EC27781}" srcOrd="2" destOrd="0" presId="urn:microsoft.com/office/officeart/2005/8/layout/hProcess4"/>
    <dgm:cxn modelId="{17F06B9C-C00E-4C97-8DC9-5EC3603FF889}" type="presParOf" srcId="{DC2C65B8-EA13-4E6C-93D9-2B565B53BA2C}" destId="{F6FE2127-9FF8-455F-8A58-29F6A0F79A93}" srcOrd="3" destOrd="0" presId="urn:microsoft.com/office/officeart/2005/8/layout/hProcess4"/>
    <dgm:cxn modelId="{A288BCFF-B105-4539-9618-782E67746F67}" type="presParOf" srcId="{DC2C65B8-EA13-4E6C-93D9-2B565B53BA2C}" destId="{B679853A-6E96-4209-9CE6-46DF5E8C1C72}" srcOrd="4" destOrd="0" presId="urn:microsoft.com/office/officeart/2005/8/layout/hProcess4"/>
    <dgm:cxn modelId="{5DD9B5D0-8522-4BEF-8011-BBFDF13709B4}" type="presParOf" srcId="{F992F0E1-048B-4EE8-AD74-EC607993AE78}" destId="{7338E379-6E17-478C-A3EC-1DE1D2180B5F}" srcOrd="3" destOrd="0" presId="urn:microsoft.com/office/officeart/2005/8/layout/hProcess4"/>
    <dgm:cxn modelId="{2781CF35-8B02-42A9-8B0D-D7D37186B117}" type="presParOf" srcId="{F992F0E1-048B-4EE8-AD74-EC607993AE78}" destId="{53F470F7-5397-482A-93B2-2D93D3F05E7E}" srcOrd="4" destOrd="0" presId="urn:microsoft.com/office/officeart/2005/8/layout/hProcess4"/>
    <dgm:cxn modelId="{15513466-EFC3-402F-9CC5-3DAB0CAF93B6}" type="presParOf" srcId="{53F470F7-5397-482A-93B2-2D93D3F05E7E}" destId="{64D81926-F00E-445D-BD2F-ACDEE0951F15}" srcOrd="0" destOrd="0" presId="urn:microsoft.com/office/officeart/2005/8/layout/hProcess4"/>
    <dgm:cxn modelId="{993F066D-3B36-4BDF-9C6B-E00F8A457C43}" type="presParOf" srcId="{53F470F7-5397-482A-93B2-2D93D3F05E7E}" destId="{F5437329-A4FF-4481-BD83-97F6816E8DF6}" srcOrd="1" destOrd="0" presId="urn:microsoft.com/office/officeart/2005/8/layout/hProcess4"/>
    <dgm:cxn modelId="{F5580F23-07A2-4499-AF30-A05A8BFF93A1}" type="presParOf" srcId="{53F470F7-5397-482A-93B2-2D93D3F05E7E}" destId="{DB60AC14-9B8B-4C58-B347-D37519DBA55B}" srcOrd="2" destOrd="0" presId="urn:microsoft.com/office/officeart/2005/8/layout/hProcess4"/>
    <dgm:cxn modelId="{545D2D5F-1132-405F-9755-A7802C193247}" type="presParOf" srcId="{53F470F7-5397-482A-93B2-2D93D3F05E7E}" destId="{D52BD8B3-5EBC-47A0-A5E1-084377DA13ED}" srcOrd="3" destOrd="0" presId="urn:microsoft.com/office/officeart/2005/8/layout/hProcess4"/>
    <dgm:cxn modelId="{05605AE5-8A89-4DDC-8BA7-F4470E9163F5}" type="presParOf" srcId="{53F470F7-5397-482A-93B2-2D93D3F05E7E}" destId="{0C3E44E5-E40A-4A16-A2A5-D15786579D9A}" srcOrd="4" destOrd="0" presId="urn:microsoft.com/office/officeart/2005/8/layout/hProcess4"/>
    <dgm:cxn modelId="{BFB240FC-A938-4EE7-A3EB-4DD1A4D3688C}" type="presParOf" srcId="{F992F0E1-048B-4EE8-AD74-EC607993AE78}" destId="{29E7380C-D149-43B9-A9DD-2192B4F07B9A}" srcOrd="5" destOrd="0" presId="urn:microsoft.com/office/officeart/2005/8/layout/hProcess4"/>
    <dgm:cxn modelId="{7B1F203D-2D4C-49CE-9F7F-6EB76EEFF4AD}" type="presParOf" srcId="{F992F0E1-048B-4EE8-AD74-EC607993AE78}" destId="{EFDEB0B8-45C3-48A3-A166-685D26A58F83}" srcOrd="6" destOrd="0" presId="urn:microsoft.com/office/officeart/2005/8/layout/hProcess4"/>
    <dgm:cxn modelId="{79499E96-19E5-43D2-9790-39F1D5D9EF1E}" type="presParOf" srcId="{EFDEB0B8-45C3-48A3-A166-685D26A58F83}" destId="{638D5383-A77E-48B6-8B14-4DF48FC28D82}" srcOrd="0" destOrd="0" presId="urn:microsoft.com/office/officeart/2005/8/layout/hProcess4"/>
    <dgm:cxn modelId="{D91EF670-1559-47FB-879C-6D6687476575}" type="presParOf" srcId="{EFDEB0B8-45C3-48A3-A166-685D26A58F83}" destId="{148DBE3B-C4E3-4BFB-B6BB-6EE8D2156DF0}" srcOrd="1" destOrd="0" presId="urn:microsoft.com/office/officeart/2005/8/layout/hProcess4"/>
    <dgm:cxn modelId="{5A928C99-71C5-437E-87C7-A4830A79D316}" type="presParOf" srcId="{EFDEB0B8-45C3-48A3-A166-685D26A58F83}" destId="{53C9308C-73CA-4002-9BF1-D9F0568E1C64}" srcOrd="2" destOrd="0" presId="urn:microsoft.com/office/officeart/2005/8/layout/hProcess4"/>
    <dgm:cxn modelId="{C14CD8F7-788A-4A57-BBDE-B04EE4D9ECCD}" type="presParOf" srcId="{EFDEB0B8-45C3-48A3-A166-685D26A58F83}" destId="{CF4E95AE-8145-4D89-B4E1-2C6F0185921C}" srcOrd="3" destOrd="0" presId="urn:microsoft.com/office/officeart/2005/8/layout/hProcess4"/>
    <dgm:cxn modelId="{F4062AF1-9C8F-4A92-BD92-F39649E800C2}" type="presParOf" srcId="{EFDEB0B8-45C3-48A3-A166-685D26A58F83}" destId="{7ACFD725-C9D4-4326-B5F7-F299161B134F}"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028CA3-63FB-4E5A-85A7-D961B5977594}">
      <dsp:nvSpPr>
        <dsp:cNvPr id="0" name=""/>
        <dsp:cNvSpPr/>
      </dsp:nvSpPr>
      <dsp:spPr>
        <a:xfrm>
          <a:off x="216030" y="610974"/>
          <a:ext cx="1790634" cy="1270221"/>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14300" lvl="1" indent="-114300" algn="l" defTabSz="622300">
            <a:lnSpc>
              <a:spcPct val="90000"/>
            </a:lnSpc>
            <a:spcBef>
              <a:spcPct val="0"/>
            </a:spcBef>
            <a:spcAft>
              <a:spcPct val="15000"/>
            </a:spcAft>
            <a:buChar char="•"/>
          </a:pPr>
          <a:r>
            <a:rPr lang="lt-LT" sz="1400" kern="1200" dirty="0"/>
            <a:t>Procesų perkėlimas ir koncentravimas</a:t>
          </a:r>
        </a:p>
        <a:p>
          <a:pPr marL="114300" lvl="1" indent="-114300" algn="l" defTabSz="622300">
            <a:lnSpc>
              <a:spcPct val="90000"/>
            </a:lnSpc>
            <a:spcBef>
              <a:spcPct val="0"/>
            </a:spcBef>
            <a:spcAft>
              <a:spcPct val="15000"/>
            </a:spcAft>
            <a:buChar char="•"/>
          </a:pPr>
          <a:r>
            <a:rPr lang="lt-LT" sz="1400" kern="1200" dirty="0"/>
            <a:t>Procesų Optimizavimas</a:t>
          </a:r>
        </a:p>
      </dsp:txBody>
      <dsp:txXfrm>
        <a:off x="245261" y="640205"/>
        <a:ext cx="1732172" cy="939569"/>
      </dsp:txXfrm>
    </dsp:sp>
    <dsp:sp modelId="{2B013BDD-391C-44D3-A4AD-28FA08C96504}">
      <dsp:nvSpPr>
        <dsp:cNvPr id="0" name=""/>
        <dsp:cNvSpPr/>
      </dsp:nvSpPr>
      <dsp:spPr>
        <a:xfrm>
          <a:off x="1223472" y="699665"/>
          <a:ext cx="2134752" cy="2134752"/>
        </a:xfrm>
        <a:prstGeom prst="leftCircularArrow">
          <a:avLst>
            <a:gd name="adj1" fmla="val 4533"/>
            <a:gd name="adj2" fmla="val 576762"/>
            <a:gd name="adj3" fmla="val 2194450"/>
            <a:gd name="adj4" fmla="val 8866666"/>
            <a:gd name="adj5" fmla="val 5289"/>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23428AD-A828-46D1-ADBD-B3ACD8E85C29}">
      <dsp:nvSpPr>
        <dsp:cNvPr id="0" name=""/>
        <dsp:cNvSpPr/>
      </dsp:nvSpPr>
      <dsp:spPr>
        <a:xfrm>
          <a:off x="792091" y="1735887"/>
          <a:ext cx="1368935" cy="544380"/>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16510" rIns="24765" bIns="16510" numCol="1" spcCol="1270" anchor="ctr" anchorCtr="0">
          <a:noAutofit/>
        </a:bodyPr>
        <a:lstStyle/>
        <a:p>
          <a:pPr marL="0" lvl="0" indent="0" algn="ctr" defTabSz="577850">
            <a:lnSpc>
              <a:spcPct val="90000"/>
            </a:lnSpc>
            <a:spcBef>
              <a:spcPct val="0"/>
            </a:spcBef>
            <a:spcAft>
              <a:spcPct val="35000"/>
            </a:spcAft>
            <a:buNone/>
          </a:pPr>
          <a:r>
            <a:rPr lang="lt-LT" sz="1300" kern="1200" dirty="0"/>
            <a:t>Harmonizavimas ir optimizavimas</a:t>
          </a:r>
        </a:p>
      </dsp:txBody>
      <dsp:txXfrm>
        <a:off x="808035" y="1751831"/>
        <a:ext cx="1337047" cy="512492"/>
      </dsp:txXfrm>
    </dsp:sp>
    <dsp:sp modelId="{AFFEDEC3-5B3F-449C-B1FC-22FF20293397}">
      <dsp:nvSpPr>
        <dsp:cNvPr id="0" name=""/>
        <dsp:cNvSpPr/>
      </dsp:nvSpPr>
      <dsp:spPr>
        <a:xfrm>
          <a:off x="2589544" y="661033"/>
          <a:ext cx="1785799" cy="1270221"/>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20"/>
              <a:lumOff val="-679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14300" lvl="1" indent="-114300" algn="l" defTabSz="622300">
            <a:lnSpc>
              <a:spcPct val="90000"/>
            </a:lnSpc>
            <a:spcBef>
              <a:spcPct val="0"/>
            </a:spcBef>
            <a:spcAft>
              <a:spcPct val="15000"/>
            </a:spcAft>
            <a:buChar char="•"/>
          </a:pPr>
          <a:r>
            <a:rPr lang="lt-LT" sz="1400" kern="1200" dirty="0"/>
            <a:t>Procesų taisyklių aprašymas</a:t>
          </a:r>
          <a:endParaRPr lang="en-US" sz="1400" kern="1200" dirty="0"/>
        </a:p>
      </dsp:txBody>
      <dsp:txXfrm>
        <a:off x="2618775" y="962455"/>
        <a:ext cx="1727337" cy="939569"/>
      </dsp:txXfrm>
    </dsp:sp>
    <dsp:sp modelId="{7338E379-6E17-478C-A3EC-1DE1D2180B5F}">
      <dsp:nvSpPr>
        <dsp:cNvPr id="0" name=""/>
        <dsp:cNvSpPr/>
      </dsp:nvSpPr>
      <dsp:spPr>
        <a:xfrm>
          <a:off x="3493691" y="-261567"/>
          <a:ext cx="2365303" cy="2365303"/>
        </a:xfrm>
        <a:prstGeom prst="circularArrow">
          <a:avLst>
            <a:gd name="adj1" fmla="val 4092"/>
            <a:gd name="adj2" fmla="val 514953"/>
            <a:gd name="adj3" fmla="val 19309537"/>
            <a:gd name="adj4" fmla="val 12575511"/>
            <a:gd name="adj5" fmla="val 4774"/>
          </a:avLst>
        </a:prstGeom>
        <a:solidFill>
          <a:srgbClr val="7FC8ED"/>
        </a:solidFill>
        <a:ln>
          <a:noFill/>
        </a:ln>
        <a:effectLst/>
      </dsp:spPr>
      <dsp:style>
        <a:lnRef idx="0">
          <a:scrgbClr r="0" g="0" b="0"/>
        </a:lnRef>
        <a:fillRef idx="1">
          <a:scrgbClr r="0" g="0" b="0"/>
        </a:fillRef>
        <a:effectRef idx="0">
          <a:scrgbClr r="0" g="0" b="0"/>
        </a:effectRef>
        <a:fontRef idx="minor">
          <a:schemeClr val="lt1"/>
        </a:fontRef>
      </dsp:style>
    </dsp:sp>
    <dsp:sp modelId="{F6FE2127-9FF8-455F-8A58-29F6A0F79A93}">
      <dsp:nvSpPr>
        <dsp:cNvPr id="0" name=""/>
        <dsp:cNvSpPr/>
      </dsp:nvSpPr>
      <dsp:spPr>
        <a:xfrm>
          <a:off x="3054651" y="388843"/>
          <a:ext cx="1368935" cy="544380"/>
        </a:xfrm>
        <a:prstGeom prst="roundRect">
          <a:avLst>
            <a:gd name="adj" fmla="val 10000"/>
          </a:avLst>
        </a:prstGeom>
        <a:solidFill>
          <a:srgbClr val="7FC8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16510" rIns="24765" bIns="16510" numCol="1" spcCol="1270" anchor="ctr" anchorCtr="0">
          <a:noAutofit/>
        </a:bodyPr>
        <a:lstStyle/>
        <a:p>
          <a:pPr marL="0" lvl="0" indent="0" algn="ctr" defTabSz="577850">
            <a:lnSpc>
              <a:spcPct val="90000"/>
            </a:lnSpc>
            <a:spcBef>
              <a:spcPct val="0"/>
            </a:spcBef>
            <a:spcAft>
              <a:spcPct val="35000"/>
            </a:spcAft>
            <a:buNone/>
          </a:pPr>
          <a:r>
            <a:rPr lang="lt-LT" sz="1300" kern="1200" dirty="0"/>
            <a:t>Standartizavimas</a:t>
          </a:r>
        </a:p>
      </dsp:txBody>
      <dsp:txXfrm>
        <a:off x="3070595" y="404787"/>
        <a:ext cx="1337047" cy="512492"/>
      </dsp:txXfrm>
    </dsp:sp>
    <dsp:sp modelId="{F5437329-A4FF-4481-BD83-97F6816E8DF6}">
      <dsp:nvSpPr>
        <dsp:cNvPr id="0" name=""/>
        <dsp:cNvSpPr/>
      </dsp:nvSpPr>
      <dsp:spPr>
        <a:xfrm>
          <a:off x="4884438" y="661033"/>
          <a:ext cx="1783381" cy="1270221"/>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39"/>
              <a:lumOff val="-1359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14300" lvl="1" indent="-114300" algn="l" defTabSz="622300">
            <a:lnSpc>
              <a:spcPct val="90000"/>
            </a:lnSpc>
            <a:spcBef>
              <a:spcPct val="0"/>
            </a:spcBef>
            <a:spcAft>
              <a:spcPct val="15000"/>
            </a:spcAft>
            <a:buChar char="•"/>
          </a:pPr>
          <a:r>
            <a:rPr lang="lt-LT" sz="1400" kern="1200" dirty="0"/>
            <a:t>Automatizavimo mechanizmai</a:t>
          </a:r>
        </a:p>
        <a:p>
          <a:pPr marL="114300" lvl="1" indent="-114300" algn="l" defTabSz="622300">
            <a:lnSpc>
              <a:spcPct val="90000"/>
            </a:lnSpc>
            <a:spcBef>
              <a:spcPct val="0"/>
            </a:spcBef>
            <a:spcAft>
              <a:spcPct val="15000"/>
            </a:spcAft>
            <a:buChar char="•"/>
          </a:pPr>
          <a:r>
            <a:rPr lang="lt-LT" sz="1400" kern="1200" dirty="0"/>
            <a:t>RPA ir IA</a:t>
          </a:r>
        </a:p>
      </dsp:txBody>
      <dsp:txXfrm>
        <a:off x="4913669" y="690264"/>
        <a:ext cx="1724919" cy="939569"/>
      </dsp:txXfrm>
    </dsp:sp>
    <dsp:sp modelId="{29E7380C-D149-43B9-A9DD-2192B4F07B9A}">
      <dsp:nvSpPr>
        <dsp:cNvPr id="0" name=""/>
        <dsp:cNvSpPr/>
      </dsp:nvSpPr>
      <dsp:spPr>
        <a:xfrm>
          <a:off x="5806673" y="709544"/>
          <a:ext cx="2069427" cy="2069427"/>
        </a:xfrm>
        <a:prstGeom prst="leftCircularArrow">
          <a:avLst>
            <a:gd name="adj1" fmla="val 4677"/>
            <a:gd name="adj2" fmla="val 597071"/>
            <a:gd name="adj3" fmla="val 2372582"/>
            <a:gd name="adj4" fmla="val 9024489"/>
            <a:gd name="adj5" fmla="val 5456"/>
          </a:avLst>
        </a:prstGeom>
        <a:solidFill>
          <a:schemeClr val="accent6">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sp>
    <dsp:sp modelId="{D52BD8B3-5EBC-47A0-A5E1-084377DA13ED}">
      <dsp:nvSpPr>
        <dsp:cNvPr id="0" name=""/>
        <dsp:cNvSpPr/>
      </dsp:nvSpPr>
      <dsp:spPr>
        <a:xfrm>
          <a:off x="5348336" y="1659064"/>
          <a:ext cx="1368935" cy="544380"/>
        </a:xfrm>
        <a:prstGeom prst="roundRect">
          <a:avLst>
            <a:gd name="adj" fmla="val 10000"/>
          </a:avLst>
        </a:prstGeom>
        <a:solidFill>
          <a:schemeClr val="accent6">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16510" rIns="24765" bIns="16510" numCol="1" spcCol="1270" anchor="ctr" anchorCtr="0">
          <a:noAutofit/>
        </a:bodyPr>
        <a:lstStyle/>
        <a:p>
          <a:pPr marL="0" lvl="0" indent="0" algn="ctr" defTabSz="577850">
            <a:lnSpc>
              <a:spcPct val="90000"/>
            </a:lnSpc>
            <a:spcBef>
              <a:spcPct val="0"/>
            </a:spcBef>
            <a:spcAft>
              <a:spcPct val="35000"/>
            </a:spcAft>
            <a:buNone/>
          </a:pPr>
          <a:r>
            <a:rPr lang="lt-LT" sz="1300" kern="1200" dirty="0"/>
            <a:t>Skaitmeninimas</a:t>
          </a:r>
        </a:p>
      </dsp:txBody>
      <dsp:txXfrm>
        <a:off x="5364280" y="1675008"/>
        <a:ext cx="1337047" cy="512492"/>
      </dsp:txXfrm>
    </dsp:sp>
    <dsp:sp modelId="{148DBE3B-C4E3-4BFB-B6BB-6EE8D2156DF0}">
      <dsp:nvSpPr>
        <dsp:cNvPr id="0" name=""/>
        <dsp:cNvSpPr/>
      </dsp:nvSpPr>
      <dsp:spPr>
        <a:xfrm>
          <a:off x="7178123" y="661033"/>
          <a:ext cx="1611049" cy="1270221"/>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59"/>
              <a:lumOff val="-20392"/>
              <a:alphaOff val="0"/>
            </a:schemeClr>
          </a:solidFill>
          <a:prstDash val="solid"/>
        </a:ln>
        <a:effectLst/>
      </dsp:spPr>
      <dsp:style>
        <a:lnRef idx="2">
          <a:scrgbClr r="0" g="0" b="0"/>
        </a:lnRef>
        <a:fillRef idx="1">
          <a:scrgbClr r="0" g="0" b="0"/>
        </a:fillRef>
        <a:effectRef idx="0">
          <a:scrgbClr r="0" g="0" b="0"/>
        </a:effectRef>
        <a:fontRef idx="minor"/>
      </dsp:style>
    </dsp:sp>
    <dsp:sp modelId="{CF4E95AE-8145-4D89-B4E1-2C6F0185921C}">
      <dsp:nvSpPr>
        <dsp:cNvPr id="0" name=""/>
        <dsp:cNvSpPr/>
      </dsp:nvSpPr>
      <dsp:spPr>
        <a:xfrm>
          <a:off x="7555856" y="388843"/>
          <a:ext cx="1368935" cy="544380"/>
        </a:xfrm>
        <a:prstGeom prst="roundRect">
          <a:avLst>
            <a:gd name="adj" fmla="val 10000"/>
          </a:avLst>
        </a:prstGeom>
        <a:solidFill>
          <a:srgbClr val="878C9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16510" rIns="24765" bIns="16510" numCol="1" spcCol="1270" anchor="ctr" anchorCtr="0">
          <a:noAutofit/>
        </a:bodyPr>
        <a:lstStyle/>
        <a:p>
          <a:pPr marL="0" lvl="0" indent="0" algn="ctr" defTabSz="577850">
            <a:lnSpc>
              <a:spcPct val="90000"/>
            </a:lnSpc>
            <a:spcBef>
              <a:spcPct val="0"/>
            </a:spcBef>
            <a:spcAft>
              <a:spcPct val="35000"/>
            </a:spcAft>
            <a:buNone/>
          </a:pPr>
          <a:r>
            <a:rPr lang="lt-LT" sz="1300" kern="1200" dirty="0"/>
            <a:t>Kas toliau?</a:t>
          </a:r>
        </a:p>
      </dsp:txBody>
      <dsp:txXfrm>
        <a:off x="7571800" y="404787"/>
        <a:ext cx="1337047" cy="512492"/>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2" Type="http://schemas.openxmlformats.org/officeDocument/2006/relationships/image" Target="../media/image10.svg"/><Relationship Id="rId1" Type="http://schemas.openxmlformats.org/officeDocument/2006/relationships/image" Target="../media/image9.png"/></Relationships>
</file>

<file path=ppt/drawings/_rels/drawing2.xml.rels><?xml version="1.0" encoding="UTF-8" standalone="yes"?>
<Relationships xmlns="http://schemas.openxmlformats.org/package/2006/relationships"><Relationship Id="rId1" Type="http://schemas.openxmlformats.org/officeDocument/2006/relationships/image" Target="../media/image15.png"/></Relationships>
</file>

<file path=ppt/drawings/drawing1.xml><?xml version="1.0" encoding="utf-8"?>
<c:userShapes xmlns:c="http://schemas.openxmlformats.org/drawingml/2006/chart">
  <cdr:relSizeAnchor xmlns:cdr="http://schemas.openxmlformats.org/drawingml/2006/chartDrawing">
    <cdr:from>
      <cdr:x>0</cdr:x>
      <cdr:y>0.16367</cdr:y>
    </cdr:from>
    <cdr:to>
      <cdr:x>0.92906</cdr:x>
      <cdr:y>0.94345</cdr:y>
    </cdr:to>
    <cdr:pic>
      <cdr:nvPicPr>
        <cdr:cNvPr id="3" name="Graphic 2" descr="Meeting with solid fill">
          <a:extLst xmlns:a="http://schemas.openxmlformats.org/drawingml/2006/main">
            <a:ext uri="{FF2B5EF4-FFF2-40B4-BE49-F238E27FC236}">
              <a16:creationId xmlns:a16="http://schemas.microsoft.com/office/drawing/2014/main" id="{50378BE2-938A-4E81-BB10-7383962B7FD5}"/>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xmlns:a="http://schemas.openxmlformats.org/drawingml/2006/main">
          <a:fillRect/>
        </a:stretch>
      </cdr:blipFill>
      <cdr:spPr>
        <a:xfrm xmlns:a="http://schemas.openxmlformats.org/drawingml/2006/main">
          <a:off x="-247717" y="191925"/>
          <a:ext cx="914400" cy="914400"/>
        </a:xfrm>
        <a:prstGeom xmlns:a="http://schemas.openxmlformats.org/drawingml/2006/main" prst="rect">
          <a:avLst/>
        </a:prstGeom>
      </cdr:spPr>
    </cdr:pic>
  </cdr:relSizeAnchor>
</c:userShapes>
</file>

<file path=ppt/drawings/drawing2.xml><?xml version="1.0" encoding="utf-8"?>
<c:userShapes xmlns:c="http://schemas.openxmlformats.org/drawingml/2006/chart">
  <cdr:relSizeAnchor xmlns:cdr="http://schemas.openxmlformats.org/drawingml/2006/chartDrawing">
    <cdr:from>
      <cdr:x>0.00441</cdr:x>
      <cdr:y>0.43926</cdr:y>
    </cdr:from>
    <cdr:to>
      <cdr:x>0.76514</cdr:x>
      <cdr:y>0.50857</cdr:y>
    </cdr:to>
    <cdr:pic>
      <cdr:nvPicPr>
        <cdr:cNvPr id="5" name="chart">
          <a:extLst xmlns:a="http://schemas.openxmlformats.org/drawingml/2006/main">
            <a:ext uri="{FF2B5EF4-FFF2-40B4-BE49-F238E27FC236}">
              <a16:creationId xmlns:a16="http://schemas.microsoft.com/office/drawing/2014/main" id="{9386D00C-6367-4376-96A1-B243CC052517}"/>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30509" y="1931328"/>
          <a:ext cx="5266667" cy="304762"/>
        </a:xfrm>
        <a:prstGeom xmlns:a="http://schemas.openxmlformats.org/drawingml/2006/main" prst="rect">
          <a:avLst/>
        </a:prstGeom>
      </cdr:spPr>
    </cdr:pic>
  </cdr:relSizeAnchor>
  <cdr:relSizeAnchor xmlns:cdr="http://schemas.openxmlformats.org/drawingml/2006/chartDrawing">
    <cdr:from>
      <cdr:x>0.03203</cdr:x>
      <cdr:y>0.39804</cdr:y>
    </cdr:from>
    <cdr:to>
      <cdr:x>0.95773</cdr:x>
      <cdr:y>0.51727</cdr:y>
    </cdr:to>
    <cdr:sp macro="" textlink="">
      <cdr:nvSpPr>
        <cdr:cNvPr id="2" name="Rectangle 1">
          <a:extLst xmlns:a="http://schemas.openxmlformats.org/drawingml/2006/main">
            <a:ext uri="{FF2B5EF4-FFF2-40B4-BE49-F238E27FC236}">
              <a16:creationId xmlns:a16="http://schemas.microsoft.com/office/drawing/2014/main" id="{F458AF18-8B89-4B28-B359-5F12B1ECD4F0}"/>
            </a:ext>
          </a:extLst>
        </cdr:cNvPr>
        <cdr:cNvSpPr/>
      </cdr:nvSpPr>
      <cdr:spPr>
        <a:xfrm xmlns:a="http://schemas.openxmlformats.org/drawingml/2006/main">
          <a:off x="221731" y="1750072"/>
          <a:ext cx="6408756" cy="524271"/>
        </a:xfrm>
        <a:prstGeom xmlns:a="http://schemas.openxmlformats.org/drawingml/2006/main" prst="rect">
          <a:avLst/>
        </a:prstGeom>
        <a:noFill xmlns:a="http://schemas.openxmlformats.org/drawingml/2006/main"/>
        <a:ln xmlns:a="http://schemas.openxmlformats.org/drawingml/2006/main">
          <a:solidFill>
            <a:schemeClr val="accent1">
              <a:lumMod val="50000"/>
            </a:schemeClr>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lt-LT"/>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3633"/>
          </a:xfrm>
          <a:prstGeom prst="rect">
            <a:avLst/>
          </a:prstGeom>
        </p:spPr>
        <p:txBody>
          <a:bodyPr vert="horz" lIns="91440" tIns="45720" rIns="91440" bIns="45720" rtlCol="0"/>
          <a:lstStyle>
            <a:lvl1pPr algn="l">
              <a:defRPr sz="1200"/>
            </a:lvl1pPr>
          </a:lstStyle>
          <a:p>
            <a:pPr>
              <a:defRPr/>
            </a:pPr>
            <a:endParaRPr lang="en-GB"/>
          </a:p>
        </p:txBody>
      </p:sp>
      <p:sp>
        <p:nvSpPr>
          <p:cNvPr id="3" name="Datumsplatzhalter 2"/>
          <p:cNvSpPr>
            <a:spLocks noGrp="1"/>
          </p:cNvSpPr>
          <p:nvPr>
            <p:ph type="dt" sz="quarter" idx="1"/>
          </p:nvPr>
        </p:nvSpPr>
        <p:spPr>
          <a:xfrm>
            <a:off x="3850443" y="0"/>
            <a:ext cx="2945659" cy="493633"/>
          </a:xfrm>
          <a:prstGeom prst="rect">
            <a:avLst/>
          </a:prstGeom>
        </p:spPr>
        <p:txBody>
          <a:bodyPr vert="horz" lIns="91440" tIns="45720" rIns="91440" bIns="45720" rtlCol="0"/>
          <a:lstStyle>
            <a:lvl1pPr algn="r">
              <a:defRPr sz="1200"/>
            </a:lvl1pPr>
          </a:lstStyle>
          <a:p>
            <a:pPr>
              <a:defRPr/>
            </a:pPr>
            <a:fld id="{E6F64E97-2314-4830-B625-5860979C4473}" type="datetimeFigureOut">
              <a:rPr lang="en-GB"/>
              <a:pPr>
                <a:defRPr/>
              </a:pPr>
              <a:t>22/09/2021</a:t>
            </a:fld>
            <a:endParaRPr lang="en-GB"/>
          </a:p>
        </p:txBody>
      </p:sp>
      <p:sp>
        <p:nvSpPr>
          <p:cNvPr id="4" name="Fußzeilenplatzhalter 3"/>
          <p:cNvSpPr>
            <a:spLocks noGrp="1"/>
          </p:cNvSpPr>
          <p:nvPr>
            <p:ph type="ftr" sz="quarter" idx="2"/>
          </p:nvPr>
        </p:nvSpPr>
        <p:spPr>
          <a:xfrm>
            <a:off x="0" y="9377316"/>
            <a:ext cx="2945659" cy="493633"/>
          </a:xfrm>
          <a:prstGeom prst="rect">
            <a:avLst/>
          </a:prstGeom>
        </p:spPr>
        <p:txBody>
          <a:bodyPr vert="horz" lIns="91440" tIns="45720" rIns="91440" bIns="45720" rtlCol="0" anchor="b"/>
          <a:lstStyle>
            <a:lvl1pPr algn="l">
              <a:defRPr sz="1200"/>
            </a:lvl1pPr>
          </a:lstStyle>
          <a:p>
            <a:pPr>
              <a:defRPr/>
            </a:pPr>
            <a:endParaRPr lang="en-GB"/>
          </a:p>
        </p:txBody>
      </p:sp>
      <p:sp>
        <p:nvSpPr>
          <p:cNvPr id="5" name="Foliennummernplatzhalter 4"/>
          <p:cNvSpPr>
            <a:spLocks noGrp="1"/>
          </p:cNvSpPr>
          <p:nvPr>
            <p:ph type="sldNum" sz="quarter" idx="3"/>
          </p:nvPr>
        </p:nvSpPr>
        <p:spPr>
          <a:xfrm>
            <a:off x="3850443" y="9377316"/>
            <a:ext cx="2945659" cy="493633"/>
          </a:xfrm>
          <a:prstGeom prst="rect">
            <a:avLst/>
          </a:prstGeom>
        </p:spPr>
        <p:txBody>
          <a:bodyPr vert="horz" lIns="91440" tIns="45720" rIns="91440" bIns="45720" rtlCol="0" anchor="b"/>
          <a:lstStyle>
            <a:lvl1pPr algn="r">
              <a:defRPr sz="1200"/>
            </a:lvl1pPr>
          </a:lstStyle>
          <a:p>
            <a:pPr>
              <a:defRPr/>
            </a:pPr>
            <a:fld id="{F049810B-7D11-436F-8ECB-D82475E84763}" type="slidenum">
              <a:rPr lang="en-GB"/>
              <a:pPr>
                <a:defRPr/>
              </a:pPr>
              <a:t>‹#›</a:t>
            </a:fld>
            <a:endParaRPr lang="en-GB"/>
          </a:p>
        </p:txBody>
      </p:sp>
    </p:spTree>
    <p:extLst>
      <p:ext uri="{BB962C8B-B14F-4D97-AF65-F5344CB8AC3E}">
        <p14:creationId xmlns:p14="http://schemas.microsoft.com/office/powerpoint/2010/main" val="173652499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1026"/>
          <p:cNvSpPr>
            <a:spLocks noGrp="1" noChangeArrowheads="1"/>
          </p:cNvSpPr>
          <p:nvPr>
            <p:ph type="hdr" sz="quarter"/>
          </p:nvPr>
        </p:nvSpPr>
        <p:spPr bwMode="auto">
          <a:xfrm>
            <a:off x="0" y="0"/>
            <a:ext cx="2945659" cy="49363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pPr>
              <a:defRPr/>
            </a:pPr>
            <a:endParaRPr lang="de-DE"/>
          </a:p>
        </p:txBody>
      </p:sp>
      <p:sp>
        <p:nvSpPr>
          <p:cNvPr id="19459" name="Rectangle 1027"/>
          <p:cNvSpPr>
            <a:spLocks noGrp="1" noChangeArrowheads="1"/>
          </p:cNvSpPr>
          <p:nvPr>
            <p:ph type="dt" idx="1"/>
          </p:nvPr>
        </p:nvSpPr>
        <p:spPr bwMode="auto">
          <a:xfrm>
            <a:off x="3852016" y="0"/>
            <a:ext cx="2945659" cy="49363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pPr>
              <a:defRPr/>
            </a:pPr>
            <a:fld id="{9F88BBA2-58F6-452F-A0D6-CC93F92DCADF}" type="datetimeFigureOut">
              <a:rPr lang="de-DE"/>
              <a:pPr>
                <a:defRPr/>
              </a:pPr>
              <a:t>22.09.2021</a:t>
            </a:fld>
            <a:endParaRPr lang="de-DE"/>
          </a:p>
        </p:txBody>
      </p:sp>
      <p:sp>
        <p:nvSpPr>
          <p:cNvPr id="10244" name="Rectangle 1028"/>
          <p:cNvSpPr>
            <a:spLocks noGrp="1" noRot="1" noChangeAspect="1" noChangeArrowheads="1" noTextEdit="1"/>
          </p:cNvSpPr>
          <p:nvPr>
            <p:ph type="sldImg" idx="2"/>
          </p:nvPr>
        </p:nvSpPr>
        <p:spPr bwMode="auto">
          <a:xfrm>
            <a:off x="106363" y="739775"/>
            <a:ext cx="6584950" cy="3703638"/>
          </a:xfrm>
          <a:prstGeom prst="rect">
            <a:avLst/>
          </a:prstGeom>
          <a:noFill/>
          <a:ln w="9525">
            <a:solidFill>
              <a:srgbClr val="000000"/>
            </a:solidFill>
            <a:miter lim="800000"/>
            <a:headEnd/>
            <a:tailEnd/>
          </a:ln>
        </p:spPr>
      </p:sp>
      <p:sp>
        <p:nvSpPr>
          <p:cNvPr id="19461" name="Rectangle 1029"/>
          <p:cNvSpPr>
            <a:spLocks noGrp="1" noChangeArrowheads="1"/>
          </p:cNvSpPr>
          <p:nvPr>
            <p:ph type="body" sz="quarter" idx="3"/>
          </p:nvPr>
        </p:nvSpPr>
        <p:spPr bwMode="auto">
          <a:xfrm>
            <a:off x="906358" y="4689515"/>
            <a:ext cx="4984962" cy="444269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19462" name="Rectangle 1030"/>
          <p:cNvSpPr>
            <a:spLocks noGrp="1" noChangeArrowheads="1"/>
          </p:cNvSpPr>
          <p:nvPr>
            <p:ph type="ftr" sz="quarter" idx="4"/>
          </p:nvPr>
        </p:nvSpPr>
        <p:spPr bwMode="auto">
          <a:xfrm>
            <a:off x="0" y="9379030"/>
            <a:ext cx="2945659" cy="493633"/>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pPr>
              <a:defRPr/>
            </a:pPr>
            <a:endParaRPr lang="de-DE"/>
          </a:p>
        </p:txBody>
      </p:sp>
      <p:sp>
        <p:nvSpPr>
          <p:cNvPr id="19463" name="Rectangle 1031"/>
          <p:cNvSpPr>
            <a:spLocks noGrp="1" noChangeArrowheads="1"/>
          </p:cNvSpPr>
          <p:nvPr>
            <p:ph type="sldNum" sz="quarter" idx="5"/>
          </p:nvPr>
        </p:nvSpPr>
        <p:spPr bwMode="auto">
          <a:xfrm>
            <a:off x="3852016" y="9379030"/>
            <a:ext cx="2945659" cy="493633"/>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C68510B7-6A45-4938-B5D8-137A83E74DCC}" type="slidenum">
              <a:rPr lang="de-DE"/>
              <a:pPr>
                <a:defRPr/>
              </a:pPr>
              <a:t>‹#›</a:t>
            </a:fld>
            <a:endParaRPr lang="de-DE"/>
          </a:p>
        </p:txBody>
      </p:sp>
    </p:spTree>
    <p:extLst>
      <p:ext uri="{BB962C8B-B14F-4D97-AF65-F5344CB8AC3E}">
        <p14:creationId xmlns:p14="http://schemas.microsoft.com/office/powerpoint/2010/main" val="1778026783"/>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Calibri"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Calibri"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Calibri"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Calibri"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Calibri"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emplate was inserted from Power-user, the productivity add-in for PowerPoint, Excel and Word.</a:t>
            </a:r>
          </a:p>
          <a:p>
            <a:r>
              <a:rPr lang="en-US" dirty="0"/>
              <a:t>Get thousands of templates, icons, maps, diagrams and charts with Power-user. Visit https://www.powerusersoftwares.co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8124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t-LT" sz="1200" dirty="0">
                <a:solidFill>
                  <a:schemeClr val="tx1"/>
                </a:solidFill>
              </a:rPr>
              <a:t>FSSC FTE </a:t>
            </a:r>
            <a:r>
              <a:rPr lang="lt-LT" sz="1200" dirty="0" err="1">
                <a:solidFill>
                  <a:schemeClr val="tx1"/>
                </a:solidFill>
              </a:rPr>
              <a:t>saving</a:t>
            </a:r>
            <a:r>
              <a:rPr lang="lt-LT" sz="1200" dirty="0">
                <a:solidFill>
                  <a:schemeClr val="tx1"/>
                </a:solidFill>
              </a:rPr>
              <a:t> </a:t>
            </a:r>
            <a:r>
              <a:rPr lang="lt-LT" sz="1200" dirty="0" err="1">
                <a:solidFill>
                  <a:schemeClr val="tx1"/>
                </a:solidFill>
              </a:rPr>
              <a:t>resulting</a:t>
            </a:r>
            <a:r>
              <a:rPr lang="lt-LT" sz="1200" dirty="0">
                <a:solidFill>
                  <a:schemeClr val="tx1"/>
                </a:solidFill>
              </a:rPr>
              <a:t> </a:t>
            </a:r>
            <a:r>
              <a:rPr lang="lt-LT" sz="1200" dirty="0" err="1">
                <a:solidFill>
                  <a:schemeClr val="tx1"/>
                </a:solidFill>
              </a:rPr>
              <a:t>from</a:t>
            </a:r>
            <a:r>
              <a:rPr lang="lt-LT" sz="1200" dirty="0">
                <a:solidFill>
                  <a:schemeClr val="tx1"/>
                </a:solidFill>
              </a:rPr>
              <a:t> </a:t>
            </a:r>
            <a:r>
              <a:rPr lang="lt-LT" sz="1200" dirty="0" err="1">
                <a:solidFill>
                  <a:schemeClr val="tx1"/>
                </a:solidFill>
              </a:rPr>
              <a:t>process</a:t>
            </a:r>
            <a:r>
              <a:rPr lang="lt-LT" sz="1200" dirty="0">
                <a:solidFill>
                  <a:schemeClr val="tx1"/>
                </a:solidFill>
              </a:rPr>
              <a:t> </a:t>
            </a:r>
            <a:r>
              <a:rPr lang="lt-LT" sz="1200" dirty="0" err="1">
                <a:solidFill>
                  <a:schemeClr val="tx1"/>
                </a:solidFill>
              </a:rPr>
              <a:t>optimisation</a:t>
            </a:r>
            <a:r>
              <a:rPr lang="lt-LT" sz="1200" dirty="0">
                <a:solidFill>
                  <a:schemeClr val="tx1"/>
                </a:solidFill>
              </a:rPr>
              <a:t> </a:t>
            </a:r>
            <a:r>
              <a:rPr lang="lt-LT" sz="1200" dirty="0" err="1">
                <a:solidFill>
                  <a:schemeClr val="tx1"/>
                </a:solidFill>
              </a:rPr>
              <a:t>and</a:t>
            </a:r>
            <a:r>
              <a:rPr lang="lt-LT" sz="1200" dirty="0">
                <a:solidFill>
                  <a:schemeClr val="tx1"/>
                </a:solidFill>
              </a:rPr>
              <a:t> </a:t>
            </a:r>
            <a:r>
              <a:rPr lang="lt-LT" sz="1200" dirty="0" err="1">
                <a:solidFill>
                  <a:schemeClr val="tx1"/>
                </a:solidFill>
              </a:rPr>
              <a:t>automation</a:t>
            </a:r>
            <a:r>
              <a:rPr lang="lt-LT" sz="1200" dirty="0">
                <a:solidFill>
                  <a:schemeClr val="tx1"/>
                </a:solidFill>
              </a:rPr>
              <a:t> </a:t>
            </a:r>
            <a:r>
              <a:rPr lang="lt-LT" sz="1200" dirty="0" err="1">
                <a:solidFill>
                  <a:schemeClr val="tx1"/>
                </a:solidFill>
              </a:rPr>
              <a:t>from</a:t>
            </a:r>
            <a:r>
              <a:rPr lang="lt-LT" sz="1200" dirty="0">
                <a:solidFill>
                  <a:schemeClr val="tx1"/>
                </a:solidFill>
              </a:rPr>
              <a:t> </a:t>
            </a:r>
            <a:r>
              <a:rPr lang="lt-LT" sz="1200" dirty="0" err="1">
                <a:solidFill>
                  <a:schemeClr val="tx1"/>
                </a:solidFill>
              </a:rPr>
              <a:t>during</a:t>
            </a:r>
            <a:r>
              <a:rPr lang="lt-LT" sz="1200" dirty="0">
                <a:solidFill>
                  <a:schemeClr val="tx1"/>
                </a:solidFill>
              </a:rPr>
              <a:t> </a:t>
            </a:r>
            <a:r>
              <a:rPr lang="lt-LT" sz="1200" dirty="0" err="1">
                <a:solidFill>
                  <a:schemeClr val="tx1"/>
                </a:solidFill>
              </a:rPr>
              <a:t>the</a:t>
            </a:r>
            <a:r>
              <a:rPr lang="lt-LT" sz="1200" dirty="0">
                <a:solidFill>
                  <a:schemeClr val="tx1"/>
                </a:solidFill>
              </a:rPr>
              <a:t> </a:t>
            </a:r>
            <a:r>
              <a:rPr lang="lt-LT" sz="1200" dirty="0" err="1">
                <a:solidFill>
                  <a:schemeClr val="tx1"/>
                </a:solidFill>
              </a:rPr>
              <a:t>period</a:t>
            </a:r>
            <a:r>
              <a:rPr lang="lt-LT" sz="1200" dirty="0">
                <a:solidFill>
                  <a:schemeClr val="tx1"/>
                </a:solidFill>
              </a:rPr>
              <a:t> 04/2020 to 04/2021</a:t>
            </a:r>
          </a:p>
          <a:p>
            <a:r>
              <a:rPr lang="lt-LT" sz="1200" dirty="0">
                <a:solidFill>
                  <a:schemeClr val="tx1"/>
                </a:solidFill>
              </a:rPr>
              <a:t>AR</a:t>
            </a:r>
            <a:r>
              <a:rPr lang="en-US" sz="1200" dirty="0">
                <a:solidFill>
                  <a:schemeClr val="tx1"/>
                </a:solidFill>
              </a:rPr>
              <a:t> – Payment posting</a:t>
            </a:r>
          </a:p>
          <a:p>
            <a:r>
              <a:rPr lang="en-US" sz="1200" dirty="0">
                <a:solidFill>
                  <a:schemeClr val="tx1"/>
                </a:solidFill>
              </a:rPr>
              <a:t>Transaction</a:t>
            </a:r>
            <a:r>
              <a:rPr lang="lt-LT" sz="1200" dirty="0">
                <a:solidFill>
                  <a:schemeClr val="tx1"/>
                </a:solidFill>
              </a:rPr>
              <a:t> </a:t>
            </a:r>
            <a:r>
              <a:rPr lang="lt-LT" sz="1200" dirty="0" err="1">
                <a:solidFill>
                  <a:schemeClr val="tx1"/>
                </a:solidFill>
              </a:rPr>
              <a:t>volume</a:t>
            </a:r>
            <a:r>
              <a:rPr lang="lt-LT" sz="1200" dirty="0">
                <a:solidFill>
                  <a:schemeClr val="tx1"/>
                </a:solidFill>
              </a:rPr>
              <a:t> </a:t>
            </a:r>
            <a:r>
              <a:rPr lang="lt-LT" sz="1200" dirty="0" err="1">
                <a:solidFill>
                  <a:schemeClr val="tx1"/>
                </a:solidFill>
              </a:rPr>
              <a:t>increased</a:t>
            </a:r>
            <a:r>
              <a:rPr lang="lt-LT" sz="1200" dirty="0">
                <a:solidFill>
                  <a:schemeClr val="tx1"/>
                </a:solidFill>
              </a:rPr>
              <a:t> </a:t>
            </a:r>
            <a:r>
              <a:rPr lang="en-US" sz="1200" dirty="0">
                <a:solidFill>
                  <a:schemeClr val="tx1"/>
                </a:solidFill>
              </a:rPr>
              <a:t>~</a:t>
            </a:r>
            <a:r>
              <a:rPr lang="lt-LT" sz="1200" dirty="0">
                <a:solidFill>
                  <a:schemeClr val="tx1"/>
                </a:solidFill>
              </a:rPr>
              <a:t>14</a:t>
            </a:r>
            <a:r>
              <a:rPr lang="ru-RU" sz="1200" dirty="0">
                <a:solidFill>
                  <a:schemeClr val="tx1"/>
                </a:solidFill>
              </a:rPr>
              <a:t>% </a:t>
            </a:r>
            <a:r>
              <a:rPr lang="en-US" sz="1200" dirty="0">
                <a:solidFill>
                  <a:schemeClr val="tx1"/>
                </a:solidFill>
              </a:rPr>
              <a:t>in March/April while FTE number has gone down from 22,2 to 19,6 or 13% respectively.</a:t>
            </a:r>
          </a:p>
          <a:p>
            <a:r>
              <a:rPr lang="en-US" sz="1200" dirty="0">
                <a:solidFill>
                  <a:schemeClr val="tx1"/>
                </a:solidFill>
              </a:rPr>
              <a:t>Achieved through process optimization, automation rate increase from 82,14% To 84,22% and payment advise automation project implementation.</a:t>
            </a:r>
          </a:p>
          <a:p>
            <a:r>
              <a:rPr lang="en-US" sz="1200" b="1" dirty="0">
                <a:solidFill>
                  <a:srgbClr val="FF0000"/>
                </a:solidFill>
              </a:rPr>
              <a:t>Automation rate dynamics is missing in the chart…..</a:t>
            </a:r>
          </a:p>
          <a:p>
            <a:endParaRPr lang="en-US" sz="1200" dirty="0">
              <a:solidFill>
                <a:schemeClr val="tx1"/>
              </a:solidFill>
            </a:endParaRPr>
          </a:p>
          <a:p>
            <a:r>
              <a:rPr lang="en-US" sz="1200" dirty="0">
                <a:solidFill>
                  <a:schemeClr val="tx1"/>
                </a:solidFill>
              </a:rPr>
              <a:t>AP-Invoice processing</a:t>
            </a:r>
          </a:p>
          <a:p>
            <a:r>
              <a:rPr lang="en-US" sz="1200" dirty="0">
                <a:solidFill>
                  <a:schemeClr val="tx1"/>
                </a:solidFill>
              </a:rPr>
              <a:t>Transaction</a:t>
            </a:r>
            <a:r>
              <a:rPr lang="lt-LT" sz="1200" dirty="0">
                <a:solidFill>
                  <a:schemeClr val="tx1"/>
                </a:solidFill>
              </a:rPr>
              <a:t> </a:t>
            </a:r>
            <a:r>
              <a:rPr lang="lt-LT" sz="1200" dirty="0" err="1">
                <a:solidFill>
                  <a:schemeClr val="tx1"/>
                </a:solidFill>
              </a:rPr>
              <a:t>volume</a:t>
            </a:r>
            <a:r>
              <a:rPr lang="lt-LT" sz="1200" dirty="0">
                <a:solidFill>
                  <a:schemeClr val="tx1"/>
                </a:solidFill>
              </a:rPr>
              <a:t> </a:t>
            </a:r>
            <a:r>
              <a:rPr lang="lt-LT" sz="1200" dirty="0" err="1">
                <a:solidFill>
                  <a:schemeClr val="tx1"/>
                </a:solidFill>
              </a:rPr>
              <a:t>increased</a:t>
            </a:r>
            <a:r>
              <a:rPr lang="lt-LT" sz="1200" dirty="0">
                <a:solidFill>
                  <a:schemeClr val="tx1"/>
                </a:solidFill>
              </a:rPr>
              <a:t> </a:t>
            </a:r>
            <a:r>
              <a:rPr lang="en-US" sz="1200" dirty="0">
                <a:solidFill>
                  <a:schemeClr val="tx1"/>
                </a:solidFill>
              </a:rPr>
              <a:t>~</a:t>
            </a:r>
            <a:r>
              <a:rPr lang="lt-LT" sz="1200" dirty="0">
                <a:solidFill>
                  <a:schemeClr val="tx1"/>
                </a:solidFill>
              </a:rPr>
              <a:t>14</a:t>
            </a:r>
            <a:r>
              <a:rPr lang="ru-RU" sz="1200" dirty="0">
                <a:solidFill>
                  <a:schemeClr val="tx1"/>
                </a:solidFill>
              </a:rPr>
              <a:t>% </a:t>
            </a:r>
            <a:r>
              <a:rPr lang="en-US" sz="1200" dirty="0">
                <a:solidFill>
                  <a:schemeClr val="tx1"/>
                </a:solidFill>
              </a:rPr>
              <a:t>in March/April while FTE number has gone down from 40,6 to 34,9 or 16% respectively.</a:t>
            </a:r>
          </a:p>
          <a:p>
            <a:r>
              <a:rPr lang="en-US" sz="1200" dirty="0">
                <a:solidFill>
                  <a:schemeClr val="tx1"/>
                </a:solidFill>
              </a:rPr>
              <a:t>Achieved through </a:t>
            </a:r>
          </a:p>
          <a:p>
            <a:r>
              <a:rPr lang="en-US" sz="1200" dirty="0">
                <a:solidFill>
                  <a:schemeClr val="tx1"/>
                </a:solidFill>
              </a:rPr>
              <a:t>	process optimization (simplification of customizations), </a:t>
            </a:r>
          </a:p>
          <a:p>
            <a:r>
              <a:rPr lang="en-US" sz="1200" dirty="0">
                <a:solidFill>
                  <a:schemeClr val="tx1"/>
                </a:solidFill>
              </a:rPr>
              <a:t>	automation rate increase from </a:t>
            </a:r>
            <a:r>
              <a:rPr lang="en-US" sz="1200" b="1" dirty="0">
                <a:solidFill>
                  <a:schemeClr val="tx1"/>
                </a:solidFill>
              </a:rPr>
              <a:t>36,7% To 39% </a:t>
            </a:r>
            <a:r>
              <a:rPr lang="en-US" sz="1200" dirty="0">
                <a:solidFill>
                  <a:schemeClr val="tx1"/>
                </a:solidFill>
              </a:rPr>
              <a:t>and </a:t>
            </a:r>
          </a:p>
          <a:p>
            <a:r>
              <a:rPr lang="en-US" sz="1200" dirty="0">
                <a:solidFill>
                  <a:schemeClr val="tx1"/>
                </a:solidFill>
              </a:rPr>
              <a:t>	VMD quality </a:t>
            </a:r>
            <a:r>
              <a:rPr lang="en-US" sz="1200" dirty="0" err="1">
                <a:solidFill>
                  <a:schemeClr val="tx1"/>
                </a:solidFill>
              </a:rPr>
              <a:t>improvment</a:t>
            </a:r>
            <a:r>
              <a:rPr lang="en-US" sz="1200" dirty="0">
                <a:solidFill>
                  <a:schemeClr val="tx1"/>
                </a:solidFill>
              </a:rPr>
              <a:t>. </a:t>
            </a:r>
          </a:p>
          <a:p>
            <a:r>
              <a:rPr lang="en-US" sz="1200" dirty="0">
                <a:solidFill>
                  <a:schemeClr val="tx1"/>
                </a:solidFill>
              </a:rPr>
              <a:t>	Digital document % increase </a:t>
            </a:r>
          </a:p>
          <a:p>
            <a:r>
              <a:rPr lang="en-US" sz="1200" dirty="0">
                <a:solidFill>
                  <a:schemeClr val="tx1"/>
                </a:solidFill>
              </a:rPr>
              <a:t>	PO rate increas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1" dirty="0">
                <a:solidFill>
                  <a:schemeClr val="tx1"/>
                </a:solidFill>
              </a:rPr>
              <a:t>Automation rate dynamics is missing in the chart…..</a:t>
            </a:r>
          </a:p>
          <a:p>
            <a:endParaRPr lang="en-US" sz="1200" dirty="0">
              <a:solidFill>
                <a:schemeClr val="tx1"/>
              </a:solidFill>
            </a:endParaRPr>
          </a:p>
          <a:p>
            <a:endParaRPr lang="en-US" sz="1200" dirty="0">
              <a:solidFill>
                <a:schemeClr val="tx1"/>
              </a:solidFill>
            </a:endParaRPr>
          </a:p>
        </p:txBody>
      </p:sp>
      <p:sp>
        <p:nvSpPr>
          <p:cNvPr id="4" name="Slide Number Placeholder 3"/>
          <p:cNvSpPr>
            <a:spLocks noGrp="1"/>
          </p:cNvSpPr>
          <p:nvPr>
            <p:ph type="sldNum" sz="quarter" idx="5"/>
          </p:nvPr>
        </p:nvSpPr>
        <p:spPr/>
        <p:txBody>
          <a:bodyPr/>
          <a:lstStyle/>
          <a:p>
            <a:fld id="{21F4D8A9-A3D5-4BD6-AA5D-CFA2C9BF227A}" type="slidenum">
              <a:rPr lang="en-GB" smtClean="0"/>
              <a:t>10</a:t>
            </a:fld>
            <a:endParaRPr lang="en-GB"/>
          </a:p>
        </p:txBody>
      </p:sp>
    </p:spTree>
    <p:extLst>
      <p:ext uri="{BB962C8B-B14F-4D97-AF65-F5344CB8AC3E}">
        <p14:creationId xmlns:p14="http://schemas.microsoft.com/office/powerpoint/2010/main" val="29729158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schemeClr val="tx1"/>
                </a:solidFill>
                <a:latin typeface="+mn-lt"/>
              </a:rPr>
              <a:t>Chart Automation status Over time includes all EU company codes.</a:t>
            </a:r>
          </a:p>
          <a:p>
            <a:endParaRPr lang="en-US" sz="1200" b="1" dirty="0">
              <a:solidFill>
                <a:schemeClr val="tx1"/>
              </a:solidFill>
              <a:latin typeface="+mn-lt"/>
            </a:endParaRPr>
          </a:p>
          <a:p>
            <a:r>
              <a:rPr lang="en-US" sz="1200" b="1" dirty="0">
                <a:solidFill>
                  <a:schemeClr val="tx1"/>
                </a:solidFill>
                <a:latin typeface="+mn-lt"/>
              </a:rPr>
              <a:t>% AP Touchless </a:t>
            </a:r>
            <a:r>
              <a:rPr lang="en-US" sz="1200" dirty="0">
                <a:solidFill>
                  <a:schemeClr val="tx1"/>
                </a:solidFill>
                <a:latin typeface="+mn-lt"/>
              </a:rPr>
              <a:t>= </a:t>
            </a:r>
            <a:r>
              <a:rPr lang="lt-LT" sz="1200" dirty="0" err="1">
                <a:solidFill>
                  <a:schemeClr val="tx1"/>
                </a:solidFill>
                <a:latin typeface="+mn-lt"/>
              </a:rPr>
              <a:t>The</a:t>
            </a:r>
            <a:r>
              <a:rPr lang="lt-LT" sz="1200" dirty="0">
                <a:solidFill>
                  <a:schemeClr val="tx1"/>
                </a:solidFill>
                <a:latin typeface="+mn-lt"/>
              </a:rPr>
              <a:t> </a:t>
            </a:r>
            <a:r>
              <a:rPr lang="lt-LT" sz="1200" dirty="0" err="1">
                <a:solidFill>
                  <a:schemeClr val="tx1"/>
                </a:solidFill>
                <a:latin typeface="+mn-lt"/>
              </a:rPr>
              <a:t>document</a:t>
            </a:r>
            <a:r>
              <a:rPr lang="lt-LT" sz="1200" dirty="0">
                <a:solidFill>
                  <a:schemeClr val="tx1"/>
                </a:solidFill>
                <a:latin typeface="+mn-lt"/>
              </a:rPr>
              <a:t> </a:t>
            </a:r>
            <a:r>
              <a:rPr lang="lt-LT" sz="1200" dirty="0" err="1">
                <a:solidFill>
                  <a:schemeClr val="tx1"/>
                </a:solidFill>
                <a:latin typeface="+mn-lt"/>
              </a:rPr>
              <a:t>has</a:t>
            </a:r>
            <a:r>
              <a:rPr lang="lt-LT" sz="1200" dirty="0">
                <a:solidFill>
                  <a:schemeClr val="tx1"/>
                </a:solidFill>
                <a:latin typeface="+mn-lt"/>
              </a:rPr>
              <a:t> </a:t>
            </a:r>
            <a:r>
              <a:rPr lang="lt-LT" sz="1200" dirty="0" err="1">
                <a:solidFill>
                  <a:schemeClr val="tx1"/>
                </a:solidFill>
                <a:latin typeface="+mn-lt"/>
              </a:rPr>
              <a:t>not</a:t>
            </a:r>
            <a:r>
              <a:rPr lang="lt-LT" sz="1200" dirty="0">
                <a:solidFill>
                  <a:schemeClr val="tx1"/>
                </a:solidFill>
                <a:latin typeface="+mn-lt"/>
              </a:rPr>
              <a:t> </a:t>
            </a:r>
            <a:r>
              <a:rPr lang="lt-LT" sz="1200" dirty="0" err="1">
                <a:solidFill>
                  <a:schemeClr val="tx1"/>
                </a:solidFill>
                <a:latin typeface="+mn-lt"/>
              </a:rPr>
              <a:t>been</a:t>
            </a:r>
            <a:r>
              <a:rPr lang="lt-LT" sz="1200" dirty="0">
                <a:solidFill>
                  <a:schemeClr val="tx1"/>
                </a:solidFill>
                <a:latin typeface="+mn-lt"/>
              </a:rPr>
              <a:t> </a:t>
            </a:r>
            <a:r>
              <a:rPr lang="lt-LT" sz="1200" dirty="0" err="1">
                <a:solidFill>
                  <a:schemeClr val="tx1"/>
                </a:solidFill>
                <a:latin typeface="+mn-lt"/>
              </a:rPr>
              <a:t>touched</a:t>
            </a:r>
            <a:r>
              <a:rPr lang="lt-LT" sz="1200" dirty="0">
                <a:solidFill>
                  <a:schemeClr val="tx1"/>
                </a:solidFill>
                <a:latin typeface="+mn-lt"/>
              </a:rPr>
              <a:t> </a:t>
            </a:r>
            <a:r>
              <a:rPr lang="lt-LT" sz="1200" dirty="0" err="1">
                <a:solidFill>
                  <a:schemeClr val="tx1"/>
                </a:solidFill>
                <a:latin typeface="+mn-lt"/>
              </a:rPr>
              <a:t>by</a:t>
            </a:r>
            <a:r>
              <a:rPr lang="lt-LT" sz="1200" dirty="0">
                <a:solidFill>
                  <a:schemeClr val="tx1"/>
                </a:solidFill>
                <a:latin typeface="+mn-lt"/>
              </a:rPr>
              <a:t> Accounts Payable. </a:t>
            </a:r>
            <a:r>
              <a:rPr lang="lt-LT" sz="1200" dirty="0" err="1">
                <a:solidFill>
                  <a:schemeClr val="tx1"/>
                </a:solidFill>
                <a:latin typeface="+mn-lt"/>
              </a:rPr>
              <a:t>All</a:t>
            </a:r>
            <a:r>
              <a:rPr lang="lt-LT" sz="1200" dirty="0">
                <a:solidFill>
                  <a:schemeClr val="tx1"/>
                </a:solidFill>
                <a:latin typeface="+mn-lt"/>
              </a:rPr>
              <a:t> </a:t>
            </a:r>
            <a:r>
              <a:rPr lang="lt-LT" sz="1200" dirty="0" err="1">
                <a:solidFill>
                  <a:schemeClr val="tx1"/>
                </a:solidFill>
                <a:latin typeface="+mn-lt"/>
              </a:rPr>
              <a:t>relevant</a:t>
            </a:r>
            <a:r>
              <a:rPr lang="lt-LT" sz="1200" dirty="0">
                <a:solidFill>
                  <a:schemeClr val="tx1"/>
                </a:solidFill>
                <a:latin typeface="+mn-lt"/>
              </a:rPr>
              <a:t> </a:t>
            </a:r>
            <a:r>
              <a:rPr lang="lt-LT" sz="1200" dirty="0" err="1">
                <a:solidFill>
                  <a:schemeClr val="tx1"/>
                </a:solidFill>
                <a:latin typeface="+mn-lt"/>
              </a:rPr>
              <a:t>fields</a:t>
            </a:r>
            <a:r>
              <a:rPr lang="lt-LT" sz="1200" dirty="0">
                <a:solidFill>
                  <a:schemeClr val="tx1"/>
                </a:solidFill>
                <a:latin typeface="+mn-lt"/>
              </a:rPr>
              <a:t> </a:t>
            </a:r>
            <a:r>
              <a:rPr lang="lt-LT" sz="1200" dirty="0" err="1">
                <a:solidFill>
                  <a:schemeClr val="tx1"/>
                </a:solidFill>
                <a:latin typeface="+mn-lt"/>
              </a:rPr>
              <a:t>were</a:t>
            </a:r>
            <a:r>
              <a:rPr lang="lt-LT" sz="1200" dirty="0">
                <a:solidFill>
                  <a:schemeClr val="tx1"/>
                </a:solidFill>
                <a:latin typeface="+mn-lt"/>
              </a:rPr>
              <a:t> </a:t>
            </a:r>
            <a:r>
              <a:rPr lang="lt-LT" sz="1200" dirty="0" err="1">
                <a:solidFill>
                  <a:schemeClr val="tx1"/>
                </a:solidFill>
                <a:latin typeface="+mn-lt"/>
              </a:rPr>
              <a:t>captured</a:t>
            </a:r>
            <a:r>
              <a:rPr lang="lt-LT" sz="1200" dirty="0">
                <a:solidFill>
                  <a:schemeClr val="tx1"/>
                </a:solidFill>
                <a:latin typeface="+mn-lt"/>
              </a:rPr>
              <a:t> </a:t>
            </a:r>
            <a:r>
              <a:rPr lang="lt-LT" sz="1200" dirty="0" err="1">
                <a:solidFill>
                  <a:schemeClr val="tx1"/>
                </a:solidFill>
                <a:latin typeface="+mn-lt"/>
              </a:rPr>
              <a:t>automatically</a:t>
            </a:r>
            <a:r>
              <a:rPr lang="lt-LT" sz="1200" dirty="0">
                <a:solidFill>
                  <a:schemeClr val="tx1"/>
                </a:solidFill>
                <a:latin typeface="+mn-lt"/>
              </a:rPr>
              <a:t> </a:t>
            </a:r>
            <a:r>
              <a:rPr lang="lt-LT" sz="1200" dirty="0" err="1">
                <a:solidFill>
                  <a:schemeClr val="tx1"/>
                </a:solidFill>
                <a:latin typeface="+mn-lt"/>
              </a:rPr>
              <a:t>or</a:t>
            </a:r>
            <a:r>
              <a:rPr lang="lt-LT" sz="1200" dirty="0">
                <a:solidFill>
                  <a:schemeClr val="tx1"/>
                </a:solidFill>
                <a:latin typeface="+mn-lt"/>
              </a:rPr>
              <a:t> </a:t>
            </a:r>
            <a:r>
              <a:rPr lang="lt-LT" sz="1200" dirty="0" err="1">
                <a:solidFill>
                  <a:schemeClr val="tx1"/>
                </a:solidFill>
                <a:latin typeface="+mn-lt"/>
              </a:rPr>
              <a:t>in</a:t>
            </a:r>
            <a:r>
              <a:rPr lang="lt-LT" sz="1200" dirty="0">
                <a:solidFill>
                  <a:schemeClr val="tx1"/>
                </a:solidFill>
                <a:latin typeface="+mn-lt"/>
              </a:rPr>
              <a:t> </a:t>
            </a:r>
            <a:r>
              <a:rPr lang="lt-LT" sz="1200" dirty="0" err="1">
                <a:solidFill>
                  <a:schemeClr val="tx1"/>
                </a:solidFill>
                <a:latin typeface="+mn-lt"/>
              </a:rPr>
              <a:t>the</a:t>
            </a:r>
            <a:r>
              <a:rPr lang="lt-LT" sz="1200" dirty="0">
                <a:solidFill>
                  <a:schemeClr val="tx1"/>
                </a:solidFill>
                <a:latin typeface="+mn-lt"/>
              </a:rPr>
              <a:t> „Data </a:t>
            </a:r>
            <a:r>
              <a:rPr lang="lt-LT" sz="1200" dirty="0" err="1">
                <a:solidFill>
                  <a:schemeClr val="tx1"/>
                </a:solidFill>
                <a:latin typeface="+mn-lt"/>
              </a:rPr>
              <a:t>Capture</a:t>
            </a:r>
            <a:r>
              <a:rPr lang="lt-LT" sz="1200" dirty="0">
                <a:solidFill>
                  <a:schemeClr val="tx1"/>
                </a:solidFill>
                <a:latin typeface="+mn-lt"/>
              </a:rPr>
              <a:t>“ </a:t>
            </a:r>
            <a:r>
              <a:rPr lang="lt-LT" sz="1200" dirty="0" err="1">
                <a:solidFill>
                  <a:schemeClr val="tx1"/>
                </a:solidFill>
                <a:latin typeface="+mn-lt"/>
              </a:rPr>
              <a:t>task</a:t>
            </a:r>
            <a:r>
              <a:rPr lang="lt-LT" sz="1200" dirty="0">
                <a:solidFill>
                  <a:schemeClr val="tx1"/>
                </a:solidFill>
                <a:latin typeface="+mn-lt"/>
              </a:rPr>
              <a:t>, </a:t>
            </a:r>
            <a:r>
              <a:rPr lang="lt-LT" sz="1200" dirty="0" err="1">
                <a:solidFill>
                  <a:schemeClr val="tx1"/>
                </a:solidFill>
                <a:latin typeface="+mn-lt"/>
              </a:rPr>
              <a:t>the</a:t>
            </a:r>
            <a:r>
              <a:rPr lang="lt-LT" sz="1200" dirty="0">
                <a:solidFill>
                  <a:schemeClr val="tx1"/>
                </a:solidFill>
                <a:latin typeface="+mn-lt"/>
              </a:rPr>
              <a:t> </a:t>
            </a:r>
            <a:r>
              <a:rPr lang="lt-LT" sz="1200" dirty="0" err="1">
                <a:solidFill>
                  <a:schemeClr val="tx1"/>
                </a:solidFill>
                <a:latin typeface="+mn-lt"/>
              </a:rPr>
              <a:t>document</a:t>
            </a:r>
            <a:r>
              <a:rPr lang="lt-LT" sz="1200" dirty="0">
                <a:solidFill>
                  <a:schemeClr val="tx1"/>
                </a:solidFill>
                <a:latin typeface="+mn-lt"/>
              </a:rPr>
              <a:t> </a:t>
            </a:r>
            <a:r>
              <a:rPr lang="lt-LT" sz="1200" dirty="0" err="1">
                <a:solidFill>
                  <a:schemeClr val="tx1"/>
                </a:solidFill>
                <a:latin typeface="+mn-lt"/>
              </a:rPr>
              <a:t>was</a:t>
            </a:r>
            <a:r>
              <a:rPr lang="lt-LT" sz="1200" dirty="0">
                <a:solidFill>
                  <a:schemeClr val="tx1"/>
                </a:solidFill>
                <a:latin typeface="+mn-lt"/>
              </a:rPr>
              <a:t> </a:t>
            </a:r>
            <a:r>
              <a:rPr lang="lt-LT" sz="1200" dirty="0" err="1">
                <a:solidFill>
                  <a:schemeClr val="tx1"/>
                </a:solidFill>
                <a:latin typeface="+mn-lt"/>
              </a:rPr>
              <a:t>posted</a:t>
            </a:r>
            <a:r>
              <a:rPr lang="lt-LT" sz="1200" dirty="0">
                <a:solidFill>
                  <a:schemeClr val="tx1"/>
                </a:solidFill>
                <a:latin typeface="+mn-lt"/>
              </a:rPr>
              <a:t> </a:t>
            </a:r>
            <a:r>
              <a:rPr lang="lt-LT" sz="1200" dirty="0" err="1">
                <a:solidFill>
                  <a:schemeClr val="tx1"/>
                </a:solidFill>
                <a:latin typeface="+mn-lt"/>
              </a:rPr>
              <a:t>automatically</a:t>
            </a:r>
            <a:r>
              <a:rPr lang="lt-LT" sz="1200" dirty="0">
                <a:solidFill>
                  <a:schemeClr val="tx1"/>
                </a:solidFill>
                <a:latin typeface="+mn-lt"/>
              </a:rPr>
              <a:t>. </a:t>
            </a:r>
          </a:p>
          <a:p>
            <a:r>
              <a:rPr lang="en-US" sz="1200" b="1" dirty="0">
                <a:solidFill>
                  <a:schemeClr val="tx1"/>
                </a:solidFill>
                <a:latin typeface="+mn-lt"/>
              </a:rPr>
              <a:t>% Touchless ST </a:t>
            </a:r>
            <a:r>
              <a:rPr lang="lt-LT" sz="1200" b="1" dirty="0">
                <a:solidFill>
                  <a:schemeClr val="tx1"/>
                </a:solidFill>
                <a:latin typeface="+mn-lt"/>
              </a:rPr>
              <a:t>(</a:t>
            </a:r>
            <a:r>
              <a:rPr lang="lt-LT" sz="1200" b="1" dirty="0">
                <a:solidFill>
                  <a:schemeClr val="tx1"/>
                </a:solidFill>
              </a:rPr>
              <a:t>S</a:t>
            </a:r>
            <a:r>
              <a:rPr lang="lt-LT" sz="1200" b="1" dirty="0">
                <a:solidFill>
                  <a:schemeClr val="tx1"/>
                </a:solidFill>
                <a:latin typeface="+mn-lt"/>
              </a:rPr>
              <a:t>ystem) </a:t>
            </a:r>
            <a:r>
              <a:rPr lang="en-US" sz="1200" dirty="0">
                <a:solidFill>
                  <a:schemeClr val="tx1"/>
                </a:solidFill>
                <a:latin typeface="+mn-lt"/>
              </a:rPr>
              <a:t>= </a:t>
            </a:r>
            <a:r>
              <a:rPr lang="lt-LT" sz="1200" dirty="0">
                <a:solidFill>
                  <a:schemeClr val="tx1"/>
                </a:solidFill>
              </a:rPr>
              <a:t>„ST“ </a:t>
            </a:r>
            <a:r>
              <a:rPr lang="lt-LT" sz="1200" dirty="0" err="1">
                <a:solidFill>
                  <a:schemeClr val="tx1"/>
                </a:solidFill>
              </a:rPr>
              <a:t>stands</a:t>
            </a:r>
            <a:r>
              <a:rPr lang="lt-LT" sz="1200" dirty="0">
                <a:solidFill>
                  <a:schemeClr val="tx1"/>
                </a:solidFill>
              </a:rPr>
              <a:t> for „</a:t>
            </a:r>
            <a:r>
              <a:rPr lang="lt-LT" sz="1200" dirty="0" err="1">
                <a:solidFill>
                  <a:schemeClr val="tx1"/>
                </a:solidFill>
              </a:rPr>
              <a:t>Straight</a:t>
            </a:r>
            <a:r>
              <a:rPr lang="lt-LT" sz="1200" dirty="0">
                <a:solidFill>
                  <a:schemeClr val="tx1"/>
                </a:solidFill>
              </a:rPr>
              <a:t> </a:t>
            </a:r>
            <a:r>
              <a:rPr lang="lt-LT" sz="1200" dirty="0" err="1">
                <a:solidFill>
                  <a:schemeClr val="tx1"/>
                </a:solidFill>
              </a:rPr>
              <a:t>Through</a:t>
            </a:r>
            <a:r>
              <a:rPr lang="lt-LT" sz="1200" dirty="0">
                <a:solidFill>
                  <a:schemeClr val="tx1"/>
                </a:solidFill>
              </a:rPr>
              <a:t>“. </a:t>
            </a:r>
            <a:r>
              <a:rPr lang="lt-LT" sz="1200" dirty="0" err="1">
                <a:solidFill>
                  <a:schemeClr val="tx1"/>
                </a:solidFill>
              </a:rPr>
              <a:t>The</a:t>
            </a:r>
            <a:r>
              <a:rPr lang="lt-LT" sz="1200" dirty="0">
                <a:solidFill>
                  <a:schemeClr val="tx1"/>
                </a:solidFill>
              </a:rPr>
              <a:t> </a:t>
            </a:r>
            <a:r>
              <a:rPr lang="lt-LT" sz="1200" dirty="0" err="1">
                <a:solidFill>
                  <a:schemeClr val="tx1"/>
                </a:solidFill>
              </a:rPr>
              <a:t>document</a:t>
            </a:r>
            <a:r>
              <a:rPr lang="lt-LT" sz="1200" dirty="0">
                <a:solidFill>
                  <a:schemeClr val="tx1"/>
                </a:solidFill>
              </a:rPr>
              <a:t> </a:t>
            </a:r>
            <a:r>
              <a:rPr lang="lt-LT" sz="1200" dirty="0" err="1">
                <a:solidFill>
                  <a:schemeClr val="tx1"/>
                </a:solidFill>
              </a:rPr>
              <a:t>was</a:t>
            </a:r>
            <a:r>
              <a:rPr lang="lt-LT" sz="1200" dirty="0">
                <a:solidFill>
                  <a:schemeClr val="tx1"/>
                </a:solidFill>
              </a:rPr>
              <a:t> </a:t>
            </a:r>
            <a:r>
              <a:rPr lang="lt-LT" sz="1200" dirty="0" err="1">
                <a:solidFill>
                  <a:schemeClr val="tx1"/>
                </a:solidFill>
              </a:rPr>
              <a:t>processed</a:t>
            </a:r>
            <a:r>
              <a:rPr lang="lt-LT" sz="1200" dirty="0">
                <a:solidFill>
                  <a:schemeClr val="tx1"/>
                </a:solidFill>
              </a:rPr>
              <a:t> </a:t>
            </a:r>
            <a:r>
              <a:rPr lang="lt-LT" sz="1200" dirty="0" err="1">
                <a:solidFill>
                  <a:schemeClr val="tx1"/>
                </a:solidFill>
              </a:rPr>
              <a:t>without</a:t>
            </a:r>
            <a:r>
              <a:rPr lang="lt-LT" sz="1200" dirty="0">
                <a:solidFill>
                  <a:schemeClr val="tx1"/>
                </a:solidFill>
              </a:rPr>
              <a:t> </a:t>
            </a:r>
            <a:r>
              <a:rPr lang="lt-LT" sz="1200" dirty="0" err="1">
                <a:solidFill>
                  <a:schemeClr val="tx1"/>
                </a:solidFill>
              </a:rPr>
              <a:t>being</a:t>
            </a:r>
            <a:r>
              <a:rPr lang="lt-LT" sz="1200" dirty="0">
                <a:solidFill>
                  <a:schemeClr val="tx1"/>
                </a:solidFill>
              </a:rPr>
              <a:t> </a:t>
            </a:r>
            <a:r>
              <a:rPr lang="lt-LT" sz="1200" dirty="0" err="1">
                <a:solidFill>
                  <a:schemeClr val="tx1"/>
                </a:solidFill>
              </a:rPr>
              <a:t>touched</a:t>
            </a:r>
            <a:r>
              <a:rPr lang="lt-LT" sz="1200" dirty="0">
                <a:solidFill>
                  <a:schemeClr val="tx1"/>
                </a:solidFill>
              </a:rPr>
              <a:t> </a:t>
            </a:r>
            <a:r>
              <a:rPr lang="lt-LT" sz="1200" dirty="0" err="1">
                <a:solidFill>
                  <a:schemeClr val="tx1"/>
                </a:solidFill>
              </a:rPr>
              <a:t>by</a:t>
            </a:r>
            <a:r>
              <a:rPr lang="lt-LT" sz="1200" dirty="0">
                <a:solidFill>
                  <a:schemeClr val="tx1"/>
                </a:solidFill>
              </a:rPr>
              <a:t> Accounts Payable </a:t>
            </a:r>
            <a:r>
              <a:rPr lang="lt-LT" sz="1200" dirty="0" err="1">
                <a:solidFill>
                  <a:schemeClr val="tx1"/>
                </a:solidFill>
              </a:rPr>
              <a:t>or</a:t>
            </a:r>
            <a:r>
              <a:rPr lang="lt-LT" sz="1200" dirty="0">
                <a:solidFill>
                  <a:schemeClr val="tx1"/>
                </a:solidFill>
              </a:rPr>
              <a:t> a </a:t>
            </a:r>
            <a:r>
              <a:rPr lang="lt-LT" sz="1200" dirty="0" err="1">
                <a:solidFill>
                  <a:schemeClr val="tx1"/>
                </a:solidFill>
              </a:rPr>
              <a:t>business</a:t>
            </a:r>
            <a:r>
              <a:rPr lang="lt-LT" sz="1200" dirty="0">
                <a:solidFill>
                  <a:schemeClr val="tx1"/>
                </a:solidFill>
              </a:rPr>
              <a:t> </a:t>
            </a:r>
            <a:r>
              <a:rPr lang="lt-LT" sz="1200" dirty="0" err="1">
                <a:solidFill>
                  <a:schemeClr val="tx1"/>
                </a:solidFill>
              </a:rPr>
              <a:t>user</a:t>
            </a:r>
            <a:r>
              <a:rPr lang="lt-LT" sz="1200" dirty="0">
                <a:solidFill>
                  <a:schemeClr val="tx1"/>
                </a:solidFill>
              </a:rPr>
              <a:t> (</a:t>
            </a:r>
            <a:r>
              <a:rPr lang="lt-LT" sz="1200" dirty="0" err="1">
                <a:solidFill>
                  <a:schemeClr val="tx1"/>
                </a:solidFill>
              </a:rPr>
              <a:t>Approver</a:t>
            </a:r>
            <a:r>
              <a:rPr lang="lt-LT" sz="1200" dirty="0">
                <a:solidFill>
                  <a:schemeClr val="tx1"/>
                </a:solidFill>
              </a:rPr>
              <a:t>). </a:t>
            </a:r>
            <a:r>
              <a:rPr lang="lt-LT" sz="1200" dirty="0" err="1">
                <a:solidFill>
                  <a:schemeClr val="tx1"/>
                </a:solidFill>
              </a:rPr>
              <a:t>All</a:t>
            </a:r>
            <a:r>
              <a:rPr lang="lt-LT" sz="1200" dirty="0">
                <a:solidFill>
                  <a:schemeClr val="tx1"/>
                </a:solidFill>
              </a:rPr>
              <a:t> </a:t>
            </a:r>
            <a:r>
              <a:rPr lang="lt-LT" sz="1200" dirty="0" err="1">
                <a:solidFill>
                  <a:schemeClr val="tx1"/>
                </a:solidFill>
              </a:rPr>
              <a:t>relevant</a:t>
            </a:r>
            <a:r>
              <a:rPr lang="lt-LT" sz="1200" dirty="0">
                <a:solidFill>
                  <a:schemeClr val="tx1"/>
                </a:solidFill>
              </a:rPr>
              <a:t>: </a:t>
            </a:r>
            <a:r>
              <a:rPr lang="lt-LT" sz="1200" dirty="0" err="1">
                <a:solidFill>
                  <a:schemeClr val="tx1"/>
                </a:solidFill>
              </a:rPr>
              <a:t>fields</a:t>
            </a:r>
            <a:r>
              <a:rPr lang="lt-LT" sz="1200" dirty="0">
                <a:solidFill>
                  <a:schemeClr val="tx1"/>
                </a:solidFill>
              </a:rPr>
              <a:t> </a:t>
            </a:r>
            <a:r>
              <a:rPr lang="lt-LT" sz="1200" dirty="0" err="1">
                <a:solidFill>
                  <a:schemeClr val="tx1"/>
                </a:solidFill>
              </a:rPr>
              <a:t>were</a:t>
            </a:r>
            <a:r>
              <a:rPr lang="lt-LT" sz="1200" dirty="0">
                <a:solidFill>
                  <a:schemeClr val="tx1"/>
                </a:solidFill>
              </a:rPr>
              <a:t> </a:t>
            </a:r>
            <a:r>
              <a:rPr lang="lt-LT" sz="1200" dirty="0" err="1">
                <a:solidFill>
                  <a:schemeClr val="tx1"/>
                </a:solidFill>
              </a:rPr>
              <a:t>captured</a:t>
            </a:r>
            <a:r>
              <a:rPr lang="lt-LT" sz="1200" dirty="0">
                <a:solidFill>
                  <a:schemeClr val="tx1"/>
                </a:solidFill>
              </a:rPr>
              <a:t> </a:t>
            </a:r>
            <a:r>
              <a:rPr lang="lt-LT" sz="1200" dirty="0" err="1">
                <a:solidFill>
                  <a:schemeClr val="tx1"/>
                </a:solidFill>
              </a:rPr>
              <a:t>automatically</a:t>
            </a:r>
            <a:r>
              <a:rPr lang="lt-LT" sz="1200" dirty="0">
                <a:solidFill>
                  <a:schemeClr val="tx1"/>
                </a:solidFill>
              </a:rPr>
              <a:t> </a:t>
            </a:r>
            <a:r>
              <a:rPr lang="lt-LT" sz="1200" dirty="0" err="1">
                <a:solidFill>
                  <a:schemeClr val="tx1"/>
                </a:solidFill>
              </a:rPr>
              <a:t>or</a:t>
            </a:r>
            <a:r>
              <a:rPr lang="lt-LT" sz="1200" dirty="0">
                <a:solidFill>
                  <a:schemeClr val="tx1"/>
                </a:solidFill>
              </a:rPr>
              <a:t> </a:t>
            </a:r>
            <a:r>
              <a:rPr lang="lt-LT" sz="1200" dirty="0" err="1">
                <a:solidFill>
                  <a:schemeClr val="tx1"/>
                </a:solidFill>
              </a:rPr>
              <a:t>in</a:t>
            </a:r>
            <a:r>
              <a:rPr lang="lt-LT" sz="1200" dirty="0">
                <a:solidFill>
                  <a:schemeClr val="tx1"/>
                </a:solidFill>
              </a:rPr>
              <a:t> </a:t>
            </a:r>
            <a:r>
              <a:rPr lang="lt-LT" sz="1200" dirty="0" err="1">
                <a:solidFill>
                  <a:schemeClr val="tx1"/>
                </a:solidFill>
              </a:rPr>
              <a:t>the</a:t>
            </a:r>
            <a:r>
              <a:rPr lang="lt-LT" sz="1200" dirty="0">
                <a:solidFill>
                  <a:schemeClr val="tx1"/>
                </a:solidFill>
              </a:rPr>
              <a:t> „Data </a:t>
            </a:r>
            <a:r>
              <a:rPr lang="lt-LT" sz="1200" dirty="0" err="1">
                <a:solidFill>
                  <a:schemeClr val="tx1"/>
                </a:solidFill>
              </a:rPr>
              <a:t>Capture</a:t>
            </a:r>
            <a:r>
              <a:rPr lang="lt-LT" sz="1200" dirty="0">
                <a:solidFill>
                  <a:schemeClr val="tx1"/>
                </a:solidFill>
              </a:rPr>
              <a:t>“ </a:t>
            </a:r>
            <a:r>
              <a:rPr lang="lt-LT" sz="1200" dirty="0" err="1">
                <a:solidFill>
                  <a:schemeClr val="tx1"/>
                </a:solidFill>
              </a:rPr>
              <a:t>task</a:t>
            </a:r>
            <a:r>
              <a:rPr lang="lt-LT" sz="1200" dirty="0">
                <a:solidFill>
                  <a:schemeClr val="tx1"/>
                </a:solidFill>
              </a:rPr>
              <a:t> </a:t>
            </a:r>
            <a:r>
              <a:rPr lang="lt-LT" sz="1200" dirty="0" err="1">
                <a:solidFill>
                  <a:schemeClr val="tx1"/>
                </a:solidFill>
              </a:rPr>
              <a:t>the</a:t>
            </a:r>
            <a:r>
              <a:rPr lang="lt-LT" sz="1200" dirty="0">
                <a:solidFill>
                  <a:schemeClr val="tx1"/>
                </a:solidFill>
              </a:rPr>
              <a:t> </a:t>
            </a:r>
            <a:r>
              <a:rPr lang="lt-LT" sz="1200" dirty="0" err="1">
                <a:solidFill>
                  <a:schemeClr val="tx1"/>
                </a:solidFill>
              </a:rPr>
              <a:t>document</a:t>
            </a:r>
            <a:r>
              <a:rPr lang="lt-LT" sz="1200" dirty="0">
                <a:solidFill>
                  <a:schemeClr val="tx1"/>
                </a:solidFill>
              </a:rPr>
              <a:t> </a:t>
            </a:r>
            <a:r>
              <a:rPr lang="lt-LT" sz="1200" dirty="0" err="1">
                <a:solidFill>
                  <a:schemeClr val="tx1"/>
                </a:solidFill>
              </a:rPr>
              <a:t>was</a:t>
            </a:r>
            <a:r>
              <a:rPr lang="lt-LT" sz="1200" dirty="0">
                <a:solidFill>
                  <a:schemeClr val="tx1"/>
                </a:solidFill>
              </a:rPr>
              <a:t> </a:t>
            </a:r>
            <a:r>
              <a:rPr lang="lt-LT" sz="1200" dirty="0" err="1">
                <a:solidFill>
                  <a:schemeClr val="tx1"/>
                </a:solidFill>
              </a:rPr>
              <a:t>posted</a:t>
            </a:r>
            <a:r>
              <a:rPr lang="lt-LT" sz="1200" dirty="0">
                <a:solidFill>
                  <a:schemeClr val="tx1"/>
                </a:solidFill>
              </a:rPr>
              <a:t> </a:t>
            </a:r>
            <a:r>
              <a:rPr lang="lt-LT" sz="1200" dirty="0" err="1">
                <a:solidFill>
                  <a:schemeClr val="tx1"/>
                </a:solidFill>
              </a:rPr>
              <a:t>automatically</a:t>
            </a:r>
            <a:r>
              <a:rPr lang="lt-LT" sz="1200" dirty="0">
                <a:solidFill>
                  <a:schemeClr val="tx1"/>
                </a:solidFill>
              </a:rPr>
              <a:t>.</a:t>
            </a:r>
          </a:p>
          <a:p>
            <a:r>
              <a:rPr lang="en-US" sz="1200" b="1" dirty="0">
                <a:solidFill>
                  <a:schemeClr val="tx1"/>
                </a:solidFill>
                <a:latin typeface="+mn-lt"/>
              </a:rPr>
              <a:t>% AP no Changes </a:t>
            </a:r>
            <a:r>
              <a:rPr lang="en-US" sz="1200" dirty="0">
                <a:solidFill>
                  <a:schemeClr val="tx1"/>
                </a:solidFill>
                <a:latin typeface="+mn-lt"/>
              </a:rPr>
              <a:t>=</a:t>
            </a:r>
            <a:r>
              <a:rPr lang="lt-LT" sz="1200" dirty="0">
                <a:solidFill>
                  <a:schemeClr val="tx1"/>
                </a:solidFill>
                <a:latin typeface="+mn-lt"/>
              </a:rPr>
              <a:t> </a:t>
            </a:r>
            <a:r>
              <a:rPr lang="lt-LT" sz="1200" dirty="0" err="1">
                <a:solidFill>
                  <a:schemeClr val="tx1"/>
                </a:solidFill>
                <a:latin typeface="+mn-lt"/>
              </a:rPr>
              <a:t>The</a:t>
            </a:r>
            <a:r>
              <a:rPr lang="lt-LT" sz="1200" dirty="0">
                <a:solidFill>
                  <a:schemeClr val="tx1"/>
                </a:solidFill>
                <a:latin typeface="+mn-lt"/>
              </a:rPr>
              <a:t> </a:t>
            </a:r>
            <a:r>
              <a:rPr lang="lt-LT" sz="1200" dirty="0" err="1">
                <a:solidFill>
                  <a:schemeClr val="tx1"/>
                </a:solidFill>
                <a:latin typeface="+mn-lt"/>
              </a:rPr>
              <a:t>document</a:t>
            </a:r>
            <a:r>
              <a:rPr lang="lt-LT" sz="1200" dirty="0">
                <a:solidFill>
                  <a:schemeClr val="tx1"/>
                </a:solidFill>
                <a:latin typeface="+mn-lt"/>
              </a:rPr>
              <a:t> </a:t>
            </a:r>
            <a:r>
              <a:rPr lang="lt-LT" sz="1200" dirty="0" err="1">
                <a:solidFill>
                  <a:schemeClr val="tx1"/>
                </a:solidFill>
                <a:latin typeface="+mn-lt"/>
              </a:rPr>
              <a:t>was</a:t>
            </a:r>
            <a:r>
              <a:rPr lang="lt-LT" sz="1200" dirty="0">
                <a:solidFill>
                  <a:schemeClr val="tx1"/>
                </a:solidFill>
                <a:latin typeface="+mn-lt"/>
              </a:rPr>
              <a:t> </a:t>
            </a:r>
            <a:r>
              <a:rPr lang="lt-LT" sz="1200" dirty="0" err="1">
                <a:solidFill>
                  <a:schemeClr val="tx1"/>
                </a:solidFill>
                <a:latin typeface="+mn-lt"/>
              </a:rPr>
              <a:t>in</a:t>
            </a:r>
            <a:r>
              <a:rPr lang="lt-LT" sz="1200" dirty="0">
                <a:solidFill>
                  <a:schemeClr val="tx1"/>
                </a:solidFill>
                <a:latin typeface="+mn-lt"/>
              </a:rPr>
              <a:t> </a:t>
            </a:r>
            <a:r>
              <a:rPr lang="lt-LT" sz="1200" dirty="0" err="1">
                <a:solidFill>
                  <a:schemeClr val="tx1"/>
                </a:solidFill>
                <a:latin typeface="+mn-lt"/>
              </a:rPr>
              <a:t>an</a:t>
            </a:r>
            <a:r>
              <a:rPr lang="lt-LT" sz="1200" dirty="0">
                <a:solidFill>
                  <a:schemeClr val="tx1"/>
                </a:solidFill>
                <a:latin typeface="+mn-lt"/>
              </a:rPr>
              <a:t> Accounts Payable </a:t>
            </a:r>
            <a:r>
              <a:rPr lang="lt-LT" sz="1200" dirty="0" err="1">
                <a:solidFill>
                  <a:schemeClr val="tx1"/>
                </a:solidFill>
                <a:latin typeface="+mn-lt"/>
              </a:rPr>
              <a:t>task</a:t>
            </a:r>
            <a:r>
              <a:rPr lang="lt-LT" sz="1200" dirty="0">
                <a:solidFill>
                  <a:schemeClr val="tx1"/>
                </a:solidFill>
                <a:latin typeface="+mn-lt"/>
              </a:rPr>
              <a:t>,</a:t>
            </a:r>
            <a:r>
              <a:rPr lang="lt-LT" sz="1200" dirty="0">
                <a:solidFill>
                  <a:schemeClr val="tx1"/>
                </a:solidFill>
              </a:rPr>
              <a:t> </a:t>
            </a:r>
            <a:r>
              <a:rPr lang="lt-LT" sz="1200" dirty="0" err="1">
                <a:solidFill>
                  <a:schemeClr val="tx1"/>
                </a:solidFill>
              </a:rPr>
              <a:t>but</a:t>
            </a:r>
            <a:r>
              <a:rPr lang="lt-LT" sz="1200" dirty="0">
                <a:solidFill>
                  <a:schemeClr val="tx1"/>
                </a:solidFill>
              </a:rPr>
              <a:t> </a:t>
            </a:r>
            <a:r>
              <a:rPr lang="lt-LT" sz="1200" dirty="0" err="1">
                <a:solidFill>
                  <a:schemeClr val="tx1"/>
                </a:solidFill>
              </a:rPr>
              <a:t>no</a:t>
            </a:r>
            <a:r>
              <a:rPr lang="lt-LT" sz="1200" dirty="0">
                <a:solidFill>
                  <a:schemeClr val="tx1"/>
                </a:solidFill>
              </a:rPr>
              <a:t> </a:t>
            </a:r>
            <a:r>
              <a:rPr lang="lt-LT" sz="1200" dirty="0" err="1">
                <a:solidFill>
                  <a:schemeClr val="tx1"/>
                </a:solidFill>
              </a:rPr>
              <a:t>changes</a:t>
            </a:r>
            <a:r>
              <a:rPr lang="lt-LT" sz="1200" dirty="0">
                <a:solidFill>
                  <a:schemeClr val="tx1"/>
                </a:solidFill>
              </a:rPr>
              <a:t> </a:t>
            </a:r>
            <a:r>
              <a:rPr lang="lt-LT" sz="1200" dirty="0" err="1">
                <a:solidFill>
                  <a:schemeClr val="tx1"/>
                </a:solidFill>
              </a:rPr>
              <a:t>were</a:t>
            </a:r>
            <a:r>
              <a:rPr lang="lt-LT" sz="1200" dirty="0">
                <a:solidFill>
                  <a:schemeClr val="tx1"/>
                </a:solidFill>
              </a:rPr>
              <a:t> </a:t>
            </a:r>
            <a:r>
              <a:rPr lang="lt-LT" sz="1200" dirty="0" err="1">
                <a:solidFill>
                  <a:schemeClr val="tx1"/>
                </a:solidFill>
              </a:rPr>
              <a:t>made</a:t>
            </a:r>
            <a:r>
              <a:rPr lang="lt-LT" sz="1200" dirty="0">
                <a:solidFill>
                  <a:schemeClr val="tx1"/>
                </a:solidFill>
              </a:rPr>
              <a:t>. </a:t>
            </a:r>
            <a:r>
              <a:rPr lang="lt-LT" sz="1200" dirty="0" err="1">
                <a:solidFill>
                  <a:schemeClr val="tx1"/>
                </a:solidFill>
              </a:rPr>
              <a:t>This</a:t>
            </a:r>
            <a:r>
              <a:rPr lang="lt-LT" sz="1200" dirty="0">
                <a:solidFill>
                  <a:schemeClr val="tx1"/>
                </a:solidFill>
              </a:rPr>
              <a:t> </a:t>
            </a:r>
            <a:r>
              <a:rPr lang="lt-LT" sz="1200" dirty="0" err="1">
                <a:solidFill>
                  <a:schemeClr val="tx1"/>
                </a:solidFill>
              </a:rPr>
              <a:t>can</a:t>
            </a:r>
            <a:r>
              <a:rPr lang="lt-LT" sz="1200" dirty="0">
                <a:solidFill>
                  <a:schemeClr val="tx1"/>
                </a:solidFill>
              </a:rPr>
              <a:t> </a:t>
            </a:r>
            <a:r>
              <a:rPr lang="lt-LT" sz="1200" dirty="0" err="1">
                <a:solidFill>
                  <a:schemeClr val="tx1"/>
                </a:solidFill>
              </a:rPr>
              <a:t>occur</a:t>
            </a:r>
            <a:r>
              <a:rPr lang="lt-LT" sz="1200" dirty="0">
                <a:solidFill>
                  <a:schemeClr val="tx1"/>
                </a:solidFill>
              </a:rPr>
              <a:t> </a:t>
            </a:r>
            <a:r>
              <a:rPr lang="lt-LT" sz="1200" dirty="0" err="1">
                <a:solidFill>
                  <a:schemeClr val="tx1"/>
                </a:solidFill>
              </a:rPr>
              <a:t>if</a:t>
            </a:r>
            <a:r>
              <a:rPr lang="lt-LT" sz="1200" dirty="0">
                <a:solidFill>
                  <a:schemeClr val="tx1"/>
                </a:solidFill>
              </a:rPr>
              <a:t> </a:t>
            </a:r>
            <a:r>
              <a:rPr lang="lt-LT" sz="1200" dirty="0" err="1">
                <a:solidFill>
                  <a:schemeClr val="tx1"/>
                </a:solidFill>
              </a:rPr>
              <a:t>automatic</a:t>
            </a:r>
            <a:r>
              <a:rPr lang="lt-LT" sz="1200" dirty="0">
                <a:solidFill>
                  <a:schemeClr val="tx1"/>
                </a:solidFill>
              </a:rPr>
              <a:t> </a:t>
            </a:r>
            <a:r>
              <a:rPr lang="lt-LT" sz="1200" dirty="0" err="1">
                <a:solidFill>
                  <a:schemeClr val="tx1"/>
                </a:solidFill>
              </a:rPr>
              <a:t>posting</a:t>
            </a:r>
            <a:r>
              <a:rPr lang="lt-LT" sz="1200" dirty="0">
                <a:solidFill>
                  <a:schemeClr val="tx1"/>
                </a:solidFill>
              </a:rPr>
              <a:t> </a:t>
            </a:r>
            <a:r>
              <a:rPr lang="lt-LT" sz="1200" dirty="0" err="1">
                <a:solidFill>
                  <a:schemeClr val="tx1"/>
                </a:solidFill>
              </a:rPr>
              <a:t>is</a:t>
            </a:r>
            <a:r>
              <a:rPr lang="lt-LT" sz="1200" dirty="0">
                <a:solidFill>
                  <a:schemeClr val="tx1"/>
                </a:solidFill>
              </a:rPr>
              <a:t> </a:t>
            </a:r>
            <a:r>
              <a:rPr lang="lt-LT" sz="1200" dirty="0" err="1">
                <a:solidFill>
                  <a:schemeClr val="tx1"/>
                </a:solidFill>
              </a:rPr>
              <a:t>prevented</a:t>
            </a:r>
            <a:r>
              <a:rPr lang="lt-LT" sz="1200" dirty="0">
                <a:solidFill>
                  <a:schemeClr val="tx1"/>
                </a:solidFill>
              </a:rPr>
              <a:t> </a:t>
            </a:r>
            <a:r>
              <a:rPr lang="lt-LT" sz="1200" dirty="0" err="1">
                <a:solidFill>
                  <a:schemeClr val="tx1"/>
                </a:solidFill>
              </a:rPr>
              <a:t>by</a:t>
            </a:r>
            <a:r>
              <a:rPr lang="lt-LT" sz="1200" dirty="0">
                <a:solidFill>
                  <a:schemeClr val="tx1"/>
                </a:solidFill>
              </a:rPr>
              <a:t> a </a:t>
            </a:r>
            <a:r>
              <a:rPr lang="lt-LT" sz="1200" dirty="0" err="1">
                <a:solidFill>
                  <a:schemeClr val="tx1"/>
                </a:solidFill>
              </a:rPr>
              <a:t>validation</a:t>
            </a:r>
            <a:r>
              <a:rPr lang="lt-LT" sz="1200" dirty="0">
                <a:solidFill>
                  <a:schemeClr val="tx1"/>
                </a:solidFill>
              </a:rPr>
              <a:t> </a:t>
            </a:r>
            <a:r>
              <a:rPr lang="lt-LT" sz="1200" dirty="0" err="1">
                <a:solidFill>
                  <a:schemeClr val="tx1"/>
                </a:solidFill>
              </a:rPr>
              <a:t>or</a:t>
            </a:r>
            <a:r>
              <a:rPr lang="lt-LT" sz="1200" dirty="0">
                <a:solidFill>
                  <a:schemeClr val="tx1"/>
                </a:solidFill>
              </a:rPr>
              <a:t> </a:t>
            </a:r>
            <a:r>
              <a:rPr lang="lt-LT" sz="1200" dirty="0" err="1">
                <a:solidFill>
                  <a:schemeClr val="tx1"/>
                </a:solidFill>
              </a:rPr>
              <a:t>if</a:t>
            </a:r>
            <a:r>
              <a:rPr lang="lt-LT" sz="1200" dirty="0">
                <a:solidFill>
                  <a:schemeClr val="tx1"/>
                </a:solidFill>
              </a:rPr>
              <a:t>  </a:t>
            </a:r>
            <a:r>
              <a:rPr lang="lt-LT" sz="1200" dirty="0" err="1">
                <a:solidFill>
                  <a:schemeClr val="tx1"/>
                </a:solidFill>
              </a:rPr>
              <a:t>automatic</a:t>
            </a:r>
            <a:r>
              <a:rPr lang="lt-LT" sz="1200" dirty="0">
                <a:solidFill>
                  <a:schemeClr val="tx1"/>
                </a:solidFill>
              </a:rPr>
              <a:t> </a:t>
            </a:r>
            <a:r>
              <a:rPr lang="lt-LT" sz="1200" dirty="0" err="1">
                <a:solidFill>
                  <a:schemeClr val="tx1"/>
                </a:solidFill>
              </a:rPr>
              <a:t>posting</a:t>
            </a:r>
            <a:r>
              <a:rPr lang="lt-LT" sz="1200" dirty="0">
                <a:solidFill>
                  <a:schemeClr val="tx1"/>
                </a:solidFill>
              </a:rPr>
              <a:t> </a:t>
            </a:r>
            <a:r>
              <a:rPr lang="lt-LT" sz="1200" dirty="0" err="1">
                <a:solidFill>
                  <a:schemeClr val="tx1"/>
                </a:solidFill>
              </a:rPr>
              <a:t>is</a:t>
            </a:r>
            <a:r>
              <a:rPr lang="lt-LT" sz="1200" dirty="0">
                <a:solidFill>
                  <a:schemeClr val="tx1"/>
                </a:solidFill>
              </a:rPr>
              <a:t> </a:t>
            </a:r>
            <a:r>
              <a:rPr lang="lt-LT" sz="1200" dirty="0" err="1">
                <a:solidFill>
                  <a:schemeClr val="tx1"/>
                </a:solidFill>
              </a:rPr>
              <a:t>disabled</a:t>
            </a:r>
            <a:r>
              <a:rPr lang="lt-LT" sz="1200" dirty="0">
                <a:solidFill>
                  <a:schemeClr val="tx1"/>
                </a:solidFill>
              </a:rPr>
              <a:t> </a:t>
            </a:r>
            <a:r>
              <a:rPr lang="lt-LT" sz="1200" dirty="0" err="1">
                <a:solidFill>
                  <a:schemeClr val="tx1"/>
                </a:solidFill>
              </a:rPr>
              <a:t>by</a:t>
            </a:r>
            <a:r>
              <a:rPr lang="lt-LT" sz="1200" dirty="0">
                <a:solidFill>
                  <a:schemeClr val="tx1"/>
                </a:solidFill>
              </a:rPr>
              <a:t> a </a:t>
            </a:r>
            <a:r>
              <a:rPr lang="lt-LT" sz="1200" dirty="0" err="1">
                <a:solidFill>
                  <a:schemeClr val="tx1"/>
                </a:solidFill>
              </a:rPr>
              <a:t>rule</a:t>
            </a:r>
            <a:r>
              <a:rPr lang="lt-LT" sz="1200" dirty="0">
                <a:solidFill>
                  <a:schemeClr val="tx1"/>
                </a:solidFill>
              </a:rPr>
              <a:t>.</a:t>
            </a:r>
            <a:endParaRPr lang="en-US" sz="1200" dirty="0">
              <a:solidFill>
                <a:schemeClr val="tx1"/>
              </a:solidFill>
            </a:endParaRPr>
          </a:p>
          <a:p>
            <a:endParaRPr lang="en-US" sz="1200" dirty="0">
              <a:solidFill>
                <a:schemeClr val="tx1"/>
              </a:solidFill>
            </a:endParaRPr>
          </a:p>
          <a:p>
            <a:r>
              <a:rPr lang="en-US" sz="1200" dirty="0">
                <a:solidFill>
                  <a:schemeClr val="tx1"/>
                </a:solidFill>
              </a:rPr>
              <a:t>We are able to process more transactions with lower numbers of staff.</a:t>
            </a:r>
          </a:p>
          <a:p>
            <a:endParaRPr lang="en-US" sz="1200" dirty="0">
              <a:solidFill>
                <a:schemeClr val="tx1"/>
              </a:solidFill>
            </a:endParaRPr>
          </a:p>
          <a:p>
            <a:r>
              <a:rPr lang="en-US" sz="1200" b="1" u="sng" dirty="0">
                <a:solidFill>
                  <a:schemeClr val="tx1"/>
                </a:solidFill>
              </a:rPr>
              <a:t>Blue area AP touchless or no change lower 3 segments</a:t>
            </a:r>
            <a:r>
              <a:rPr lang="en-US" sz="1200" dirty="0">
                <a:solidFill>
                  <a:schemeClr val="tx1"/>
                </a:solidFill>
              </a:rPr>
              <a:t>:</a:t>
            </a:r>
          </a:p>
          <a:p>
            <a:r>
              <a:rPr lang="en-US" sz="1200" u="sng" dirty="0">
                <a:solidFill>
                  <a:schemeClr val="tx1"/>
                </a:solidFill>
              </a:rPr>
              <a:t>Since 04/2020 to 04/2021 from 37% to 40% so far 10 company codes have been touched and auto post has been set-up. Results are varying, they depend on quality of incoming documents, PO rate, </a:t>
            </a:r>
            <a:r>
              <a:rPr lang="en-US" sz="1200" u="sng" dirty="0" err="1">
                <a:solidFill>
                  <a:schemeClr val="tx1"/>
                </a:solidFill>
              </a:rPr>
              <a:t>standartisation</a:t>
            </a:r>
            <a:r>
              <a:rPr lang="en-US" sz="1200" u="sng" dirty="0">
                <a:solidFill>
                  <a:schemeClr val="tx1"/>
                </a:solidFill>
              </a:rPr>
              <a:t> of the CC/GL/TAX code selection process, the need for custom/manual input by AP specialist. For the </a:t>
            </a:r>
            <a:r>
              <a:rPr lang="en-US" sz="1200" u="sng" dirty="0" err="1">
                <a:solidFill>
                  <a:schemeClr val="tx1"/>
                </a:solidFill>
              </a:rPr>
              <a:t>mentiond</a:t>
            </a:r>
            <a:r>
              <a:rPr lang="en-US" sz="1200" u="sng" dirty="0">
                <a:solidFill>
                  <a:schemeClr val="tx1"/>
                </a:solidFill>
              </a:rPr>
              <a:t> company codes saving of XXX EUR has been achieved so far (Automation costs absorbed by FI-PF and FSSC) and expected to reach XXX by the end of the year. Depending on where we are with process harmonization and </a:t>
            </a:r>
            <a:r>
              <a:rPr lang="en-US" sz="1200" u="sng" dirty="0" err="1">
                <a:solidFill>
                  <a:schemeClr val="tx1"/>
                </a:solidFill>
              </a:rPr>
              <a:t>standartisation</a:t>
            </a:r>
            <a:r>
              <a:rPr lang="en-US" sz="1200" u="sng" dirty="0">
                <a:solidFill>
                  <a:schemeClr val="tx1"/>
                </a:solidFill>
              </a:rPr>
              <a:t> – results may vary from 10% to 55%, our target should be to reach the 60% automation rate and for that we will need engagement and collaboration of our local finance colleagues.</a:t>
            </a:r>
          </a:p>
          <a:p>
            <a:endParaRPr lang="en-US" sz="1200" dirty="0">
              <a:solidFill>
                <a:schemeClr val="tx1"/>
              </a:solidFill>
            </a:endParaRPr>
          </a:p>
          <a:p>
            <a:r>
              <a:rPr lang="en-US" sz="1200" b="1" dirty="0">
                <a:solidFill>
                  <a:schemeClr val="tx1"/>
                </a:solidFill>
                <a:latin typeface="+mn-lt"/>
              </a:rPr>
              <a:t>% AP</a:t>
            </a:r>
            <a:r>
              <a:rPr lang="lt-LT" sz="1200" b="1" dirty="0">
                <a:solidFill>
                  <a:schemeClr val="tx1"/>
                </a:solidFill>
                <a:latin typeface="+mn-lt"/>
              </a:rPr>
              <a:t> </a:t>
            </a:r>
            <a:r>
              <a:rPr lang="en-US" sz="1200" b="1" dirty="0">
                <a:solidFill>
                  <a:schemeClr val="tx1"/>
                </a:solidFill>
                <a:latin typeface="+mn-lt"/>
              </a:rPr>
              <a:t>1 or 2 Changes </a:t>
            </a:r>
            <a:r>
              <a:rPr lang="en-US" sz="1200" dirty="0">
                <a:solidFill>
                  <a:schemeClr val="tx1"/>
                </a:solidFill>
                <a:latin typeface="+mn-lt"/>
              </a:rPr>
              <a:t>=</a:t>
            </a:r>
            <a:r>
              <a:rPr lang="lt-LT" sz="1200" dirty="0">
                <a:solidFill>
                  <a:schemeClr val="tx1"/>
                </a:solidFill>
                <a:latin typeface="+mn-lt"/>
              </a:rPr>
              <a:t> </a:t>
            </a:r>
            <a:r>
              <a:rPr lang="lt-LT" sz="1200" dirty="0" err="1">
                <a:solidFill>
                  <a:schemeClr val="tx1"/>
                </a:solidFill>
                <a:latin typeface="+mn-lt"/>
              </a:rPr>
              <a:t>The</a:t>
            </a:r>
            <a:r>
              <a:rPr lang="lt-LT" sz="1200" dirty="0">
                <a:solidFill>
                  <a:schemeClr val="tx1"/>
                </a:solidFill>
                <a:latin typeface="+mn-lt"/>
              </a:rPr>
              <a:t> </a:t>
            </a:r>
            <a:r>
              <a:rPr lang="lt-LT" sz="1200" dirty="0" err="1">
                <a:solidFill>
                  <a:schemeClr val="tx1"/>
                </a:solidFill>
                <a:latin typeface="+mn-lt"/>
              </a:rPr>
              <a:t>document</a:t>
            </a:r>
            <a:r>
              <a:rPr lang="lt-LT" sz="1200" dirty="0">
                <a:solidFill>
                  <a:schemeClr val="tx1"/>
                </a:solidFill>
                <a:latin typeface="+mn-lt"/>
              </a:rPr>
              <a:t> </a:t>
            </a:r>
            <a:r>
              <a:rPr lang="lt-LT" sz="1200" dirty="0" err="1">
                <a:solidFill>
                  <a:schemeClr val="tx1"/>
                </a:solidFill>
                <a:latin typeface="+mn-lt"/>
              </a:rPr>
              <a:t>had</a:t>
            </a:r>
            <a:r>
              <a:rPr lang="lt-LT" sz="1200" dirty="0">
                <a:solidFill>
                  <a:schemeClr val="tx1"/>
                </a:solidFill>
                <a:latin typeface="+mn-lt"/>
              </a:rPr>
              <a:t> to be </a:t>
            </a:r>
            <a:r>
              <a:rPr lang="lt-LT" sz="1200" dirty="0" err="1">
                <a:solidFill>
                  <a:schemeClr val="tx1"/>
                </a:solidFill>
                <a:latin typeface="+mn-lt"/>
              </a:rPr>
              <a:t>processed</a:t>
            </a:r>
            <a:r>
              <a:rPr lang="lt-LT" sz="1200" dirty="0">
                <a:solidFill>
                  <a:schemeClr val="tx1"/>
                </a:solidFill>
                <a:latin typeface="+mn-lt"/>
              </a:rPr>
              <a:t> </a:t>
            </a:r>
            <a:r>
              <a:rPr lang="lt-LT" sz="1200" dirty="0" err="1">
                <a:solidFill>
                  <a:schemeClr val="tx1"/>
                </a:solidFill>
                <a:latin typeface="+mn-lt"/>
              </a:rPr>
              <a:t>by</a:t>
            </a:r>
            <a:r>
              <a:rPr lang="lt-LT" sz="1200" dirty="0">
                <a:solidFill>
                  <a:schemeClr val="tx1"/>
                </a:solidFill>
                <a:latin typeface="+mn-lt"/>
              </a:rPr>
              <a:t> Accounts Payable, </a:t>
            </a:r>
            <a:r>
              <a:rPr lang="lt-LT" sz="1200" dirty="0" err="1">
                <a:solidFill>
                  <a:schemeClr val="tx1"/>
                </a:solidFill>
                <a:latin typeface="+mn-lt"/>
              </a:rPr>
              <a:t>but</a:t>
            </a:r>
            <a:r>
              <a:rPr lang="lt-LT" sz="1200" dirty="0">
                <a:solidFill>
                  <a:schemeClr val="tx1"/>
                </a:solidFill>
                <a:latin typeface="+mn-lt"/>
              </a:rPr>
              <a:t> </a:t>
            </a:r>
            <a:r>
              <a:rPr lang="lt-LT" sz="1200" dirty="0" err="1">
                <a:solidFill>
                  <a:schemeClr val="tx1"/>
                </a:solidFill>
                <a:latin typeface="+mn-lt"/>
              </a:rPr>
              <a:t>only</a:t>
            </a:r>
            <a:r>
              <a:rPr lang="lt-LT" sz="1200" dirty="0">
                <a:solidFill>
                  <a:schemeClr val="tx1"/>
                </a:solidFill>
                <a:latin typeface="+mn-lt"/>
              </a:rPr>
              <a:t> 1 </a:t>
            </a:r>
            <a:r>
              <a:rPr lang="lt-LT" sz="1200" dirty="0" err="1">
                <a:solidFill>
                  <a:schemeClr val="tx1"/>
                </a:solidFill>
                <a:latin typeface="+mn-lt"/>
              </a:rPr>
              <a:t>or</a:t>
            </a:r>
            <a:r>
              <a:rPr lang="lt-LT" sz="1200" dirty="0">
                <a:solidFill>
                  <a:schemeClr val="tx1"/>
                </a:solidFill>
                <a:latin typeface="+mn-lt"/>
              </a:rPr>
              <a:t> 2 </a:t>
            </a:r>
            <a:r>
              <a:rPr lang="lt-LT" sz="1200" dirty="0" err="1">
                <a:solidFill>
                  <a:schemeClr val="tx1"/>
                </a:solidFill>
                <a:latin typeface="+mn-lt"/>
              </a:rPr>
              <a:t>fields</a:t>
            </a:r>
            <a:r>
              <a:rPr lang="lt-LT" sz="1200" dirty="0">
                <a:solidFill>
                  <a:schemeClr val="tx1"/>
                </a:solidFill>
                <a:latin typeface="+mn-lt"/>
              </a:rPr>
              <a:t> </a:t>
            </a:r>
            <a:r>
              <a:rPr lang="lt-LT" sz="1200" dirty="0" err="1">
                <a:solidFill>
                  <a:schemeClr val="tx1"/>
                </a:solidFill>
                <a:latin typeface="+mn-lt"/>
              </a:rPr>
              <a:t>had</a:t>
            </a:r>
            <a:r>
              <a:rPr lang="lt-LT" sz="1200" dirty="0">
                <a:solidFill>
                  <a:schemeClr val="tx1"/>
                </a:solidFill>
                <a:latin typeface="+mn-lt"/>
              </a:rPr>
              <a:t> to be </a:t>
            </a:r>
            <a:r>
              <a:rPr lang="lt-LT" sz="1200" dirty="0" err="1">
                <a:solidFill>
                  <a:schemeClr val="tx1"/>
                </a:solidFill>
                <a:latin typeface="+mn-lt"/>
              </a:rPr>
              <a:t>added</a:t>
            </a:r>
            <a:r>
              <a:rPr lang="lt-LT" sz="1200" dirty="0">
                <a:solidFill>
                  <a:schemeClr val="tx1"/>
                </a:solidFill>
                <a:latin typeface="+mn-lt"/>
              </a:rPr>
              <a:t> </a:t>
            </a:r>
            <a:r>
              <a:rPr lang="lt-LT" sz="1200" dirty="0" err="1">
                <a:solidFill>
                  <a:schemeClr val="tx1"/>
                </a:solidFill>
                <a:latin typeface="+mn-lt"/>
              </a:rPr>
              <a:t>or</a:t>
            </a:r>
            <a:r>
              <a:rPr lang="lt-LT" sz="1200" dirty="0">
                <a:solidFill>
                  <a:schemeClr val="tx1"/>
                </a:solidFill>
                <a:latin typeface="+mn-lt"/>
              </a:rPr>
              <a:t> </a:t>
            </a:r>
            <a:r>
              <a:rPr lang="lt-LT" sz="1200" dirty="0" err="1">
                <a:solidFill>
                  <a:schemeClr val="tx1"/>
                </a:solidFill>
                <a:latin typeface="+mn-lt"/>
              </a:rPr>
              <a:t>modified</a:t>
            </a:r>
            <a:r>
              <a:rPr lang="lt-LT" sz="1200" dirty="0">
                <a:solidFill>
                  <a:schemeClr val="tx1"/>
                </a:solidFill>
                <a:latin typeface="+mn-lt"/>
              </a:rPr>
              <a:t>. </a:t>
            </a:r>
            <a:r>
              <a:rPr lang="lt-LT" sz="1200" dirty="0" err="1">
                <a:solidFill>
                  <a:schemeClr val="tx1"/>
                </a:solidFill>
                <a:latin typeface="+mn-lt"/>
              </a:rPr>
              <a:t>This</a:t>
            </a:r>
            <a:r>
              <a:rPr lang="lt-LT" sz="1200" dirty="0">
                <a:solidFill>
                  <a:schemeClr val="tx1"/>
                </a:solidFill>
                <a:latin typeface="+mn-lt"/>
              </a:rPr>
              <a:t> </a:t>
            </a:r>
            <a:r>
              <a:rPr lang="lt-LT" sz="1200" dirty="0" err="1">
                <a:solidFill>
                  <a:schemeClr val="tx1"/>
                </a:solidFill>
                <a:latin typeface="+mn-lt"/>
              </a:rPr>
              <a:t>category</a:t>
            </a:r>
            <a:r>
              <a:rPr lang="lt-LT" sz="1200" dirty="0">
                <a:solidFill>
                  <a:schemeClr val="tx1"/>
                </a:solidFill>
                <a:latin typeface="+mn-lt"/>
              </a:rPr>
              <a:t> </a:t>
            </a:r>
            <a:r>
              <a:rPr lang="lt-LT" sz="1200" dirty="0" err="1">
                <a:solidFill>
                  <a:schemeClr val="tx1"/>
                </a:solidFill>
                <a:latin typeface="+mn-lt"/>
              </a:rPr>
              <a:t>is</a:t>
            </a:r>
            <a:r>
              <a:rPr lang="lt-LT" sz="1200" dirty="0">
                <a:solidFill>
                  <a:schemeClr val="tx1"/>
                </a:solidFill>
                <a:latin typeface="+mn-lt"/>
              </a:rPr>
              <a:t> </a:t>
            </a:r>
            <a:r>
              <a:rPr lang="lt-LT" sz="1200" dirty="0" err="1">
                <a:solidFill>
                  <a:schemeClr val="tx1"/>
                </a:solidFill>
                <a:latin typeface="+mn-lt"/>
              </a:rPr>
              <a:t>similar</a:t>
            </a:r>
            <a:r>
              <a:rPr lang="lt-LT" sz="1200" dirty="0">
                <a:solidFill>
                  <a:schemeClr val="tx1"/>
                </a:solidFill>
                <a:latin typeface="+mn-lt"/>
              </a:rPr>
              <a:t> to „</a:t>
            </a:r>
            <a:r>
              <a:rPr lang="lt-LT" sz="1200" dirty="0" err="1">
                <a:solidFill>
                  <a:schemeClr val="tx1"/>
                </a:solidFill>
                <a:latin typeface="+mn-lt"/>
              </a:rPr>
              <a:t>no</a:t>
            </a:r>
            <a:r>
              <a:rPr lang="lt-LT" sz="1200" dirty="0">
                <a:solidFill>
                  <a:schemeClr val="tx1"/>
                </a:solidFill>
                <a:latin typeface="+mn-lt"/>
              </a:rPr>
              <a:t> </a:t>
            </a:r>
            <a:r>
              <a:rPr lang="lt-LT" sz="1200" dirty="0" err="1">
                <a:solidFill>
                  <a:schemeClr val="tx1"/>
                </a:solidFill>
                <a:latin typeface="+mn-lt"/>
              </a:rPr>
              <a:t>automation</a:t>
            </a:r>
            <a:r>
              <a:rPr lang="lt-LT" sz="1200" dirty="0">
                <a:solidFill>
                  <a:schemeClr val="tx1"/>
                </a:solidFill>
                <a:latin typeface="+mn-lt"/>
              </a:rPr>
              <a:t>“ </a:t>
            </a:r>
            <a:r>
              <a:rPr lang="lt-LT" sz="1200" dirty="0" err="1">
                <a:solidFill>
                  <a:schemeClr val="tx1"/>
                </a:solidFill>
                <a:latin typeface="+mn-lt"/>
              </a:rPr>
              <a:t>but</a:t>
            </a:r>
            <a:r>
              <a:rPr lang="lt-LT" sz="1200" dirty="0">
                <a:solidFill>
                  <a:schemeClr val="tx1"/>
                </a:solidFill>
                <a:latin typeface="+mn-lt"/>
              </a:rPr>
              <a:t> </a:t>
            </a:r>
            <a:r>
              <a:rPr lang="lt-LT" sz="1200" dirty="0" err="1">
                <a:solidFill>
                  <a:schemeClr val="tx1"/>
                </a:solidFill>
                <a:latin typeface="+mn-lt"/>
              </a:rPr>
              <a:t>kept</a:t>
            </a:r>
            <a:r>
              <a:rPr lang="lt-LT" sz="1200" dirty="0">
                <a:solidFill>
                  <a:schemeClr val="tx1"/>
                </a:solidFill>
                <a:latin typeface="+mn-lt"/>
              </a:rPr>
              <a:t> </a:t>
            </a:r>
            <a:r>
              <a:rPr lang="lt-LT" sz="1200" dirty="0" err="1">
                <a:solidFill>
                  <a:schemeClr val="tx1"/>
                </a:solidFill>
                <a:latin typeface="+mn-lt"/>
              </a:rPr>
              <a:t>separate</a:t>
            </a:r>
            <a:r>
              <a:rPr lang="lt-LT" sz="1200" dirty="0">
                <a:solidFill>
                  <a:schemeClr val="tx1"/>
                </a:solidFill>
                <a:latin typeface="+mn-lt"/>
              </a:rPr>
              <a:t> </a:t>
            </a:r>
            <a:r>
              <a:rPr lang="lt-LT" sz="1200" dirty="0" err="1">
                <a:solidFill>
                  <a:schemeClr val="tx1"/>
                </a:solidFill>
                <a:latin typeface="+mn-lt"/>
              </a:rPr>
              <a:t>because</a:t>
            </a:r>
            <a:r>
              <a:rPr lang="lt-LT" sz="1200" dirty="0">
                <a:solidFill>
                  <a:schemeClr val="tx1"/>
                </a:solidFill>
                <a:latin typeface="+mn-lt"/>
              </a:rPr>
              <a:t> </a:t>
            </a:r>
            <a:r>
              <a:rPr lang="lt-LT" sz="1200" dirty="0" err="1">
                <a:solidFill>
                  <a:schemeClr val="tx1"/>
                </a:solidFill>
                <a:latin typeface="+mn-lt"/>
              </a:rPr>
              <a:t>the</a:t>
            </a:r>
            <a:r>
              <a:rPr lang="lt-LT" sz="1200" dirty="0">
                <a:solidFill>
                  <a:schemeClr val="tx1"/>
                </a:solidFill>
                <a:latin typeface="+mn-lt"/>
              </a:rPr>
              <a:t> </a:t>
            </a:r>
            <a:r>
              <a:rPr lang="lt-LT" sz="1200" dirty="0" err="1">
                <a:solidFill>
                  <a:schemeClr val="tx1"/>
                </a:solidFill>
                <a:latin typeface="+mn-lt"/>
              </a:rPr>
              <a:t>affected</a:t>
            </a:r>
            <a:r>
              <a:rPr lang="lt-LT" sz="1200" dirty="0">
                <a:solidFill>
                  <a:schemeClr val="tx1"/>
                </a:solidFill>
                <a:latin typeface="+mn-lt"/>
              </a:rPr>
              <a:t> </a:t>
            </a:r>
            <a:r>
              <a:rPr lang="lt-LT" sz="1200" dirty="0" err="1">
                <a:solidFill>
                  <a:schemeClr val="tx1"/>
                </a:solidFill>
                <a:latin typeface="+mn-lt"/>
              </a:rPr>
              <a:t>document</a:t>
            </a:r>
            <a:r>
              <a:rPr lang="lt-LT" sz="1200" dirty="0">
                <a:solidFill>
                  <a:schemeClr val="tx1"/>
                </a:solidFill>
                <a:latin typeface="+mn-lt"/>
              </a:rPr>
              <a:t> </a:t>
            </a:r>
            <a:r>
              <a:rPr lang="lt-LT" sz="1200" dirty="0" err="1">
                <a:solidFill>
                  <a:schemeClr val="tx1"/>
                </a:solidFill>
                <a:latin typeface="+mn-lt"/>
              </a:rPr>
              <a:t>might</a:t>
            </a:r>
            <a:r>
              <a:rPr lang="lt-LT" sz="1200" dirty="0">
                <a:solidFill>
                  <a:schemeClr val="tx1"/>
                </a:solidFill>
                <a:latin typeface="+mn-lt"/>
              </a:rPr>
              <a:t> be </a:t>
            </a:r>
            <a:r>
              <a:rPr lang="lt-LT" sz="1200" dirty="0" err="1">
                <a:solidFill>
                  <a:schemeClr val="tx1"/>
                </a:solidFill>
                <a:latin typeface="+mn-lt"/>
              </a:rPr>
              <a:t>easier</a:t>
            </a:r>
            <a:r>
              <a:rPr lang="lt-LT" sz="1200" dirty="0">
                <a:solidFill>
                  <a:schemeClr val="tx1"/>
                </a:solidFill>
                <a:latin typeface="+mn-lt"/>
              </a:rPr>
              <a:t> to automate </a:t>
            </a:r>
            <a:r>
              <a:rPr lang="lt-LT" sz="1200" dirty="0" err="1">
                <a:solidFill>
                  <a:schemeClr val="tx1"/>
                </a:solidFill>
                <a:latin typeface="+mn-lt"/>
              </a:rPr>
              <a:t>by</a:t>
            </a:r>
            <a:r>
              <a:rPr lang="lt-LT" sz="1200" dirty="0">
                <a:solidFill>
                  <a:schemeClr val="tx1"/>
                </a:solidFill>
                <a:latin typeface="+mn-lt"/>
              </a:rPr>
              <a:t> </a:t>
            </a:r>
            <a:r>
              <a:rPr lang="lt-LT" sz="1200" dirty="0" err="1">
                <a:solidFill>
                  <a:schemeClr val="tx1"/>
                </a:solidFill>
                <a:latin typeface="+mn-lt"/>
              </a:rPr>
              <a:t>adding</a:t>
            </a:r>
            <a:r>
              <a:rPr lang="lt-LT" sz="1200" dirty="0">
                <a:solidFill>
                  <a:schemeClr val="tx1"/>
                </a:solidFill>
                <a:latin typeface="+mn-lt"/>
              </a:rPr>
              <a:t> a </a:t>
            </a:r>
            <a:r>
              <a:rPr lang="lt-LT" sz="1200" dirty="0" err="1">
                <a:solidFill>
                  <a:schemeClr val="tx1"/>
                </a:solidFill>
                <a:latin typeface="+mn-lt"/>
              </a:rPr>
              <a:t>decision</a:t>
            </a:r>
            <a:r>
              <a:rPr lang="lt-LT" sz="1200" dirty="0">
                <a:solidFill>
                  <a:schemeClr val="tx1"/>
                </a:solidFill>
                <a:latin typeface="+mn-lt"/>
              </a:rPr>
              <a:t> </a:t>
            </a:r>
            <a:r>
              <a:rPr lang="lt-LT" sz="1200" dirty="0" err="1">
                <a:solidFill>
                  <a:schemeClr val="tx1"/>
                </a:solidFill>
                <a:latin typeface="+mn-lt"/>
              </a:rPr>
              <a:t>rule</a:t>
            </a:r>
            <a:r>
              <a:rPr lang="lt-LT" sz="1200" dirty="0">
                <a:solidFill>
                  <a:schemeClr val="tx1"/>
                </a:solidFill>
                <a:latin typeface="+mn-lt"/>
              </a:rPr>
              <a:t> to </a:t>
            </a:r>
            <a:r>
              <a:rPr lang="lt-LT" sz="1200" dirty="0" err="1">
                <a:solidFill>
                  <a:schemeClr val="tx1"/>
                </a:solidFill>
                <a:latin typeface="+mn-lt"/>
              </a:rPr>
              <a:t>set</a:t>
            </a:r>
            <a:r>
              <a:rPr lang="lt-LT" sz="1200" dirty="0">
                <a:solidFill>
                  <a:schemeClr val="tx1"/>
                </a:solidFill>
                <a:latin typeface="+mn-lt"/>
              </a:rPr>
              <a:t> </a:t>
            </a:r>
            <a:r>
              <a:rPr lang="lt-LT" sz="1200" dirty="0" err="1">
                <a:solidFill>
                  <a:schemeClr val="tx1"/>
                </a:solidFill>
                <a:latin typeface="+mn-lt"/>
              </a:rPr>
              <a:t>the</a:t>
            </a:r>
            <a:r>
              <a:rPr lang="lt-LT" sz="1200" dirty="0">
                <a:solidFill>
                  <a:schemeClr val="tx1"/>
                </a:solidFill>
                <a:latin typeface="+mn-lt"/>
              </a:rPr>
              <a:t> </a:t>
            </a:r>
            <a:r>
              <a:rPr lang="lt-LT" sz="1200" dirty="0" err="1">
                <a:solidFill>
                  <a:schemeClr val="tx1"/>
                </a:solidFill>
                <a:latin typeface="+mn-lt"/>
              </a:rPr>
              <a:t>document</a:t>
            </a:r>
            <a:r>
              <a:rPr lang="lt-LT" sz="1200" dirty="0">
                <a:solidFill>
                  <a:schemeClr val="tx1"/>
                </a:solidFill>
                <a:latin typeface="+mn-lt"/>
              </a:rPr>
              <a:t> </a:t>
            </a:r>
            <a:r>
              <a:rPr lang="lt-LT" sz="1200" dirty="0" err="1">
                <a:solidFill>
                  <a:schemeClr val="tx1"/>
                </a:solidFill>
                <a:latin typeface="+mn-lt"/>
              </a:rPr>
              <a:t>type</a:t>
            </a:r>
            <a:r>
              <a:rPr lang="lt-LT" sz="1200" dirty="0">
                <a:solidFill>
                  <a:schemeClr val="tx1"/>
                </a:solidFill>
                <a:latin typeface="+mn-lt"/>
              </a:rPr>
              <a:t> </a:t>
            </a:r>
            <a:r>
              <a:rPr lang="lt-LT" sz="1200" dirty="0" err="1">
                <a:solidFill>
                  <a:schemeClr val="tx1"/>
                </a:solidFill>
                <a:latin typeface="+mn-lt"/>
              </a:rPr>
              <a:t>automatically</a:t>
            </a:r>
            <a:r>
              <a:rPr lang="lt-LT" sz="1200" dirty="0">
                <a:solidFill>
                  <a:schemeClr val="tx1"/>
                </a:solidFill>
                <a:latin typeface="+mn-lt"/>
              </a:rPr>
              <a:t>.</a:t>
            </a:r>
          </a:p>
          <a:p>
            <a:r>
              <a:rPr lang="lt-LT" sz="1200" b="1" dirty="0" err="1">
                <a:solidFill>
                  <a:schemeClr val="tx1"/>
                </a:solidFill>
                <a:latin typeface="+mn-lt"/>
              </a:rPr>
              <a:t>Autosend</a:t>
            </a:r>
            <a:r>
              <a:rPr lang="lt-LT" sz="1200" b="1" dirty="0">
                <a:solidFill>
                  <a:schemeClr val="tx1"/>
                </a:solidFill>
                <a:latin typeface="+mn-lt"/>
              </a:rPr>
              <a:t> to SAP </a:t>
            </a:r>
            <a:r>
              <a:rPr lang="en-US" sz="1200" b="1" dirty="0">
                <a:solidFill>
                  <a:schemeClr val="tx1"/>
                </a:solidFill>
                <a:latin typeface="+mn-lt"/>
              </a:rPr>
              <a:t>= </a:t>
            </a:r>
            <a:r>
              <a:rPr lang="en-US" sz="1200" b="0" dirty="0">
                <a:solidFill>
                  <a:schemeClr val="tx1"/>
                </a:solidFill>
                <a:latin typeface="+mn-lt"/>
              </a:rPr>
              <a:t>After approval y the </a:t>
            </a:r>
            <a:r>
              <a:rPr lang="en-US" sz="1200" b="0" dirty="0" err="1">
                <a:solidFill>
                  <a:schemeClr val="tx1"/>
                </a:solidFill>
                <a:latin typeface="+mn-lt"/>
              </a:rPr>
              <a:t>buisiness</a:t>
            </a:r>
            <a:r>
              <a:rPr lang="en-US" sz="1200" b="0" dirty="0">
                <a:solidFill>
                  <a:schemeClr val="tx1"/>
                </a:solidFill>
                <a:latin typeface="+mn-lt"/>
              </a:rPr>
              <a:t> user, the document was posted automatically to SAP. </a:t>
            </a:r>
          </a:p>
          <a:p>
            <a:r>
              <a:rPr lang="en-US" sz="1200" b="1" dirty="0" err="1">
                <a:solidFill>
                  <a:schemeClr val="tx1"/>
                </a:solidFill>
                <a:latin typeface="+mn-lt"/>
              </a:rPr>
              <a:t>Autostart</a:t>
            </a:r>
            <a:r>
              <a:rPr lang="en-US" sz="1200" b="1" dirty="0">
                <a:solidFill>
                  <a:schemeClr val="tx1"/>
                </a:solidFill>
                <a:latin typeface="+mn-lt"/>
              </a:rPr>
              <a:t> Workflow = </a:t>
            </a:r>
            <a:r>
              <a:rPr lang="en-US" sz="1200" b="0" dirty="0">
                <a:solidFill>
                  <a:schemeClr val="tx1"/>
                </a:solidFill>
                <a:latin typeface="+mn-lt"/>
              </a:rPr>
              <a:t>All </a:t>
            </a:r>
            <a:r>
              <a:rPr lang="en-US" sz="1200" b="0" dirty="0" err="1">
                <a:solidFill>
                  <a:schemeClr val="tx1"/>
                </a:solidFill>
                <a:latin typeface="+mn-lt"/>
              </a:rPr>
              <a:t>relevat</a:t>
            </a:r>
            <a:r>
              <a:rPr lang="en-US" sz="1200" b="0" dirty="0">
                <a:solidFill>
                  <a:schemeClr val="tx1"/>
                </a:solidFill>
                <a:latin typeface="+mn-lt"/>
              </a:rPr>
              <a:t> fields were capturer automatically or in the “</a:t>
            </a:r>
            <a:r>
              <a:rPr lang="en-US" sz="1200" b="0" dirty="0" err="1">
                <a:solidFill>
                  <a:schemeClr val="tx1"/>
                </a:solidFill>
                <a:latin typeface="+mn-lt"/>
              </a:rPr>
              <a:t>Caputure</a:t>
            </a:r>
            <a:r>
              <a:rPr lang="en-US" sz="1200" b="0" dirty="0">
                <a:solidFill>
                  <a:schemeClr val="tx1"/>
                </a:solidFill>
                <a:latin typeface="+mn-lt"/>
              </a:rPr>
              <a:t> task”. Decision rules were applied like tax code and account line information. The approval workflow was started automatically. After the approval by the business user, the document went to the “Posting task” for final review by AP.</a:t>
            </a:r>
            <a:endParaRPr lang="lt-LT" sz="1200" b="0" dirty="0">
              <a:solidFill>
                <a:schemeClr val="tx1"/>
              </a:solidFill>
              <a:latin typeface="+mn-lt"/>
            </a:endParaRPr>
          </a:p>
          <a:p>
            <a:r>
              <a:rPr lang="en-US" sz="1200" b="1" dirty="0">
                <a:solidFill>
                  <a:schemeClr val="tx1"/>
                </a:solidFill>
              </a:rPr>
              <a:t>% No Automation ST </a:t>
            </a:r>
            <a:r>
              <a:rPr lang="en-US" sz="1200" b="0" dirty="0">
                <a:solidFill>
                  <a:schemeClr val="tx1"/>
                </a:solidFill>
              </a:rPr>
              <a:t>= the document was in AP task, where several fields (more than 2) wee changed, but the documents was not in an approval task.</a:t>
            </a:r>
          </a:p>
          <a:p>
            <a:r>
              <a:rPr lang="en-US" sz="1200" b="1" dirty="0">
                <a:solidFill>
                  <a:schemeClr val="tx1"/>
                </a:solidFill>
              </a:rPr>
              <a:t>% No Automation </a:t>
            </a:r>
            <a:r>
              <a:rPr lang="en-US" sz="1200" dirty="0">
                <a:solidFill>
                  <a:schemeClr val="tx1"/>
                </a:solidFill>
              </a:rPr>
              <a:t>= the document was in an AP task before and after approval. Several (more than 2) fields had to be adjusted or added by accounts payable</a:t>
            </a:r>
          </a:p>
        </p:txBody>
      </p:sp>
      <p:sp>
        <p:nvSpPr>
          <p:cNvPr id="4" name="Slide Number Placeholder 3"/>
          <p:cNvSpPr>
            <a:spLocks noGrp="1"/>
          </p:cNvSpPr>
          <p:nvPr>
            <p:ph type="sldNum" sz="quarter" idx="5"/>
          </p:nvPr>
        </p:nvSpPr>
        <p:spPr/>
        <p:txBody>
          <a:bodyPr/>
          <a:lstStyle/>
          <a:p>
            <a:fld id="{21F4D8A9-A3D5-4BD6-AA5D-CFA2C9BF227A}" type="slidenum">
              <a:rPr lang="en-GB" smtClean="0"/>
              <a:t>11</a:t>
            </a:fld>
            <a:endParaRPr lang="en-GB"/>
          </a:p>
        </p:txBody>
      </p:sp>
    </p:spTree>
    <p:extLst>
      <p:ext uri="{BB962C8B-B14F-4D97-AF65-F5344CB8AC3E}">
        <p14:creationId xmlns:p14="http://schemas.microsoft.com/office/powerpoint/2010/main" val="3137099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emplate was inserted from Power-user, the productivity add-in for PowerPoint, Excel and Word.</a:t>
            </a:r>
          </a:p>
          <a:p>
            <a:r>
              <a:rPr lang="en-US" dirty="0"/>
              <a:t>Get thousands of templates, icons, maps, diagrams and charts with Power-user. Visit https://www.powerusersoftwares.co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6553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p:spTree>
      <p:nvGrpSpPr>
        <p:cNvPr id="1" name=""/>
        <p:cNvGrpSpPr/>
        <p:nvPr/>
      </p:nvGrpSpPr>
      <p:grpSpPr>
        <a:xfrm>
          <a:off x="0" y="0"/>
          <a:ext cx="0" cy="0"/>
          <a:chOff x="0" y="0"/>
          <a:chExt cx="0" cy="0"/>
        </a:xfrm>
      </p:grpSpPr>
      <p:sp>
        <p:nvSpPr>
          <p:cNvPr id="6" name="Textplatzhalter 9"/>
          <p:cNvSpPr>
            <a:spLocks noGrp="1"/>
          </p:cNvSpPr>
          <p:nvPr>
            <p:ph type="body" sz="quarter" idx="11" hasCustomPrompt="1"/>
          </p:nvPr>
        </p:nvSpPr>
        <p:spPr>
          <a:xfrm>
            <a:off x="252267" y="1565275"/>
            <a:ext cx="11460041" cy="503238"/>
          </a:xfrm>
          <a:prstGeom prst="rect">
            <a:avLst/>
          </a:prstGeom>
        </p:spPr>
        <p:txBody>
          <a:bodyPr lIns="0" tIns="0" rIns="0" bIns="0"/>
          <a:lstStyle>
            <a:lvl1pPr marL="0" indent="0">
              <a:buNone/>
              <a:defRPr sz="2100" b="1" baseline="0"/>
            </a:lvl1pPr>
          </a:lstStyle>
          <a:p>
            <a:pPr lvl="0"/>
            <a:r>
              <a:rPr lang="de-DE" dirty="0"/>
              <a:t>Click to add title</a:t>
            </a:r>
          </a:p>
        </p:txBody>
      </p:sp>
      <p:sp>
        <p:nvSpPr>
          <p:cNvPr id="7" name="Textplatzhalter 9"/>
          <p:cNvSpPr>
            <a:spLocks noGrp="1"/>
          </p:cNvSpPr>
          <p:nvPr>
            <p:ph type="body" sz="quarter" idx="12" hasCustomPrompt="1"/>
          </p:nvPr>
        </p:nvSpPr>
        <p:spPr>
          <a:xfrm>
            <a:off x="252267" y="2068513"/>
            <a:ext cx="11460041" cy="431800"/>
          </a:xfrm>
          <a:prstGeom prst="rect">
            <a:avLst/>
          </a:prstGeom>
        </p:spPr>
        <p:txBody>
          <a:bodyPr lIns="0" tIns="0" rIns="0" bIns="0"/>
          <a:lstStyle>
            <a:lvl1pPr marL="0" indent="0">
              <a:buNone/>
              <a:defRPr sz="1600" b="1" u="none"/>
            </a:lvl1pPr>
          </a:lstStyle>
          <a:p>
            <a:pPr lvl="0"/>
            <a:r>
              <a:rPr lang="de-DE" dirty="0"/>
              <a:t>Click to add subtitle</a:t>
            </a:r>
          </a:p>
        </p:txBody>
      </p:sp>
      <p:sp>
        <p:nvSpPr>
          <p:cNvPr id="8" name="Textplatzhalter 2"/>
          <p:cNvSpPr>
            <a:spLocks noGrp="1"/>
          </p:cNvSpPr>
          <p:nvPr>
            <p:ph type="body" sz="quarter" idx="14" hasCustomPrompt="1"/>
          </p:nvPr>
        </p:nvSpPr>
        <p:spPr>
          <a:xfrm>
            <a:off x="252681" y="6368230"/>
            <a:ext cx="11460166" cy="117650"/>
          </a:xfrm>
          <a:prstGeom prst="rect">
            <a:avLst/>
          </a:prstGeom>
        </p:spPr>
        <p:txBody>
          <a:bodyPr lIns="0" tIns="0" rIns="0" bIns="0" anchor="ctr" anchorCtr="0"/>
          <a:lstStyle>
            <a:lvl1pPr marL="0" indent="0">
              <a:buNone/>
              <a:defRPr sz="1000"/>
            </a:lvl1pPr>
          </a:lstStyle>
          <a:p>
            <a:pPr lvl="0"/>
            <a:r>
              <a:rPr lang="de-DE" sz="1000" dirty="0"/>
              <a:t>Source</a:t>
            </a:r>
            <a:endParaRPr lang="de-DE" dirty="0"/>
          </a:p>
        </p:txBody>
      </p:sp>
      <p:sp>
        <p:nvSpPr>
          <p:cNvPr id="9" name="Slide Number Placeholder 20"/>
          <p:cNvSpPr>
            <a:spLocks noGrp="1"/>
          </p:cNvSpPr>
          <p:nvPr>
            <p:ph type="sldNum" sz="quarter" idx="4"/>
          </p:nvPr>
        </p:nvSpPr>
        <p:spPr>
          <a:xfrm>
            <a:off x="11427219" y="65808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eference Lines">
    <p:bg>
      <p:bgPr>
        <a:solidFill>
          <a:schemeClr val="bg1"/>
        </a:solidFill>
        <a:effectLst/>
      </p:bgPr>
    </p:bg>
    <p:spTree>
      <p:nvGrpSpPr>
        <p:cNvPr id="1" name=""/>
        <p:cNvGrpSpPr/>
        <p:nvPr/>
      </p:nvGrpSpPr>
      <p:grpSpPr>
        <a:xfrm>
          <a:off x="0" y="0"/>
          <a:ext cx="0" cy="0"/>
          <a:chOff x="0" y="0"/>
          <a:chExt cx="0" cy="0"/>
        </a:xfrm>
      </p:grpSpPr>
      <p:cxnSp>
        <p:nvCxnSpPr>
          <p:cNvPr id="3" name="Gerader Verbinder 2"/>
          <p:cNvCxnSpPr/>
          <p:nvPr userDrawn="1"/>
        </p:nvCxnSpPr>
        <p:spPr>
          <a:xfrm>
            <a:off x="0" y="1565275"/>
            <a:ext cx="119634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6" name="Gerader Verbinder 5"/>
          <p:cNvCxnSpPr/>
          <p:nvPr userDrawn="1"/>
        </p:nvCxnSpPr>
        <p:spPr>
          <a:xfrm>
            <a:off x="251092" y="1"/>
            <a:ext cx="0" cy="6729413"/>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userDrawn="1"/>
        </p:nvCxnSpPr>
        <p:spPr>
          <a:xfrm>
            <a:off x="0" y="2068513"/>
            <a:ext cx="119634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userDrawn="1"/>
        </p:nvCxnSpPr>
        <p:spPr>
          <a:xfrm>
            <a:off x="0" y="2500313"/>
            <a:ext cx="119634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userDrawn="1"/>
        </p:nvCxnSpPr>
        <p:spPr>
          <a:xfrm>
            <a:off x="0" y="6497638"/>
            <a:ext cx="119634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8" name="Gerader Verbinder 7"/>
          <p:cNvCxnSpPr/>
          <p:nvPr userDrawn="1"/>
        </p:nvCxnSpPr>
        <p:spPr>
          <a:xfrm>
            <a:off x="11712308" y="1"/>
            <a:ext cx="0" cy="6729413"/>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2" name="Slide Number Placeholder 20"/>
          <p:cNvSpPr>
            <a:spLocks noGrp="1"/>
          </p:cNvSpPr>
          <p:nvPr>
            <p:ph type="sldNum" sz="quarter" idx="4"/>
          </p:nvPr>
        </p:nvSpPr>
        <p:spPr>
          <a:xfrm>
            <a:off x="11427219" y="65808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Tree>
    <p:extLst>
      <p:ext uri="{BB962C8B-B14F-4D97-AF65-F5344CB8AC3E}">
        <p14:creationId xmlns:p14="http://schemas.microsoft.com/office/powerpoint/2010/main" val="37459385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AF89C-2B2B-4F23-A969-C601DED458AA}"/>
              </a:ext>
            </a:extLst>
          </p:cNvPr>
          <p:cNvSpPr>
            <a:spLocks noGrp="1"/>
          </p:cNvSpPr>
          <p:nvPr>
            <p:ph type="ctrTitle"/>
          </p:nvPr>
        </p:nvSpPr>
        <p:spPr>
          <a:xfrm>
            <a:off x="1495426" y="1101320"/>
            <a:ext cx="8972550" cy="2342833"/>
          </a:xfrm>
        </p:spPr>
        <p:txBody>
          <a:bodyPr anchor="b"/>
          <a:lstStyle>
            <a:lvl1pPr algn="ctr">
              <a:defRPr sz="5775"/>
            </a:lvl1pPr>
          </a:lstStyle>
          <a:p>
            <a:r>
              <a:rPr lang="en-US"/>
              <a:t>Click to edit Master title style</a:t>
            </a:r>
            <a:endParaRPr lang="en-150"/>
          </a:p>
        </p:txBody>
      </p:sp>
      <p:sp>
        <p:nvSpPr>
          <p:cNvPr id="3" name="Subtitle 2">
            <a:extLst>
              <a:ext uri="{FF2B5EF4-FFF2-40B4-BE49-F238E27FC236}">
                <a16:creationId xmlns:a16="http://schemas.microsoft.com/office/drawing/2014/main" id="{20F026B1-051E-4F7B-875E-2F289A192C64}"/>
              </a:ext>
            </a:extLst>
          </p:cNvPr>
          <p:cNvSpPr>
            <a:spLocks noGrp="1"/>
          </p:cNvSpPr>
          <p:nvPr>
            <p:ph type="subTitle" idx="1"/>
          </p:nvPr>
        </p:nvSpPr>
        <p:spPr>
          <a:xfrm>
            <a:off x="1495426" y="3534502"/>
            <a:ext cx="8972550" cy="1624716"/>
          </a:xfrm>
        </p:spPr>
        <p:txBody>
          <a:bodyPr/>
          <a:lstStyle>
            <a:lvl1pPr marL="0" indent="0" algn="ctr">
              <a:buNone/>
              <a:defRPr sz="2309"/>
            </a:lvl1pPr>
            <a:lvl2pPr marL="440098" indent="0" algn="ctr">
              <a:buNone/>
              <a:defRPr sz="1925"/>
            </a:lvl2pPr>
            <a:lvl3pPr marL="880197" indent="0" algn="ctr">
              <a:buNone/>
              <a:defRPr sz="1732"/>
            </a:lvl3pPr>
            <a:lvl4pPr marL="1320296" indent="0" algn="ctr">
              <a:buNone/>
              <a:defRPr sz="1540"/>
            </a:lvl4pPr>
            <a:lvl5pPr marL="1760393" indent="0" algn="ctr">
              <a:buNone/>
              <a:defRPr sz="1540"/>
            </a:lvl5pPr>
            <a:lvl6pPr marL="2200492" indent="0" algn="ctr">
              <a:buNone/>
              <a:defRPr sz="1540"/>
            </a:lvl6pPr>
            <a:lvl7pPr marL="2640589" indent="0" algn="ctr">
              <a:buNone/>
              <a:defRPr sz="1540"/>
            </a:lvl7pPr>
            <a:lvl8pPr marL="3080688" indent="0" algn="ctr">
              <a:buNone/>
              <a:defRPr sz="1540"/>
            </a:lvl8pPr>
            <a:lvl9pPr marL="3520787" indent="0" algn="ctr">
              <a:buNone/>
              <a:defRPr sz="1540"/>
            </a:lvl9pPr>
          </a:lstStyle>
          <a:p>
            <a:r>
              <a:rPr lang="en-US"/>
              <a:t>Click to edit Master subtitle style</a:t>
            </a:r>
            <a:endParaRPr lang="en-150"/>
          </a:p>
        </p:txBody>
      </p:sp>
      <p:sp>
        <p:nvSpPr>
          <p:cNvPr id="4" name="Date Placeholder 3">
            <a:extLst>
              <a:ext uri="{FF2B5EF4-FFF2-40B4-BE49-F238E27FC236}">
                <a16:creationId xmlns:a16="http://schemas.microsoft.com/office/drawing/2014/main" id="{740E1800-4E0F-4A99-A60B-A9976DB5FE0A}"/>
              </a:ext>
            </a:extLst>
          </p:cNvPr>
          <p:cNvSpPr>
            <a:spLocks noGrp="1"/>
          </p:cNvSpPr>
          <p:nvPr>
            <p:ph type="dt" sz="half" idx="10"/>
          </p:nvPr>
        </p:nvSpPr>
        <p:spPr/>
        <p:txBody>
          <a:bodyPr/>
          <a:lstStyle/>
          <a:p>
            <a:fld id="{E8B5952C-2973-401C-AE74-2483DA46E4B4}" type="datetime1">
              <a:rPr lang="LID4096" smtClean="0"/>
              <a:t>09/22/2021</a:t>
            </a:fld>
            <a:endParaRPr lang="en-150"/>
          </a:p>
        </p:txBody>
      </p:sp>
      <p:sp>
        <p:nvSpPr>
          <p:cNvPr id="5" name="Footer Placeholder 4">
            <a:extLst>
              <a:ext uri="{FF2B5EF4-FFF2-40B4-BE49-F238E27FC236}">
                <a16:creationId xmlns:a16="http://schemas.microsoft.com/office/drawing/2014/main" id="{935BB547-1DF4-445A-BB4D-06235465834F}"/>
              </a:ext>
            </a:extLst>
          </p:cNvPr>
          <p:cNvSpPr>
            <a:spLocks noGrp="1"/>
          </p:cNvSpPr>
          <p:nvPr>
            <p:ph type="ftr" sz="quarter" idx="11"/>
          </p:nvPr>
        </p:nvSpPr>
        <p:spPr/>
        <p:txBody>
          <a:bodyPr/>
          <a:lstStyle/>
          <a:p>
            <a:endParaRPr lang="en-150"/>
          </a:p>
        </p:txBody>
      </p:sp>
      <p:sp>
        <p:nvSpPr>
          <p:cNvPr id="6" name="Slide Number Placeholder 5">
            <a:extLst>
              <a:ext uri="{FF2B5EF4-FFF2-40B4-BE49-F238E27FC236}">
                <a16:creationId xmlns:a16="http://schemas.microsoft.com/office/drawing/2014/main" id="{E3D8A697-B77F-4084-9BD7-3FCE45B607AE}"/>
              </a:ext>
            </a:extLst>
          </p:cNvPr>
          <p:cNvSpPr>
            <a:spLocks noGrp="1"/>
          </p:cNvSpPr>
          <p:nvPr>
            <p:ph type="sldNum" sz="quarter" idx="12"/>
          </p:nvPr>
        </p:nvSpPr>
        <p:spPr/>
        <p:txBody>
          <a:bodyPr/>
          <a:lstStyle/>
          <a:p>
            <a:fld id="{110B85AB-F31C-4AB8-8D33-99D060C3797C}" type="slidenum">
              <a:rPr lang="en-150" smtClean="0"/>
              <a:t>‹#›</a:t>
            </a:fld>
            <a:endParaRPr lang="en-150"/>
          </a:p>
        </p:txBody>
      </p:sp>
    </p:spTree>
    <p:extLst>
      <p:ext uri="{BB962C8B-B14F-4D97-AF65-F5344CB8AC3E}">
        <p14:creationId xmlns:p14="http://schemas.microsoft.com/office/powerpoint/2010/main" val="12963270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Subtitle and Conten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6705720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platzhalter 9"/>
          <p:cNvSpPr>
            <a:spLocks noGrp="1"/>
          </p:cNvSpPr>
          <p:nvPr>
            <p:ph type="body" sz="quarter" idx="12" hasCustomPrompt="1"/>
          </p:nvPr>
        </p:nvSpPr>
        <p:spPr>
          <a:xfrm>
            <a:off x="252267" y="2068513"/>
            <a:ext cx="11460041" cy="431800"/>
          </a:xfrm>
          <a:prstGeom prst="rect">
            <a:avLst/>
          </a:prstGeom>
        </p:spPr>
        <p:txBody>
          <a:bodyPr lIns="0" tIns="0" rIns="0" bIns="0"/>
          <a:lstStyle>
            <a:lvl1pPr marL="0" indent="0">
              <a:buNone/>
              <a:defRPr sz="1600" b="1" u="none"/>
            </a:lvl1pPr>
          </a:lstStyle>
          <a:p>
            <a:pPr lvl="0"/>
            <a:r>
              <a:rPr lang="de-DE" dirty="0"/>
              <a:t>Click to add subtitle</a:t>
            </a:r>
          </a:p>
        </p:txBody>
      </p:sp>
      <p:sp>
        <p:nvSpPr>
          <p:cNvPr id="9" name="Inhaltsplatzhalter 2"/>
          <p:cNvSpPr>
            <a:spLocks noGrp="1"/>
          </p:cNvSpPr>
          <p:nvPr>
            <p:ph sz="quarter" idx="15"/>
          </p:nvPr>
        </p:nvSpPr>
        <p:spPr>
          <a:xfrm>
            <a:off x="251092" y="2502001"/>
            <a:ext cx="11461217" cy="3997325"/>
          </a:xfrm>
          <a:prstGeom prst="rect">
            <a:avLst/>
          </a:prstGeom>
        </p:spPr>
        <p:txBody>
          <a:bodyPr lIns="0" tIns="0" rIns="0" bIns="0"/>
          <a:lstStyle>
            <a:lvl1pPr marL="0" indent="0">
              <a:buNone/>
              <a:defRPr/>
            </a:lvl1pPr>
          </a:lstStyle>
          <a:p>
            <a:pPr lvl="0"/>
            <a:r>
              <a:rPr lang="de-DE"/>
              <a:t>Textmasterformat bearbeiten</a:t>
            </a:r>
          </a:p>
        </p:txBody>
      </p:sp>
      <p:sp>
        <p:nvSpPr>
          <p:cNvPr id="8" name="Slide Number Placeholder 20"/>
          <p:cNvSpPr>
            <a:spLocks noGrp="1"/>
          </p:cNvSpPr>
          <p:nvPr>
            <p:ph type="sldNum" sz="quarter" idx="4"/>
          </p:nvPr>
        </p:nvSpPr>
        <p:spPr>
          <a:xfrm>
            <a:off x="10573200" y="6516000"/>
            <a:ext cx="1148400" cy="201600"/>
          </a:xfrm>
          <a:prstGeom prst="rect">
            <a:avLst/>
          </a:prstGeom>
        </p:spPr>
        <p:txBody>
          <a:bodyPr vert="horz" wrap="none" lIns="90000" tIns="46800" rIns="0" bIns="46800" rtlCol="0" anchor="t" anchorCtr="0"/>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
        <p:nvSpPr>
          <p:cNvPr id="10" name="Title 1"/>
          <p:cNvSpPr>
            <a:spLocks noGrp="1"/>
          </p:cNvSpPr>
          <p:nvPr>
            <p:ph type="title"/>
          </p:nvPr>
        </p:nvSpPr>
        <p:spPr>
          <a:xfrm>
            <a:off x="252266" y="1566000"/>
            <a:ext cx="11460041" cy="504000"/>
          </a:xfrm>
          <a:prstGeom prst="rect">
            <a:avLst/>
          </a:prstGeom>
        </p:spPr>
        <p:txBody>
          <a:bodyPr lIns="0" tIns="0" rIns="0" bIns="0"/>
          <a:lstStyle>
            <a:lvl1pPr>
              <a:defRPr lang="en-GB" baseline="0">
                <a:latin typeface="+mn-lt"/>
                <a:ea typeface="+mn-ea"/>
                <a:cs typeface="+mn-cs"/>
              </a:defRPr>
            </a:lvl1pPr>
          </a:lstStyle>
          <a:p>
            <a:pPr marL="0" lvl="0" indent="0">
              <a:lnSpc>
                <a:spcPts val="2100"/>
              </a:lnSpc>
              <a:spcBef>
                <a:spcPct val="20000"/>
              </a:spcBef>
              <a:buFont typeface="MetaPlusLF" pitchFamily="2" charset="0"/>
              <a:buNone/>
            </a:pPr>
            <a:r>
              <a:rPr lang="de-DE"/>
              <a:t>Titelmasterformat durch Klicken bearbeiten</a:t>
            </a:r>
            <a:endParaRPr lang="en-GB" dirty="0"/>
          </a:p>
        </p:txBody>
      </p:sp>
    </p:spTree>
    <p:extLst>
      <p:ext uri="{BB962C8B-B14F-4D97-AF65-F5344CB8AC3E}">
        <p14:creationId xmlns:p14="http://schemas.microsoft.com/office/powerpoint/2010/main" val="24809460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wo Contents">
    <p:spTree>
      <p:nvGrpSpPr>
        <p:cNvPr id="1" name=""/>
        <p:cNvGrpSpPr/>
        <p:nvPr/>
      </p:nvGrpSpPr>
      <p:grpSpPr>
        <a:xfrm>
          <a:off x="0" y="0"/>
          <a:ext cx="0" cy="0"/>
          <a:chOff x="0" y="0"/>
          <a:chExt cx="0" cy="0"/>
        </a:xfrm>
      </p:grpSpPr>
      <p:sp>
        <p:nvSpPr>
          <p:cNvPr id="4" name="Inhaltsplatzhalter 3"/>
          <p:cNvSpPr>
            <a:spLocks noGrp="1"/>
          </p:cNvSpPr>
          <p:nvPr>
            <p:ph sz="half" idx="2"/>
          </p:nvPr>
        </p:nvSpPr>
        <p:spPr>
          <a:xfrm>
            <a:off x="252268" y="2502000"/>
            <a:ext cx="5585930" cy="3997324"/>
          </a:xfrm>
          <a:prstGeom prst="rect">
            <a:avLst/>
          </a:prstGeom>
        </p:spPr>
        <p:txBody>
          <a:bodyPr lIns="0" tIns="0" rIns="0" bIns="0"/>
          <a:lstStyle>
            <a:lvl1pPr marL="0" indent="0">
              <a:lnSpc>
                <a:spcPts val="1900"/>
              </a:lnSpc>
              <a:buNone/>
              <a:defRPr sz="1600"/>
            </a:lvl1pPr>
            <a:lvl2pPr>
              <a:lnSpc>
                <a:spcPts val="1900"/>
              </a:lnSpc>
              <a:defRPr sz="1600"/>
            </a:lvl2pPr>
            <a:lvl3pPr>
              <a:lnSpc>
                <a:spcPts val="1900"/>
              </a:lnSpc>
              <a:defRPr sz="1600"/>
            </a:lvl3pPr>
            <a:lvl4pPr>
              <a:lnSpc>
                <a:spcPts val="1900"/>
              </a:lnSpc>
              <a:defRPr sz="1600"/>
            </a:lvl4pPr>
            <a:lvl5pPr>
              <a:lnSpc>
                <a:spcPts val="1900"/>
              </a:lnSpc>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3" name="Inhaltsplatzhalter 3"/>
          <p:cNvSpPr>
            <a:spLocks noGrp="1"/>
          </p:cNvSpPr>
          <p:nvPr>
            <p:ph sz="half" idx="14"/>
          </p:nvPr>
        </p:nvSpPr>
        <p:spPr>
          <a:xfrm>
            <a:off x="6101278" y="2502001"/>
            <a:ext cx="5611031" cy="3997325"/>
          </a:xfrm>
          <a:prstGeom prst="rect">
            <a:avLst/>
          </a:prstGeom>
        </p:spPr>
        <p:txBody>
          <a:bodyPr lIns="0" tIns="0" rIns="0" bIns="0"/>
          <a:lstStyle>
            <a:lvl1pPr marL="0" indent="0">
              <a:lnSpc>
                <a:spcPts val="1900"/>
              </a:lnSpc>
              <a:buNone/>
              <a:defRPr sz="1600"/>
            </a:lvl1pPr>
            <a:lvl2pPr>
              <a:lnSpc>
                <a:spcPts val="1900"/>
              </a:lnSpc>
              <a:defRPr sz="1600"/>
            </a:lvl2pPr>
            <a:lvl3pPr>
              <a:lnSpc>
                <a:spcPts val="1900"/>
              </a:lnSpc>
              <a:defRPr sz="1600"/>
            </a:lvl3pPr>
            <a:lvl4pPr>
              <a:lnSpc>
                <a:spcPts val="1900"/>
              </a:lnSpc>
              <a:defRPr sz="1600"/>
            </a:lvl4pPr>
            <a:lvl5pPr>
              <a:lnSpc>
                <a:spcPts val="1900"/>
              </a:lnSpc>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7" name="Slide Number Placeholder 20"/>
          <p:cNvSpPr>
            <a:spLocks noGrp="1"/>
          </p:cNvSpPr>
          <p:nvPr>
            <p:ph type="sldNum" sz="quarter" idx="4"/>
          </p:nvPr>
        </p:nvSpPr>
        <p:spPr>
          <a:xfrm>
            <a:off x="10573200" y="6516000"/>
            <a:ext cx="1148400" cy="201600"/>
          </a:xfrm>
          <a:prstGeom prst="rect">
            <a:avLst/>
          </a:prstGeom>
        </p:spPr>
        <p:txBody>
          <a:bodyPr vert="horz" wrap="none" lIns="90000" tIns="46800" rIns="0" bIns="46800" rtlCol="0" anchor="t" anchorCtr="0"/>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
        <p:nvSpPr>
          <p:cNvPr id="6" name="Title 1"/>
          <p:cNvSpPr>
            <a:spLocks noGrp="1"/>
          </p:cNvSpPr>
          <p:nvPr>
            <p:ph type="title"/>
          </p:nvPr>
        </p:nvSpPr>
        <p:spPr>
          <a:xfrm>
            <a:off x="252266" y="1566000"/>
            <a:ext cx="11460041" cy="504000"/>
          </a:xfrm>
          <a:prstGeom prst="rect">
            <a:avLst/>
          </a:prstGeom>
        </p:spPr>
        <p:txBody>
          <a:bodyPr lIns="0" tIns="0" rIns="0" bIns="0"/>
          <a:lstStyle>
            <a:lvl1pPr>
              <a:defRPr lang="en-GB" baseline="0">
                <a:latin typeface="+mn-lt"/>
                <a:ea typeface="+mn-ea"/>
                <a:cs typeface="+mn-cs"/>
              </a:defRPr>
            </a:lvl1pPr>
          </a:lstStyle>
          <a:p>
            <a:pPr marL="0" lvl="0" indent="0">
              <a:lnSpc>
                <a:spcPts val="2100"/>
              </a:lnSpc>
              <a:spcBef>
                <a:spcPct val="20000"/>
              </a:spcBef>
              <a:buFont typeface="MetaPlusLF" pitchFamily="2" charset="0"/>
              <a:buNone/>
            </a:pPr>
            <a:r>
              <a:rPr lang="de-DE"/>
              <a:t>Titelmasterformat durch Klicken bearbeiten</a:t>
            </a:r>
            <a:endParaRPr lang="en-GB" dirty="0"/>
          </a:p>
        </p:txBody>
      </p:sp>
    </p:spTree>
    <p:extLst>
      <p:ext uri="{BB962C8B-B14F-4D97-AF65-F5344CB8AC3E}">
        <p14:creationId xmlns:p14="http://schemas.microsoft.com/office/powerpoint/2010/main" val="708051258"/>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297FA01E-24AC-49D4-8C41-C51389DC6FF8}"/>
              </a:ext>
            </a:extLst>
          </p:cNvPr>
          <p:cNvSpPr/>
          <p:nvPr>
            <p:custDataLst>
              <p:tags r:id="rId1"/>
            </p:custDataLst>
          </p:nvPr>
        </p:nvSpPr>
        <p:spPr>
          <a:xfrm>
            <a:off x="0" y="0"/>
            <a:ext cx="12462" cy="12462"/>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algn="ctr"/>
            <a:endParaRPr lang="en-US"/>
          </a:p>
        </p:txBody>
      </p:sp>
      <p:sp>
        <p:nvSpPr>
          <p:cNvPr id="2" name="Title 1"/>
          <p:cNvSpPr>
            <a:spLocks noGrp="1"/>
          </p:cNvSpPr>
          <p:nvPr>
            <p:ph type="title"/>
          </p:nvPr>
        </p:nvSpPr>
        <p:spPr>
          <a:xfrm>
            <a:off x="598170" y="269488"/>
            <a:ext cx="10767060" cy="692851"/>
          </a:xfrm>
          <a:noFill/>
          <a:ln>
            <a:noFill/>
          </a:ln>
        </p:spPr>
        <p:txBody>
          <a:bodyPr>
            <a:normAutofit/>
          </a:bodyPr>
          <a:lstStyle>
            <a:lvl1pPr algn="l">
              <a:defRPr sz="3140">
                <a:solidFill>
                  <a:srgbClr val="FF0000"/>
                </a:solidFill>
              </a:defRPr>
            </a:lvl1pPr>
          </a:lstStyle>
          <a:p>
            <a:r>
              <a:rPr lang="en-US" dirty="0"/>
              <a:t>Click to edit Master title style</a:t>
            </a:r>
            <a:endParaRPr lang="fr-FR"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8" name="Straight Connector 7"/>
          <p:cNvCxnSpPr/>
          <p:nvPr/>
        </p:nvCxnSpPr>
        <p:spPr>
          <a:xfrm>
            <a:off x="598170" y="1032997"/>
            <a:ext cx="107670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13464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6" name="Textplatzhalter 9"/>
          <p:cNvSpPr>
            <a:spLocks noGrp="1"/>
          </p:cNvSpPr>
          <p:nvPr>
            <p:ph type="body" sz="quarter" idx="11" hasCustomPrompt="1"/>
          </p:nvPr>
        </p:nvSpPr>
        <p:spPr>
          <a:xfrm>
            <a:off x="252267" y="1565275"/>
            <a:ext cx="11460041" cy="503238"/>
          </a:xfrm>
          <a:prstGeom prst="rect">
            <a:avLst/>
          </a:prstGeom>
        </p:spPr>
        <p:txBody>
          <a:bodyPr lIns="0" tIns="0" rIns="0" bIns="0"/>
          <a:lstStyle>
            <a:lvl1pPr marL="0" indent="0">
              <a:buNone/>
              <a:defRPr sz="2100" b="1"/>
            </a:lvl1pPr>
          </a:lstStyle>
          <a:p>
            <a:pPr lvl="0"/>
            <a:r>
              <a:rPr lang="de-DE" dirty="0"/>
              <a:t>Click to add title</a:t>
            </a:r>
          </a:p>
        </p:txBody>
      </p:sp>
      <p:sp>
        <p:nvSpPr>
          <p:cNvPr id="7" name="Textplatzhalter 9"/>
          <p:cNvSpPr>
            <a:spLocks noGrp="1"/>
          </p:cNvSpPr>
          <p:nvPr>
            <p:ph type="body" sz="quarter" idx="12" hasCustomPrompt="1"/>
          </p:nvPr>
        </p:nvSpPr>
        <p:spPr>
          <a:xfrm>
            <a:off x="252267" y="2068513"/>
            <a:ext cx="11460041" cy="431800"/>
          </a:xfrm>
          <a:prstGeom prst="rect">
            <a:avLst/>
          </a:prstGeom>
        </p:spPr>
        <p:txBody>
          <a:bodyPr lIns="0" tIns="0" rIns="0" bIns="0"/>
          <a:lstStyle>
            <a:lvl1pPr marL="0" indent="0">
              <a:buNone/>
              <a:defRPr sz="1600" b="1" u="none"/>
            </a:lvl1pPr>
          </a:lstStyle>
          <a:p>
            <a:pPr lvl="0"/>
            <a:r>
              <a:rPr lang="de-DE" dirty="0"/>
              <a:t>Click to add subtitle</a:t>
            </a:r>
          </a:p>
        </p:txBody>
      </p:sp>
      <p:sp>
        <p:nvSpPr>
          <p:cNvPr id="9" name="Inhaltsplatzhalter 2"/>
          <p:cNvSpPr>
            <a:spLocks noGrp="1"/>
          </p:cNvSpPr>
          <p:nvPr>
            <p:ph sz="quarter" idx="15"/>
          </p:nvPr>
        </p:nvSpPr>
        <p:spPr>
          <a:xfrm>
            <a:off x="251092" y="2502001"/>
            <a:ext cx="11461217" cy="3997325"/>
          </a:xfrm>
          <a:prstGeom prst="rect">
            <a:avLst/>
          </a:prstGeom>
        </p:spPr>
        <p:txBody>
          <a:bodyPr lIns="0" tIns="0" rIns="0" bIns="0"/>
          <a:lstStyle>
            <a:lvl1pPr marL="0" indent="0">
              <a:buNone/>
              <a:defRPr/>
            </a:lvl1pPr>
          </a:lstStyle>
          <a:p>
            <a:pPr lvl="0"/>
            <a:r>
              <a:rPr lang="en-US"/>
              <a:t>Edit Master text styles</a:t>
            </a:r>
          </a:p>
        </p:txBody>
      </p:sp>
      <p:sp>
        <p:nvSpPr>
          <p:cNvPr id="10" name="Slide Number Placeholder 20"/>
          <p:cNvSpPr>
            <a:spLocks noGrp="1"/>
          </p:cNvSpPr>
          <p:nvPr>
            <p:ph type="sldNum" sz="quarter" idx="4"/>
          </p:nvPr>
        </p:nvSpPr>
        <p:spPr>
          <a:xfrm>
            <a:off x="11427219" y="65808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Tree>
    <p:extLst>
      <p:ext uri="{BB962C8B-B14F-4D97-AF65-F5344CB8AC3E}">
        <p14:creationId xmlns:p14="http://schemas.microsoft.com/office/powerpoint/2010/main" val="15749428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Content and Source">
    <p:spTree>
      <p:nvGrpSpPr>
        <p:cNvPr id="1" name=""/>
        <p:cNvGrpSpPr/>
        <p:nvPr/>
      </p:nvGrpSpPr>
      <p:grpSpPr>
        <a:xfrm>
          <a:off x="0" y="0"/>
          <a:ext cx="0" cy="0"/>
          <a:chOff x="0" y="0"/>
          <a:chExt cx="0" cy="0"/>
        </a:xfrm>
      </p:grpSpPr>
      <p:sp>
        <p:nvSpPr>
          <p:cNvPr id="6" name="Textplatzhalter 9"/>
          <p:cNvSpPr>
            <a:spLocks noGrp="1"/>
          </p:cNvSpPr>
          <p:nvPr>
            <p:ph type="body" sz="quarter" idx="11" hasCustomPrompt="1"/>
          </p:nvPr>
        </p:nvSpPr>
        <p:spPr>
          <a:xfrm>
            <a:off x="252267" y="1565275"/>
            <a:ext cx="11460041" cy="503238"/>
          </a:xfrm>
          <a:prstGeom prst="rect">
            <a:avLst/>
          </a:prstGeom>
        </p:spPr>
        <p:txBody>
          <a:bodyPr lIns="0" tIns="0" rIns="0" bIns="0"/>
          <a:lstStyle>
            <a:lvl1pPr marL="0" indent="0">
              <a:buNone/>
              <a:defRPr sz="2100" b="1"/>
            </a:lvl1pPr>
          </a:lstStyle>
          <a:p>
            <a:pPr lvl="0"/>
            <a:r>
              <a:rPr lang="de-DE" dirty="0"/>
              <a:t>Click to add title</a:t>
            </a:r>
          </a:p>
        </p:txBody>
      </p:sp>
      <p:sp>
        <p:nvSpPr>
          <p:cNvPr id="9" name="Inhaltsplatzhalter 2"/>
          <p:cNvSpPr>
            <a:spLocks noGrp="1"/>
          </p:cNvSpPr>
          <p:nvPr>
            <p:ph sz="quarter" idx="15"/>
          </p:nvPr>
        </p:nvSpPr>
        <p:spPr>
          <a:xfrm>
            <a:off x="251092" y="2502000"/>
            <a:ext cx="11461217" cy="3636000"/>
          </a:xfrm>
          <a:prstGeom prst="rect">
            <a:avLst/>
          </a:prstGeom>
        </p:spPr>
        <p:txBody>
          <a:bodyPr lIns="0" tIns="0" rIns="0" bIns="0"/>
          <a:lstStyle>
            <a:lvl1pPr marL="0" indent="0">
              <a:buNone/>
              <a:defRPr/>
            </a:lvl1pPr>
          </a:lstStyle>
          <a:p>
            <a:pPr lvl="0"/>
            <a:r>
              <a:rPr lang="en-US"/>
              <a:t>Edit Master text styles</a:t>
            </a:r>
          </a:p>
        </p:txBody>
      </p:sp>
      <p:sp>
        <p:nvSpPr>
          <p:cNvPr id="8" name="Textplatzhalter 2"/>
          <p:cNvSpPr>
            <a:spLocks noGrp="1"/>
          </p:cNvSpPr>
          <p:nvPr>
            <p:ph type="body" sz="quarter" idx="14" hasCustomPrompt="1"/>
          </p:nvPr>
        </p:nvSpPr>
        <p:spPr>
          <a:xfrm>
            <a:off x="252681" y="6368230"/>
            <a:ext cx="11460166" cy="117650"/>
          </a:xfrm>
          <a:prstGeom prst="rect">
            <a:avLst/>
          </a:prstGeom>
        </p:spPr>
        <p:txBody>
          <a:bodyPr lIns="0" tIns="0" rIns="0" bIns="0" anchor="ctr" anchorCtr="0"/>
          <a:lstStyle>
            <a:lvl1pPr marL="0" indent="0">
              <a:buNone/>
              <a:defRPr sz="1000"/>
            </a:lvl1pPr>
          </a:lstStyle>
          <a:p>
            <a:pPr lvl="0"/>
            <a:r>
              <a:rPr lang="de-DE" sz="1000" dirty="0"/>
              <a:t>Source</a:t>
            </a:r>
            <a:endParaRPr lang="de-DE" dirty="0"/>
          </a:p>
        </p:txBody>
      </p:sp>
      <p:sp>
        <p:nvSpPr>
          <p:cNvPr id="7" name="Slide Number Placeholder 20"/>
          <p:cNvSpPr>
            <a:spLocks noGrp="1"/>
          </p:cNvSpPr>
          <p:nvPr>
            <p:ph type="sldNum" sz="quarter" idx="4"/>
          </p:nvPr>
        </p:nvSpPr>
        <p:spPr>
          <a:xfrm>
            <a:off x="11427219" y="65808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Tree>
    <p:extLst>
      <p:ext uri="{BB962C8B-B14F-4D97-AF65-F5344CB8AC3E}">
        <p14:creationId xmlns:p14="http://schemas.microsoft.com/office/powerpoint/2010/main" val="17608399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4" name="Inhaltsplatzhalter 3"/>
          <p:cNvSpPr>
            <a:spLocks noGrp="1"/>
          </p:cNvSpPr>
          <p:nvPr>
            <p:ph sz="half" idx="2"/>
          </p:nvPr>
        </p:nvSpPr>
        <p:spPr>
          <a:xfrm>
            <a:off x="252268" y="2502000"/>
            <a:ext cx="5585930" cy="3997324"/>
          </a:xfrm>
          <a:prstGeom prst="rect">
            <a:avLst/>
          </a:prstGeom>
        </p:spPr>
        <p:txBody>
          <a:bodyPr lIns="0" tIns="0" rIns="0" bIns="0"/>
          <a:lstStyle>
            <a:lvl1pPr marL="0" indent="0">
              <a:lnSpc>
                <a:spcPts val="1900"/>
              </a:lnSpc>
              <a:buNone/>
              <a:defRPr sz="1600"/>
            </a:lvl1pPr>
            <a:lvl2pPr>
              <a:lnSpc>
                <a:spcPts val="1900"/>
              </a:lnSpc>
              <a:defRPr sz="1600"/>
            </a:lvl2pPr>
            <a:lvl3pPr>
              <a:lnSpc>
                <a:spcPts val="1900"/>
              </a:lnSpc>
              <a:defRPr sz="1600"/>
            </a:lvl3pPr>
            <a:lvl4pPr>
              <a:lnSpc>
                <a:spcPts val="1900"/>
              </a:lnSpc>
              <a:defRPr sz="1600"/>
            </a:lvl4pPr>
            <a:lvl5pPr>
              <a:lnSpc>
                <a:spcPts val="1900"/>
              </a:lnSpc>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platzhalter 9"/>
          <p:cNvSpPr>
            <a:spLocks noGrp="1"/>
          </p:cNvSpPr>
          <p:nvPr>
            <p:ph type="body" sz="quarter" idx="11" hasCustomPrompt="1"/>
          </p:nvPr>
        </p:nvSpPr>
        <p:spPr>
          <a:xfrm>
            <a:off x="252267" y="1565275"/>
            <a:ext cx="11460041" cy="503238"/>
          </a:xfrm>
          <a:prstGeom prst="rect">
            <a:avLst/>
          </a:prstGeom>
        </p:spPr>
        <p:txBody>
          <a:bodyPr lIns="0" tIns="0" rIns="0" bIns="0"/>
          <a:lstStyle>
            <a:lvl1pPr marL="0" indent="0">
              <a:buNone/>
              <a:defRPr sz="2100" b="1"/>
            </a:lvl1pPr>
          </a:lstStyle>
          <a:p>
            <a:pPr lvl="0"/>
            <a:r>
              <a:rPr lang="de-DE" dirty="0"/>
              <a:t>Click to add title</a:t>
            </a:r>
          </a:p>
        </p:txBody>
      </p:sp>
      <p:sp>
        <p:nvSpPr>
          <p:cNvPr id="13" name="Inhaltsplatzhalter 3"/>
          <p:cNvSpPr>
            <a:spLocks noGrp="1"/>
          </p:cNvSpPr>
          <p:nvPr>
            <p:ph sz="half" idx="14"/>
          </p:nvPr>
        </p:nvSpPr>
        <p:spPr>
          <a:xfrm>
            <a:off x="6101278" y="2502001"/>
            <a:ext cx="5611031" cy="3997325"/>
          </a:xfrm>
          <a:prstGeom prst="rect">
            <a:avLst/>
          </a:prstGeom>
        </p:spPr>
        <p:txBody>
          <a:bodyPr lIns="0" tIns="0" rIns="0" bIns="0"/>
          <a:lstStyle>
            <a:lvl1pPr marL="0" indent="0">
              <a:lnSpc>
                <a:spcPts val="1900"/>
              </a:lnSpc>
              <a:buNone/>
              <a:defRPr sz="1600"/>
            </a:lvl1pPr>
            <a:lvl2pPr>
              <a:lnSpc>
                <a:spcPts val="1900"/>
              </a:lnSpc>
              <a:defRPr sz="1600"/>
            </a:lvl2pPr>
            <a:lvl3pPr>
              <a:lnSpc>
                <a:spcPts val="1900"/>
              </a:lnSpc>
              <a:defRPr sz="1600"/>
            </a:lvl3pPr>
            <a:lvl4pPr>
              <a:lnSpc>
                <a:spcPts val="1900"/>
              </a:lnSpc>
              <a:defRPr sz="1600"/>
            </a:lvl4pPr>
            <a:lvl5pPr>
              <a:lnSpc>
                <a:spcPts val="1900"/>
              </a:lnSpc>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20"/>
          <p:cNvSpPr>
            <a:spLocks noGrp="1"/>
          </p:cNvSpPr>
          <p:nvPr>
            <p:ph type="sldNum" sz="quarter" idx="4"/>
          </p:nvPr>
        </p:nvSpPr>
        <p:spPr>
          <a:xfrm>
            <a:off x="11427219" y="65808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Tree>
    <p:extLst>
      <p:ext uri="{BB962C8B-B14F-4D97-AF65-F5344CB8AC3E}">
        <p14:creationId xmlns:p14="http://schemas.microsoft.com/office/powerpoint/2010/main" val="299746471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s with Subtitles">
    <p:spTree>
      <p:nvGrpSpPr>
        <p:cNvPr id="1" name=""/>
        <p:cNvGrpSpPr/>
        <p:nvPr/>
      </p:nvGrpSpPr>
      <p:grpSpPr>
        <a:xfrm>
          <a:off x="0" y="0"/>
          <a:ext cx="0" cy="0"/>
          <a:chOff x="0" y="0"/>
          <a:chExt cx="0" cy="0"/>
        </a:xfrm>
      </p:grpSpPr>
      <p:sp>
        <p:nvSpPr>
          <p:cNvPr id="4" name="Inhaltsplatzhalter 3"/>
          <p:cNvSpPr>
            <a:spLocks noGrp="1"/>
          </p:cNvSpPr>
          <p:nvPr>
            <p:ph sz="half" idx="2"/>
          </p:nvPr>
        </p:nvSpPr>
        <p:spPr>
          <a:xfrm>
            <a:off x="252268" y="2500313"/>
            <a:ext cx="5585930" cy="3997324"/>
          </a:xfrm>
          <a:prstGeom prst="rect">
            <a:avLst/>
          </a:prstGeom>
        </p:spPr>
        <p:txBody>
          <a:bodyPr lIns="0" tIns="0" rIns="0" bIns="0"/>
          <a:lstStyle>
            <a:lvl1pPr marL="0" indent="0">
              <a:lnSpc>
                <a:spcPts val="1900"/>
              </a:lnSpc>
              <a:buNone/>
              <a:defRPr sz="1600"/>
            </a:lvl1pPr>
            <a:lvl2pPr>
              <a:lnSpc>
                <a:spcPts val="1900"/>
              </a:lnSpc>
              <a:defRPr sz="1600"/>
            </a:lvl2pPr>
            <a:lvl3pPr>
              <a:lnSpc>
                <a:spcPts val="1900"/>
              </a:lnSpc>
              <a:defRPr sz="1600"/>
            </a:lvl3pPr>
            <a:lvl4pPr>
              <a:lnSpc>
                <a:spcPts val="1900"/>
              </a:lnSpc>
              <a:defRPr sz="1600"/>
            </a:lvl4pPr>
            <a:lvl5pPr>
              <a:lnSpc>
                <a:spcPts val="1900"/>
              </a:lnSpc>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0" name="Textplatzhalter 9"/>
          <p:cNvSpPr>
            <a:spLocks noGrp="1"/>
          </p:cNvSpPr>
          <p:nvPr>
            <p:ph type="body" sz="quarter" idx="11" hasCustomPrompt="1"/>
          </p:nvPr>
        </p:nvSpPr>
        <p:spPr>
          <a:xfrm>
            <a:off x="252267" y="1565275"/>
            <a:ext cx="11460041" cy="503238"/>
          </a:xfrm>
          <a:prstGeom prst="rect">
            <a:avLst/>
          </a:prstGeom>
        </p:spPr>
        <p:txBody>
          <a:bodyPr lIns="0" tIns="0" rIns="0" bIns="0"/>
          <a:lstStyle>
            <a:lvl1pPr marL="0" indent="0">
              <a:buNone/>
              <a:defRPr sz="2100" b="1"/>
            </a:lvl1pPr>
          </a:lstStyle>
          <a:p>
            <a:pPr lvl="0"/>
            <a:r>
              <a:rPr lang="de-DE" dirty="0"/>
              <a:t>Click to add title</a:t>
            </a:r>
          </a:p>
        </p:txBody>
      </p:sp>
      <p:sp>
        <p:nvSpPr>
          <p:cNvPr id="13" name="Inhaltsplatzhalter 3"/>
          <p:cNvSpPr>
            <a:spLocks noGrp="1"/>
          </p:cNvSpPr>
          <p:nvPr>
            <p:ph sz="half" idx="14"/>
          </p:nvPr>
        </p:nvSpPr>
        <p:spPr>
          <a:xfrm>
            <a:off x="6101278" y="2500314"/>
            <a:ext cx="5610799" cy="3997325"/>
          </a:xfrm>
          <a:prstGeom prst="rect">
            <a:avLst/>
          </a:prstGeom>
        </p:spPr>
        <p:txBody>
          <a:bodyPr lIns="0" tIns="0" rIns="0" bIns="0"/>
          <a:lstStyle>
            <a:lvl1pPr marL="0" indent="0">
              <a:lnSpc>
                <a:spcPts val="1900"/>
              </a:lnSpc>
              <a:buNone/>
              <a:defRPr sz="1600"/>
            </a:lvl1pPr>
            <a:lvl2pPr>
              <a:lnSpc>
                <a:spcPts val="1900"/>
              </a:lnSpc>
              <a:defRPr sz="1600"/>
            </a:lvl2pPr>
            <a:lvl3pPr>
              <a:lnSpc>
                <a:spcPts val="1900"/>
              </a:lnSpc>
              <a:defRPr sz="1600"/>
            </a:lvl3pPr>
            <a:lvl4pPr>
              <a:lnSpc>
                <a:spcPts val="1900"/>
              </a:lnSpc>
              <a:defRPr sz="1600"/>
            </a:lvl4pPr>
            <a:lvl5pPr>
              <a:lnSpc>
                <a:spcPts val="1900"/>
              </a:lnSpc>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Textplatzhalter 9"/>
          <p:cNvSpPr>
            <a:spLocks noGrp="1"/>
          </p:cNvSpPr>
          <p:nvPr>
            <p:ph type="body" sz="quarter" idx="12" hasCustomPrompt="1"/>
          </p:nvPr>
        </p:nvSpPr>
        <p:spPr>
          <a:xfrm>
            <a:off x="252267" y="2068513"/>
            <a:ext cx="5585930" cy="431800"/>
          </a:xfrm>
          <a:prstGeom prst="rect">
            <a:avLst/>
          </a:prstGeom>
        </p:spPr>
        <p:txBody>
          <a:bodyPr lIns="0" tIns="0" rIns="0" bIns="0"/>
          <a:lstStyle>
            <a:lvl1pPr marL="0" indent="0">
              <a:buNone/>
              <a:defRPr sz="1600" b="1" u="none" baseline="0"/>
            </a:lvl1pPr>
          </a:lstStyle>
          <a:p>
            <a:pPr lvl="0"/>
            <a:r>
              <a:rPr lang="de-DE" dirty="0"/>
              <a:t>Click to add subtitle</a:t>
            </a:r>
          </a:p>
        </p:txBody>
      </p:sp>
      <p:sp>
        <p:nvSpPr>
          <p:cNvPr id="8" name="Textplatzhalter 9"/>
          <p:cNvSpPr>
            <a:spLocks noGrp="1"/>
          </p:cNvSpPr>
          <p:nvPr>
            <p:ph type="body" sz="quarter" idx="15" hasCustomPrompt="1"/>
          </p:nvPr>
        </p:nvSpPr>
        <p:spPr>
          <a:xfrm>
            <a:off x="6101278" y="2068513"/>
            <a:ext cx="5610799" cy="431800"/>
          </a:xfrm>
          <a:prstGeom prst="rect">
            <a:avLst/>
          </a:prstGeom>
        </p:spPr>
        <p:txBody>
          <a:bodyPr lIns="0" tIns="0" rIns="0" bIns="0"/>
          <a:lstStyle>
            <a:lvl1pPr marL="0" indent="0">
              <a:buNone/>
              <a:defRPr sz="1600" b="1" u="none"/>
            </a:lvl1pPr>
          </a:lstStyle>
          <a:p>
            <a:pPr lvl="0"/>
            <a:r>
              <a:rPr lang="de-DE" dirty="0"/>
              <a:t>Click to add subtitle</a:t>
            </a:r>
          </a:p>
        </p:txBody>
      </p:sp>
      <p:sp>
        <p:nvSpPr>
          <p:cNvPr id="11" name="Slide Number Placeholder 20"/>
          <p:cNvSpPr>
            <a:spLocks noGrp="1"/>
          </p:cNvSpPr>
          <p:nvPr>
            <p:ph type="sldNum" sz="quarter" idx="4"/>
          </p:nvPr>
        </p:nvSpPr>
        <p:spPr>
          <a:xfrm>
            <a:off x="11427219" y="65808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Tree>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ntents with Subtitles">
    <p:spTree>
      <p:nvGrpSpPr>
        <p:cNvPr id="1" name=""/>
        <p:cNvGrpSpPr/>
        <p:nvPr/>
      </p:nvGrpSpPr>
      <p:grpSpPr>
        <a:xfrm>
          <a:off x="0" y="0"/>
          <a:ext cx="0" cy="0"/>
          <a:chOff x="0" y="0"/>
          <a:chExt cx="0" cy="0"/>
        </a:xfrm>
      </p:grpSpPr>
      <p:sp>
        <p:nvSpPr>
          <p:cNvPr id="4" name="Inhaltsplatzhalter 3"/>
          <p:cNvSpPr>
            <a:spLocks noGrp="1"/>
          </p:cNvSpPr>
          <p:nvPr>
            <p:ph sz="half" idx="2"/>
          </p:nvPr>
        </p:nvSpPr>
        <p:spPr>
          <a:xfrm>
            <a:off x="252268" y="2502000"/>
            <a:ext cx="3675902" cy="3997324"/>
          </a:xfrm>
          <a:prstGeom prst="rect">
            <a:avLst/>
          </a:prstGeom>
        </p:spPr>
        <p:txBody>
          <a:bodyPr lIns="0" tIns="0" rIns="0" bIns="0"/>
          <a:lstStyle>
            <a:lvl1pPr marL="0" indent="0">
              <a:lnSpc>
                <a:spcPts val="1900"/>
              </a:lnSpc>
              <a:buNone/>
              <a:defRPr sz="1600"/>
            </a:lvl1pPr>
            <a:lvl2pPr>
              <a:lnSpc>
                <a:spcPts val="1900"/>
              </a:lnSpc>
              <a:defRPr sz="1600"/>
            </a:lvl2pPr>
            <a:lvl3pPr>
              <a:lnSpc>
                <a:spcPts val="1900"/>
              </a:lnSpc>
              <a:defRPr sz="1600"/>
            </a:lvl3pPr>
            <a:lvl4pPr>
              <a:lnSpc>
                <a:spcPts val="1900"/>
              </a:lnSpc>
              <a:defRPr sz="1600"/>
            </a:lvl4pPr>
            <a:lvl5pPr>
              <a:lnSpc>
                <a:spcPts val="1900"/>
              </a:lnSpc>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0" name="Textplatzhalter 9"/>
          <p:cNvSpPr>
            <a:spLocks noGrp="1"/>
          </p:cNvSpPr>
          <p:nvPr>
            <p:ph type="body" sz="quarter" idx="11" hasCustomPrompt="1"/>
          </p:nvPr>
        </p:nvSpPr>
        <p:spPr>
          <a:xfrm>
            <a:off x="252267" y="1565275"/>
            <a:ext cx="11460041" cy="503238"/>
          </a:xfrm>
          <a:prstGeom prst="rect">
            <a:avLst/>
          </a:prstGeom>
        </p:spPr>
        <p:txBody>
          <a:bodyPr lIns="0" tIns="0" rIns="0" bIns="0"/>
          <a:lstStyle>
            <a:lvl1pPr marL="0" indent="0">
              <a:buNone/>
              <a:defRPr sz="2100" b="1"/>
            </a:lvl1pPr>
          </a:lstStyle>
          <a:p>
            <a:pPr lvl="0"/>
            <a:r>
              <a:rPr lang="de-DE" dirty="0"/>
              <a:t>Click to add title</a:t>
            </a:r>
          </a:p>
        </p:txBody>
      </p:sp>
      <p:sp>
        <p:nvSpPr>
          <p:cNvPr id="13" name="Inhaltsplatzhalter 3"/>
          <p:cNvSpPr>
            <a:spLocks noGrp="1"/>
          </p:cNvSpPr>
          <p:nvPr>
            <p:ph sz="half" idx="14"/>
          </p:nvPr>
        </p:nvSpPr>
        <p:spPr>
          <a:xfrm>
            <a:off x="8036531" y="2502001"/>
            <a:ext cx="3675902" cy="3997325"/>
          </a:xfrm>
          <a:prstGeom prst="rect">
            <a:avLst/>
          </a:prstGeom>
        </p:spPr>
        <p:txBody>
          <a:bodyPr lIns="0" tIns="0" rIns="0" bIns="0"/>
          <a:lstStyle>
            <a:lvl1pPr marL="0" indent="0">
              <a:lnSpc>
                <a:spcPts val="1900"/>
              </a:lnSpc>
              <a:buNone/>
              <a:defRPr sz="1600"/>
            </a:lvl1pPr>
            <a:lvl2pPr>
              <a:lnSpc>
                <a:spcPts val="1900"/>
              </a:lnSpc>
              <a:defRPr sz="1600"/>
            </a:lvl2pPr>
            <a:lvl3pPr>
              <a:lnSpc>
                <a:spcPts val="1900"/>
              </a:lnSpc>
              <a:defRPr sz="1600"/>
            </a:lvl3pPr>
            <a:lvl4pPr>
              <a:lnSpc>
                <a:spcPts val="1900"/>
              </a:lnSpc>
              <a:defRPr sz="1600"/>
            </a:lvl4pPr>
            <a:lvl5pPr>
              <a:lnSpc>
                <a:spcPts val="1900"/>
              </a:lnSpc>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6" name="Inhaltsplatzhalter 3"/>
          <p:cNvSpPr>
            <a:spLocks noGrp="1"/>
          </p:cNvSpPr>
          <p:nvPr>
            <p:ph sz="half" idx="15"/>
          </p:nvPr>
        </p:nvSpPr>
        <p:spPr>
          <a:xfrm>
            <a:off x="4144400" y="2502001"/>
            <a:ext cx="3675902" cy="3997325"/>
          </a:xfrm>
          <a:prstGeom prst="rect">
            <a:avLst/>
          </a:prstGeom>
        </p:spPr>
        <p:txBody>
          <a:bodyPr lIns="0" tIns="0" rIns="0" bIns="0"/>
          <a:lstStyle>
            <a:lvl1pPr marL="0" indent="0">
              <a:lnSpc>
                <a:spcPts val="1900"/>
              </a:lnSpc>
              <a:buNone/>
              <a:defRPr sz="1600"/>
            </a:lvl1pPr>
            <a:lvl2pPr>
              <a:lnSpc>
                <a:spcPts val="1900"/>
              </a:lnSpc>
              <a:defRPr sz="1600"/>
            </a:lvl2pPr>
            <a:lvl3pPr>
              <a:lnSpc>
                <a:spcPts val="1900"/>
              </a:lnSpc>
              <a:defRPr sz="1600"/>
            </a:lvl3pPr>
            <a:lvl4pPr>
              <a:lnSpc>
                <a:spcPts val="1900"/>
              </a:lnSpc>
              <a:defRPr sz="1600"/>
            </a:lvl4pPr>
            <a:lvl5pPr>
              <a:lnSpc>
                <a:spcPts val="1900"/>
              </a:lnSpc>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Textplatzhalter 9"/>
          <p:cNvSpPr>
            <a:spLocks noGrp="1"/>
          </p:cNvSpPr>
          <p:nvPr>
            <p:ph type="body" sz="quarter" idx="12" hasCustomPrompt="1"/>
          </p:nvPr>
        </p:nvSpPr>
        <p:spPr>
          <a:xfrm>
            <a:off x="252267" y="2068513"/>
            <a:ext cx="3675902" cy="431800"/>
          </a:xfrm>
          <a:prstGeom prst="rect">
            <a:avLst/>
          </a:prstGeom>
        </p:spPr>
        <p:txBody>
          <a:bodyPr lIns="0" tIns="0" rIns="0" bIns="0"/>
          <a:lstStyle>
            <a:lvl1pPr marL="0" indent="0">
              <a:buNone/>
              <a:defRPr sz="1600" b="1" u="none"/>
            </a:lvl1pPr>
          </a:lstStyle>
          <a:p>
            <a:pPr lvl="0"/>
            <a:r>
              <a:rPr lang="de-DE" dirty="0"/>
              <a:t>Click to add subtitle</a:t>
            </a:r>
          </a:p>
        </p:txBody>
      </p:sp>
      <p:sp>
        <p:nvSpPr>
          <p:cNvPr id="11" name="Textplatzhalter 9"/>
          <p:cNvSpPr>
            <a:spLocks noGrp="1"/>
          </p:cNvSpPr>
          <p:nvPr>
            <p:ph type="body" sz="quarter" idx="16" hasCustomPrompt="1"/>
          </p:nvPr>
        </p:nvSpPr>
        <p:spPr>
          <a:xfrm>
            <a:off x="4143011" y="2070000"/>
            <a:ext cx="3675902" cy="431800"/>
          </a:xfrm>
          <a:prstGeom prst="rect">
            <a:avLst/>
          </a:prstGeom>
        </p:spPr>
        <p:txBody>
          <a:bodyPr lIns="0" tIns="0" rIns="0" bIns="0"/>
          <a:lstStyle>
            <a:lvl1pPr marL="0" indent="0">
              <a:buNone/>
              <a:defRPr sz="1600" b="1" u="none"/>
            </a:lvl1pPr>
          </a:lstStyle>
          <a:p>
            <a:pPr lvl="0"/>
            <a:r>
              <a:rPr lang="de-DE" dirty="0"/>
              <a:t>Click to add subtitle</a:t>
            </a:r>
          </a:p>
        </p:txBody>
      </p:sp>
      <p:sp>
        <p:nvSpPr>
          <p:cNvPr id="12" name="Textplatzhalter 9"/>
          <p:cNvSpPr>
            <a:spLocks noGrp="1"/>
          </p:cNvSpPr>
          <p:nvPr>
            <p:ph type="body" sz="quarter" idx="17" hasCustomPrompt="1"/>
          </p:nvPr>
        </p:nvSpPr>
        <p:spPr>
          <a:xfrm>
            <a:off x="8036531" y="2070000"/>
            <a:ext cx="3675902" cy="431800"/>
          </a:xfrm>
          <a:prstGeom prst="rect">
            <a:avLst/>
          </a:prstGeom>
        </p:spPr>
        <p:txBody>
          <a:bodyPr lIns="0" tIns="0" rIns="0" bIns="0"/>
          <a:lstStyle>
            <a:lvl1pPr marL="0" indent="0">
              <a:buNone/>
              <a:defRPr sz="1600" b="1" u="none"/>
            </a:lvl1pPr>
          </a:lstStyle>
          <a:p>
            <a:pPr lvl="0"/>
            <a:r>
              <a:rPr lang="de-DE" dirty="0"/>
              <a:t>Click to add subtitle</a:t>
            </a:r>
          </a:p>
        </p:txBody>
      </p:sp>
      <p:sp>
        <p:nvSpPr>
          <p:cNvPr id="15" name="Slide Number Placeholder 20"/>
          <p:cNvSpPr>
            <a:spLocks noGrp="1"/>
          </p:cNvSpPr>
          <p:nvPr>
            <p:ph type="sldNum" sz="quarter" idx="4"/>
          </p:nvPr>
        </p:nvSpPr>
        <p:spPr>
          <a:xfrm>
            <a:off x="11427219" y="65808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Tree>
    <p:extLst>
      <p:ext uri="{BB962C8B-B14F-4D97-AF65-F5344CB8AC3E}">
        <p14:creationId xmlns:p14="http://schemas.microsoft.com/office/powerpoint/2010/main" val="49298587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Textplatzhalter 9"/>
          <p:cNvSpPr>
            <a:spLocks noGrp="1"/>
          </p:cNvSpPr>
          <p:nvPr>
            <p:ph type="body" sz="quarter" idx="11" hasCustomPrompt="1"/>
          </p:nvPr>
        </p:nvSpPr>
        <p:spPr>
          <a:xfrm>
            <a:off x="252267" y="1565275"/>
            <a:ext cx="11460041" cy="503238"/>
          </a:xfrm>
          <a:prstGeom prst="rect">
            <a:avLst/>
          </a:prstGeom>
        </p:spPr>
        <p:txBody>
          <a:bodyPr lIns="0" tIns="0" rIns="0" bIns="0"/>
          <a:lstStyle>
            <a:lvl1pPr marL="0" indent="0">
              <a:buNone/>
              <a:defRPr sz="2100" b="1"/>
            </a:lvl1pPr>
          </a:lstStyle>
          <a:p>
            <a:pPr lvl="0"/>
            <a:r>
              <a:rPr lang="de-DE" dirty="0"/>
              <a:t>Click to add title</a:t>
            </a:r>
          </a:p>
        </p:txBody>
      </p:sp>
      <p:sp>
        <p:nvSpPr>
          <p:cNvPr id="11" name="Media Placeholder 10"/>
          <p:cNvSpPr>
            <a:spLocks noGrp="1"/>
          </p:cNvSpPr>
          <p:nvPr>
            <p:ph type="media" sz="quarter" idx="13"/>
          </p:nvPr>
        </p:nvSpPr>
        <p:spPr>
          <a:xfrm>
            <a:off x="252266" y="2068511"/>
            <a:ext cx="11460041" cy="4428000"/>
          </a:xfrm>
          <a:prstGeom prst="rect">
            <a:avLst/>
          </a:prstGeom>
        </p:spPr>
        <p:txBody>
          <a:bodyPr lIns="0" tIns="0" rIns="0" bIns="0"/>
          <a:lstStyle/>
          <a:p>
            <a:r>
              <a:rPr lang="en-US"/>
              <a:t>Click icon to add media</a:t>
            </a:r>
            <a:endParaRPr lang="en-GB" dirty="0"/>
          </a:p>
        </p:txBody>
      </p:sp>
      <p:sp>
        <p:nvSpPr>
          <p:cNvPr id="7" name="Slide Number Placeholder 20"/>
          <p:cNvSpPr>
            <a:spLocks noGrp="1"/>
          </p:cNvSpPr>
          <p:nvPr>
            <p:ph type="sldNum" sz="quarter" idx="4"/>
          </p:nvPr>
        </p:nvSpPr>
        <p:spPr>
          <a:xfrm>
            <a:off x="11427219" y="65808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Tree>
    <p:extLst>
      <p:ext uri="{BB962C8B-B14F-4D97-AF65-F5344CB8AC3E}">
        <p14:creationId xmlns:p14="http://schemas.microsoft.com/office/powerpoint/2010/main" val="32731744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6" name="Textplatzhalter 9"/>
          <p:cNvSpPr>
            <a:spLocks noGrp="1"/>
          </p:cNvSpPr>
          <p:nvPr>
            <p:ph type="body" sz="quarter" idx="11" hasCustomPrompt="1"/>
          </p:nvPr>
        </p:nvSpPr>
        <p:spPr>
          <a:xfrm>
            <a:off x="252267" y="1565275"/>
            <a:ext cx="11460041" cy="503238"/>
          </a:xfrm>
          <a:prstGeom prst="rect">
            <a:avLst/>
          </a:prstGeom>
        </p:spPr>
        <p:txBody>
          <a:bodyPr lIns="0" tIns="0" rIns="0" bIns="0"/>
          <a:lstStyle>
            <a:lvl1pPr marL="0" indent="0">
              <a:buNone/>
              <a:defRPr sz="2100" b="1" baseline="0"/>
            </a:lvl1pPr>
          </a:lstStyle>
          <a:p>
            <a:pPr lvl="0"/>
            <a:r>
              <a:rPr lang="de-DE" dirty="0"/>
              <a:t>Click to add title</a:t>
            </a:r>
          </a:p>
        </p:txBody>
      </p:sp>
      <p:sp>
        <p:nvSpPr>
          <p:cNvPr id="4" name="Slide Number Placeholder 20"/>
          <p:cNvSpPr>
            <a:spLocks noGrp="1"/>
          </p:cNvSpPr>
          <p:nvPr>
            <p:ph type="sldNum" sz="quarter" idx="4"/>
          </p:nvPr>
        </p:nvSpPr>
        <p:spPr>
          <a:xfrm>
            <a:off x="11427219" y="65808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Tree>
    <p:extLst>
      <p:ext uri="{BB962C8B-B14F-4D97-AF65-F5344CB8AC3E}">
        <p14:creationId xmlns:p14="http://schemas.microsoft.com/office/powerpoint/2010/main" val="26459678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Slide Number Placeholder 20"/>
          <p:cNvSpPr>
            <a:spLocks noGrp="1"/>
          </p:cNvSpPr>
          <p:nvPr>
            <p:ph type="sldNum" sz="quarter" idx="4"/>
          </p:nvPr>
        </p:nvSpPr>
        <p:spPr>
          <a:xfrm>
            <a:off x="11427219" y="65808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Tree>
    <p:extLst>
      <p:ext uri="{BB962C8B-B14F-4D97-AF65-F5344CB8AC3E}">
        <p14:creationId xmlns:p14="http://schemas.microsoft.com/office/powerpoint/2010/main" val="393279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image" Target="../media/image2.svg"/><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FESTO_ERSTELLT" hidden="1"/>
          <p:cNvSpPr txBox="1"/>
          <p:nvPr/>
        </p:nvSpPr>
        <p:spPr>
          <a:xfrm>
            <a:off x="6197830" y="6605588"/>
            <a:ext cx="942388" cy="87312"/>
          </a:xfrm>
          <a:prstGeom prst="rect">
            <a:avLst/>
          </a:prstGeom>
          <a:noFill/>
        </p:spPr>
        <p:txBody>
          <a:bodyPr lIns="36000" tIns="0" rIns="0" bIns="0"/>
          <a:lstStyle/>
          <a:p>
            <a:pPr fontAlgn="auto">
              <a:spcBef>
                <a:spcPts val="0"/>
              </a:spcBef>
              <a:spcAft>
                <a:spcPts val="0"/>
              </a:spcAft>
              <a:defRPr/>
            </a:pPr>
            <a:r>
              <a:rPr lang="de-DE" sz="500">
                <a:latin typeface="MetaPlusLF" pitchFamily="2" charset="0"/>
                <a:cs typeface="+mn-cs"/>
              </a:rPr>
              <a:t>Created: 9/21/2021</a:t>
            </a:r>
          </a:p>
        </p:txBody>
      </p:sp>
      <p:sp>
        <p:nvSpPr>
          <p:cNvPr id="19" name="FESTO_GEAENDERT" hidden="1"/>
          <p:cNvSpPr txBox="1"/>
          <p:nvPr/>
        </p:nvSpPr>
        <p:spPr>
          <a:xfrm>
            <a:off x="7211731" y="6605588"/>
            <a:ext cx="1883187" cy="87312"/>
          </a:xfrm>
          <a:prstGeom prst="rect">
            <a:avLst/>
          </a:prstGeom>
          <a:noFill/>
        </p:spPr>
        <p:txBody>
          <a:bodyPr lIns="36000" tIns="0" rIns="0" bIns="0"/>
          <a:lstStyle/>
          <a:p>
            <a:pPr fontAlgn="auto">
              <a:spcBef>
                <a:spcPts val="0"/>
              </a:spcBef>
              <a:spcAft>
                <a:spcPts val="0"/>
              </a:spcAft>
              <a:defRPr/>
            </a:pPr>
            <a:endParaRPr lang="de-DE" sz="500">
              <a:latin typeface="MetaPlusLF" pitchFamily="2" charset="0"/>
              <a:cs typeface="+mn-cs"/>
            </a:endParaRPr>
          </a:p>
        </p:txBody>
      </p:sp>
      <p:sp>
        <p:nvSpPr>
          <p:cNvPr id="20" name="FESTO_STATUS" hidden="1"/>
          <p:cNvSpPr txBox="1"/>
          <p:nvPr/>
        </p:nvSpPr>
        <p:spPr>
          <a:xfrm>
            <a:off x="9271317" y="6605589"/>
            <a:ext cx="119190" cy="169277"/>
          </a:xfrm>
          <a:prstGeom prst="rect">
            <a:avLst/>
          </a:prstGeom>
          <a:solidFill>
            <a:schemeClr val="accent1"/>
          </a:solidFill>
          <a:ln>
            <a:solidFill>
              <a:schemeClr val="accent1"/>
            </a:solidFill>
          </a:ln>
        </p:spPr>
        <p:txBody>
          <a:bodyPr>
            <a:spAutoFit/>
          </a:bodyPr>
          <a:lstStyle/>
          <a:p>
            <a:pPr fontAlgn="auto">
              <a:spcBef>
                <a:spcPts val="0"/>
              </a:spcBef>
              <a:spcAft>
                <a:spcPts val="0"/>
              </a:spcAft>
              <a:defRPr/>
            </a:pPr>
            <a:endParaRPr lang="de-DE" sz="500">
              <a:latin typeface="MetaPlusLF" pitchFamily="2" charset="0"/>
              <a:cs typeface="+mn-cs"/>
            </a:endParaRPr>
          </a:p>
        </p:txBody>
      </p:sp>
      <p:sp>
        <p:nvSpPr>
          <p:cNvPr id="21" name="FESTO_STATUS1" hidden="1"/>
          <p:cNvSpPr txBox="1"/>
          <p:nvPr/>
        </p:nvSpPr>
        <p:spPr>
          <a:xfrm>
            <a:off x="9387329" y="6605588"/>
            <a:ext cx="802539" cy="87312"/>
          </a:xfrm>
          <a:prstGeom prst="rect">
            <a:avLst/>
          </a:prstGeom>
          <a:noFill/>
          <a:ln>
            <a:solidFill>
              <a:schemeClr val="accent1"/>
            </a:solidFill>
          </a:ln>
        </p:spPr>
        <p:txBody>
          <a:bodyPr lIns="36000" tIns="0" rIns="0" bIns="0"/>
          <a:lstStyle/>
          <a:p>
            <a:pPr fontAlgn="auto">
              <a:spcBef>
                <a:spcPts val="0"/>
              </a:spcBef>
              <a:spcAft>
                <a:spcPts val="0"/>
              </a:spcAft>
              <a:defRPr/>
            </a:pPr>
            <a:r>
              <a:rPr lang="de-DE" sz="500">
                <a:latin typeface="MetaPlusLF" pitchFamily="2" charset="0"/>
                <a:cs typeface="+mn-cs"/>
              </a:rPr>
              <a:t> </a:t>
            </a:r>
          </a:p>
        </p:txBody>
      </p:sp>
      <p:sp>
        <p:nvSpPr>
          <p:cNvPr id="22" name="FESTO_VERTRAULICH" hidden="1"/>
          <p:cNvSpPr txBox="1"/>
          <p:nvPr/>
        </p:nvSpPr>
        <p:spPr>
          <a:xfrm>
            <a:off x="10318592" y="6605589"/>
            <a:ext cx="117600" cy="169277"/>
          </a:xfrm>
          <a:prstGeom prst="rect">
            <a:avLst/>
          </a:prstGeom>
          <a:solidFill>
            <a:schemeClr val="accent2"/>
          </a:solidFill>
          <a:ln>
            <a:solidFill>
              <a:schemeClr val="accent2"/>
            </a:solidFill>
          </a:ln>
        </p:spPr>
        <p:txBody>
          <a:bodyPr>
            <a:spAutoFit/>
          </a:bodyPr>
          <a:lstStyle/>
          <a:p>
            <a:pPr fontAlgn="auto">
              <a:spcBef>
                <a:spcPts val="0"/>
              </a:spcBef>
              <a:spcAft>
                <a:spcPts val="0"/>
              </a:spcAft>
              <a:defRPr/>
            </a:pPr>
            <a:endParaRPr lang="de-DE" sz="500">
              <a:latin typeface="MetaPlusLF" pitchFamily="2" charset="0"/>
              <a:cs typeface="+mn-cs"/>
            </a:endParaRPr>
          </a:p>
        </p:txBody>
      </p:sp>
      <p:sp>
        <p:nvSpPr>
          <p:cNvPr id="23" name="FESTO_VERTRAULICH1" hidden="1"/>
          <p:cNvSpPr txBox="1"/>
          <p:nvPr/>
        </p:nvSpPr>
        <p:spPr>
          <a:xfrm>
            <a:off x="10434602" y="6605588"/>
            <a:ext cx="802540" cy="87312"/>
          </a:xfrm>
          <a:prstGeom prst="rect">
            <a:avLst/>
          </a:prstGeom>
          <a:noFill/>
          <a:ln>
            <a:solidFill>
              <a:schemeClr val="accent2"/>
            </a:solidFill>
          </a:ln>
        </p:spPr>
        <p:txBody>
          <a:bodyPr lIns="36000" tIns="0" rIns="0" bIns="0"/>
          <a:lstStyle/>
          <a:p>
            <a:pPr fontAlgn="auto">
              <a:spcBef>
                <a:spcPts val="0"/>
              </a:spcBef>
              <a:spcAft>
                <a:spcPts val="0"/>
              </a:spcAft>
              <a:defRPr/>
            </a:pPr>
            <a:r>
              <a:rPr lang="de-DE" sz="500">
                <a:latin typeface="MetaPlusLF" pitchFamily="2" charset="0"/>
                <a:cs typeface="+mn-cs"/>
              </a:rPr>
              <a:t>Confidential</a:t>
            </a:r>
          </a:p>
        </p:txBody>
      </p:sp>
      <p:cxnSp>
        <p:nvCxnSpPr>
          <p:cNvPr id="33" name="Gerade Verbindung 7"/>
          <p:cNvCxnSpPr/>
          <p:nvPr userDrawn="1"/>
        </p:nvCxnSpPr>
        <p:spPr>
          <a:xfrm flipV="1">
            <a:off x="250981" y="6530400"/>
            <a:ext cx="11461328"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Gerade Verbindung 7"/>
          <p:cNvCxnSpPr/>
          <p:nvPr userDrawn="1"/>
        </p:nvCxnSpPr>
        <p:spPr>
          <a:xfrm flipV="1">
            <a:off x="250396" y="1276474"/>
            <a:ext cx="11461913"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7" name="Slide Number Placeholder 20"/>
          <p:cNvSpPr>
            <a:spLocks noGrp="1"/>
          </p:cNvSpPr>
          <p:nvPr>
            <p:ph type="sldNum" sz="quarter" idx="4"/>
          </p:nvPr>
        </p:nvSpPr>
        <p:spPr>
          <a:xfrm>
            <a:off x="11427219" y="65808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
        <p:nvSpPr>
          <p:cNvPr id="16" name="FESTO_NAME"/>
          <p:cNvSpPr txBox="1"/>
          <p:nvPr userDrawn="1">
            <p:custDataLst>
              <p:tags r:id="rId16"/>
            </p:custDataLst>
          </p:nvPr>
        </p:nvSpPr>
        <p:spPr>
          <a:xfrm>
            <a:off x="236208" y="6581745"/>
            <a:ext cx="1873989" cy="107722"/>
          </a:xfrm>
          <a:prstGeom prst="rect">
            <a:avLst/>
          </a:prstGeom>
          <a:noFill/>
        </p:spPr>
        <p:txBody>
          <a:bodyPr wrap="square" lIns="0" tIns="0" rIns="0" bIns="0" rtlCol="0">
            <a:noAutofit/>
          </a:bodyPr>
          <a:lstStyle/>
          <a:p>
            <a:r>
              <a:rPr lang="en-US" sz="700" baseline="0">
                <a:latin typeface="+mn-lt"/>
              </a:rPr>
              <a:t>Raimonda Jankauskiene</a:t>
            </a:r>
            <a:endParaRPr lang="de-DE" sz="700" dirty="0">
              <a:latin typeface="+mn-lt"/>
            </a:endParaRPr>
          </a:p>
        </p:txBody>
      </p:sp>
      <p:sp>
        <p:nvSpPr>
          <p:cNvPr id="25" name="FESTO_TITEL"/>
          <p:cNvSpPr txBox="1"/>
          <p:nvPr userDrawn="1">
            <p:custDataLst>
              <p:tags r:id="rId17"/>
            </p:custDataLst>
          </p:nvPr>
        </p:nvSpPr>
        <p:spPr>
          <a:xfrm>
            <a:off x="2161221" y="6581746"/>
            <a:ext cx="2403018" cy="107722"/>
          </a:xfrm>
          <a:prstGeom prst="rect">
            <a:avLst/>
          </a:prstGeom>
          <a:noFill/>
        </p:spPr>
        <p:txBody>
          <a:bodyPr wrap="square" lIns="0" tIns="0" rIns="0" bIns="0" rtlCol="0">
            <a:noAutofit/>
          </a:bodyPr>
          <a:lstStyle/>
          <a:p>
            <a:pPr marL="0" marR="0" indent="0" algn="l" defTabSz="914316" rtl="0" eaLnBrk="1" fontAlgn="base" latinLnBrk="0" hangingPunct="1">
              <a:lnSpc>
                <a:spcPct val="100000"/>
              </a:lnSpc>
              <a:spcBef>
                <a:spcPct val="0"/>
              </a:spcBef>
              <a:spcAft>
                <a:spcPct val="0"/>
              </a:spcAft>
              <a:buClrTx/>
              <a:buSzTx/>
              <a:buFontTx/>
              <a:buNone/>
              <a:tabLst/>
              <a:defRPr/>
            </a:pPr>
            <a:r>
              <a:rPr lang="en-US" sz="700" kern="1200">
                <a:solidFill>
                  <a:schemeClr val="tx1"/>
                </a:solidFill>
                <a:latin typeface="MetaPlusLF" pitchFamily="34" charset="0"/>
                <a:ea typeface="+mn-ea"/>
                <a:cs typeface="+mn-cs"/>
              </a:rPr>
              <a:t>Festo patirtis skaitmenizuojant ir optimizuojant procesus</a:t>
            </a:r>
            <a:endParaRPr lang="de-DE" sz="700" kern="1200">
              <a:solidFill>
                <a:schemeClr val="tx1"/>
              </a:solidFill>
              <a:latin typeface="MetaPlusLF" pitchFamily="34" charset="0"/>
              <a:ea typeface="+mn-ea"/>
              <a:cs typeface="+mn-cs"/>
            </a:endParaRPr>
          </a:p>
        </p:txBody>
      </p:sp>
      <p:sp>
        <p:nvSpPr>
          <p:cNvPr id="26" name="FESTO_ERSTELLT"/>
          <p:cNvSpPr txBox="1"/>
          <p:nvPr userDrawn="1">
            <p:custDataLst>
              <p:tags r:id="rId18"/>
            </p:custDataLst>
          </p:nvPr>
        </p:nvSpPr>
        <p:spPr>
          <a:xfrm>
            <a:off x="4612304" y="6581745"/>
            <a:ext cx="1008973" cy="107722"/>
          </a:xfrm>
          <a:prstGeom prst="rect">
            <a:avLst/>
          </a:prstGeom>
          <a:noFill/>
        </p:spPr>
        <p:txBody>
          <a:bodyPr wrap="square" lIns="0" tIns="0" rIns="0" bIns="0" rtlCol="0">
            <a:noAutofit/>
          </a:bodyPr>
          <a:lstStyle/>
          <a:p>
            <a:pPr algn="l"/>
            <a:r>
              <a:rPr lang="de-DE" sz="700">
                <a:latin typeface="+mn-lt"/>
              </a:rPr>
              <a:t>Created: 9/21/2021</a:t>
            </a:r>
            <a:endParaRPr lang="de-DE" sz="700" dirty="0">
              <a:latin typeface="+mn-lt"/>
            </a:endParaRPr>
          </a:p>
        </p:txBody>
      </p:sp>
      <p:sp>
        <p:nvSpPr>
          <p:cNvPr id="28" name="FESTO_GEAENDERT"/>
          <p:cNvSpPr txBox="1"/>
          <p:nvPr userDrawn="1">
            <p:custDataLst>
              <p:tags r:id="rId19"/>
            </p:custDataLst>
          </p:nvPr>
        </p:nvSpPr>
        <p:spPr>
          <a:xfrm>
            <a:off x="6522497" y="6581745"/>
            <a:ext cx="1441531" cy="107722"/>
          </a:xfrm>
          <a:prstGeom prst="rect">
            <a:avLst/>
          </a:prstGeom>
          <a:noFill/>
        </p:spPr>
        <p:txBody>
          <a:bodyPr wrap="square" lIns="0" tIns="0" rIns="0" bIns="0" rtlCol="0">
            <a:noAutofit/>
          </a:bodyPr>
          <a:lstStyle/>
          <a:p>
            <a:pPr algn="l"/>
            <a:endParaRPr lang="de-DE" sz="700" dirty="0">
              <a:latin typeface="+mn-lt"/>
            </a:endParaRPr>
          </a:p>
        </p:txBody>
      </p:sp>
      <p:sp>
        <p:nvSpPr>
          <p:cNvPr id="29" name="FESTO_STATUS1"/>
          <p:cNvSpPr txBox="1"/>
          <p:nvPr userDrawn="1">
            <p:custDataLst>
              <p:tags r:id="rId20"/>
            </p:custDataLst>
          </p:nvPr>
        </p:nvSpPr>
        <p:spPr>
          <a:xfrm>
            <a:off x="8000068" y="6581745"/>
            <a:ext cx="1441531" cy="107722"/>
          </a:xfrm>
          <a:prstGeom prst="rect">
            <a:avLst/>
          </a:prstGeom>
          <a:noFill/>
        </p:spPr>
        <p:txBody>
          <a:bodyPr wrap="square" lIns="0" tIns="0" rIns="0" bIns="0" rtlCol="0">
            <a:noAutofit/>
          </a:bodyPr>
          <a:lstStyle/>
          <a:p>
            <a:pPr algn="l"/>
            <a:r>
              <a:rPr lang="de-DE" sz="700">
                <a:latin typeface="+mn-lt"/>
              </a:rPr>
              <a:t> </a:t>
            </a:r>
            <a:endParaRPr lang="de-DE" sz="700" dirty="0">
              <a:latin typeface="+mn-lt"/>
            </a:endParaRPr>
          </a:p>
        </p:txBody>
      </p:sp>
      <p:sp>
        <p:nvSpPr>
          <p:cNvPr id="30" name="FESTO_VERTRAULICH1"/>
          <p:cNvSpPr txBox="1"/>
          <p:nvPr userDrawn="1">
            <p:custDataLst>
              <p:tags r:id="rId21"/>
            </p:custDataLst>
          </p:nvPr>
        </p:nvSpPr>
        <p:spPr>
          <a:xfrm>
            <a:off x="10054654" y="6581745"/>
            <a:ext cx="1585683" cy="107722"/>
          </a:xfrm>
          <a:prstGeom prst="rect">
            <a:avLst/>
          </a:prstGeom>
          <a:noFill/>
        </p:spPr>
        <p:txBody>
          <a:bodyPr wrap="square" lIns="0" tIns="0" rIns="0" bIns="0" rtlCol="0">
            <a:noAutofit/>
          </a:bodyPr>
          <a:lstStyle/>
          <a:p>
            <a:pPr algn="l"/>
            <a:r>
              <a:rPr lang="de-DE" sz="700">
                <a:latin typeface="+mn-lt"/>
              </a:rPr>
              <a:t>Confidential</a:t>
            </a:r>
            <a:endParaRPr lang="de-DE" sz="700" dirty="0">
              <a:latin typeface="+mn-lt"/>
            </a:endParaRPr>
          </a:p>
        </p:txBody>
      </p:sp>
      <p:pic>
        <p:nvPicPr>
          <p:cNvPr id="24" name="Grafik 8">
            <a:extLst>
              <a:ext uri="{FF2B5EF4-FFF2-40B4-BE49-F238E27FC236}">
                <a16:creationId xmlns:a16="http://schemas.microsoft.com/office/drawing/2014/main" id="{D42C7BD9-7A8D-421E-AFC0-D7AEF5D07879}"/>
              </a:ext>
            </a:extLst>
          </p:cNvPr>
          <p:cNvPicPr>
            <a:picLocks noChangeAspect="1"/>
          </p:cNvPicPr>
          <p:nvPr userDrawn="1"/>
        </p:nvPicPr>
        <p:blipFill>
          <a:blip r:embed="rId22">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10954800" y="993600"/>
            <a:ext cx="747136" cy="136800"/>
          </a:xfrm>
          <a:prstGeom prst="rect">
            <a:avLst/>
          </a:prstGeom>
        </p:spPr>
      </p:pic>
    </p:spTree>
  </p:cSld>
  <p:clrMap bg1="lt1" tx1="dk1" bg2="lt2" tx2="dk2" accent1="accent1" accent2="accent2" accent3="accent3" accent4="accent4" accent5="accent5" accent6="accent6" hlink="hlink" folHlink="folHlink"/>
  <p:sldLayoutIdLst>
    <p:sldLayoutId id="2147483659" r:id="rId1"/>
    <p:sldLayoutId id="2147483693" r:id="rId2"/>
    <p:sldLayoutId id="2147483694" r:id="rId3"/>
    <p:sldLayoutId id="2147483684" r:id="rId4"/>
    <p:sldLayoutId id="2147483663" r:id="rId5"/>
    <p:sldLayoutId id="2147483692" r:id="rId6"/>
    <p:sldLayoutId id="2147483695" r:id="rId7"/>
    <p:sldLayoutId id="2147483679" r:id="rId8"/>
    <p:sldLayoutId id="2147483696" r:id="rId9"/>
    <p:sldLayoutId id="2147483697" r:id="rId10"/>
    <p:sldLayoutId id="2147483699" r:id="rId11"/>
    <p:sldLayoutId id="2147483700" r:id="rId12"/>
    <p:sldLayoutId id="2147483701" r:id="rId13"/>
    <p:sldLayoutId id="2147483702" r:id="rId14"/>
  </p:sldLayoutIdLst>
  <p:hf sldNum="0" hdr="0" ftr="0" dt="0"/>
  <p:txStyles>
    <p:title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p:titleStyle>
    <p:bodyStyle>
      <a:lvl1pPr marL="342900" indent="-342900" algn="l" rtl="0" eaLnBrk="1" fontAlgn="base" hangingPunct="1">
        <a:lnSpc>
          <a:spcPts val="2100"/>
        </a:lnSpc>
        <a:spcBef>
          <a:spcPct val="20000"/>
        </a:spcBef>
        <a:spcAft>
          <a:spcPct val="0"/>
        </a:spcAft>
        <a:buFont typeface="MetaPlusLF" pitchFamily="2" charset="0"/>
        <a:buAutoNum type="arabicPeriod"/>
        <a:defRPr sz="1600" kern="1200">
          <a:solidFill>
            <a:schemeClr val="tx1"/>
          </a:solidFill>
          <a:latin typeface="+mn-lt"/>
          <a:ea typeface="+mn-ea"/>
          <a:cs typeface="+mn-cs"/>
        </a:defRPr>
      </a:lvl1pPr>
      <a:lvl2pPr marL="742950" indent="-285750"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2pPr>
      <a:lvl3pPr marL="1143000" indent="-228600"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3pPr>
      <a:lvl4pPr marL="1600200" indent="-228600"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4pPr>
      <a:lvl5pPr marL="2057400" indent="-228600"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158" userDrawn="1">
          <p15:clr>
            <a:srgbClr val="F26B43"/>
          </p15:clr>
        </p15:guide>
        <p15:guide id="9" orient="horz" pos="4093" userDrawn="1">
          <p15:clr>
            <a:srgbClr val="F26B43"/>
          </p15:clr>
        </p15:guide>
        <p15:guide id="11" orient="horz" pos="986" userDrawn="1">
          <p15:clr>
            <a:srgbClr val="F26B43"/>
          </p15:clr>
        </p15:guide>
        <p15:guide id="12" orient="horz" pos="1303" userDrawn="1">
          <p15:clr>
            <a:srgbClr val="F26B43"/>
          </p15:clr>
        </p15:guide>
        <p15:guide id="14" orient="horz" pos="1575" userDrawn="1">
          <p15:clr>
            <a:srgbClr val="F26B43"/>
          </p15:clr>
        </p15:guide>
        <p15:guide id="25" pos="737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tif"/><Relationship Id="rId2" Type="http://schemas.openxmlformats.org/officeDocument/2006/relationships/slideLayout" Target="../slideLayouts/slideLayout11.xml"/><Relationship Id="rId1" Type="http://schemas.openxmlformats.org/officeDocument/2006/relationships/tags" Target="../tags/tag9.x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slideLayout" Target="../slideLayouts/slideLayout12.xml"/><Relationship Id="rId7" Type="http://schemas.openxmlformats.org/officeDocument/2006/relationships/chart" Target="../charts/chart10.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26.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1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12.xml"/><Relationship Id="rId7" Type="http://schemas.openxmlformats.org/officeDocument/2006/relationships/image" Target="../media/image26.emf"/><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oleObject" Target="../embeddings/oleObject9.bin"/><Relationship Id="rId5" Type="http://schemas.openxmlformats.org/officeDocument/2006/relationships/image" Target="../media/image27.png"/><Relationship Id="rId10" Type="http://schemas.openxmlformats.org/officeDocument/2006/relationships/comments" Target="../comments/comment1.xml"/><Relationship Id="rId4" Type="http://schemas.openxmlformats.org/officeDocument/2006/relationships/notesSlide" Target="../notesSlides/notesSlide3.xml"/><Relationship Id="rId9" Type="http://schemas.openxmlformats.org/officeDocument/2006/relationships/image" Target="../media/image2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diagramLayout" Target="../diagrams/layout1.xml"/><Relationship Id="rId7" Type="http://schemas.openxmlformats.org/officeDocument/2006/relationships/image" Target="../media/image30.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tags" Target="../tags/tag66.xml"/><Relationship Id="rId18" Type="http://schemas.openxmlformats.org/officeDocument/2006/relationships/tags" Target="../tags/tag71.xml"/><Relationship Id="rId26" Type="http://schemas.openxmlformats.org/officeDocument/2006/relationships/tags" Target="../tags/tag79.xml"/><Relationship Id="rId39" Type="http://schemas.openxmlformats.org/officeDocument/2006/relationships/image" Target="../media/image18.png"/><Relationship Id="rId3" Type="http://schemas.openxmlformats.org/officeDocument/2006/relationships/tags" Target="../tags/tag56.xml"/><Relationship Id="rId21" Type="http://schemas.openxmlformats.org/officeDocument/2006/relationships/tags" Target="../tags/tag74.xml"/><Relationship Id="rId34" Type="http://schemas.openxmlformats.org/officeDocument/2006/relationships/notesSlide" Target="../notesSlides/notesSlide4.xml"/><Relationship Id="rId7" Type="http://schemas.openxmlformats.org/officeDocument/2006/relationships/tags" Target="../tags/tag60.xml"/><Relationship Id="rId12" Type="http://schemas.openxmlformats.org/officeDocument/2006/relationships/tags" Target="../tags/tag65.xml"/><Relationship Id="rId17" Type="http://schemas.openxmlformats.org/officeDocument/2006/relationships/tags" Target="../tags/tag70.xml"/><Relationship Id="rId25" Type="http://schemas.openxmlformats.org/officeDocument/2006/relationships/tags" Target="../tags/tag78.xml"/><Relationship Id="rId33" Type="http://schemas.openxmlformats.org/officeDocument/2006/relationships/slideLayout" Target="../slideLayouts/slideLayout12.xml"/><Relationship Id="rId38" Type="http://schemas.microsoft.com/office/2007/relationships/hdphoto" Target="../media/hdphoto1.wdp"/><Relationship Id="rId2" Type="http://schemas.openxmlformats.org/officeDocument/2006/relationships/tags" Target="../tags/tag55.xml"/><Relationship Id="rId16" Type="http://schemas.openxmlformats.org/officeDocument/2006/relationships/tags" Target="../tags/tag69.xml"/><Relationship Id="rId20" Type="http://schemas.openxmlformats.org/officeDocument/2006/relationships/tags" Target="../tags/tag73.xml"/><Relationship Id="rId29" Type="http://schemas.openxmlformats.org/officeDocument/2006/relationships/tags" Target="../tags/tag82.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tags" Target="../tags/tag64.xml"/><Relationship Id="rId24" Type="http://schemas.openxmlformats.org/officeDocument/2006/relationships/tags" Target="../tags/tag77.xml"/><Relationship Id="rId32" Type="http://schemas.openxmlformats.org/officeDocument/2006/relationships/tags" Target="../tags/tag85.xml"/><Relationship Id="rId37" Type="http://schemas.openxmlformats.org/officeDocument/2006/relationships/image" Target="../media/image17.png"/><Relationship Id="rId40" Type="http://schemas.openxmlformats.org/officeDocument/2006/relationships/image" Target="../media/image19.svg"/><Relationship Id="rId5" Type="http://schemas.openxmlformats.org/officeDocument/2006/relationships/tags" Target="../tags/tag58.xml"/><Relationship Id="rId15" Type="http://schemas.openxmlformats.org/officeDocument/2006/relationships/tags" Target="../tags/tag68.xml"/><Relationship Id="rId23" Type="http://schemas.openxmlformats.org/officeDocument/2006/relationships/tags" Target="../tags/tag76.xml"/><Relationship Id="rId28" Type="http://schemas.openxmlformats.org/officeDocument/2006/relationships/tags" Target="../tags/tag81.xml"/><Relationship Id="rId36" Type="http://schemas.openxmlformats.org/officeDocument/2006/relationships/image" Target="../media/image16.emf"/><Relationship Id="rId10" Type="http://schemas.openxmlformats.org/officeDocument/2006/relationships/tags" Target="../tags/tag63.xml"/><Relationship Id="rId19" Type="http://schemas.openxmlformats.org/officeDocument/2006/relationships/tags" Target="../tags/tag72.xml"/><Relationship Id="rId31" Type="http://schemas.openxmlformats.org/officeDocument/2006/relationships/tags" Target="../tags/tag84.xm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tags" Target="../tags/tag67.xml"/><Relationship Id="rId22" Type="http://schemas.openxmlformats.org/officeDocument/2006/relationships/tags" Target="../tags/tag75.xml"/><Relationship Id="rId27" Type="http://schemas.openxmlformats.org/officeDocument/2006/relationships/tags" Target="../tags/tag80.xml"/><Relationship Id="rId30" Type="http://schemas.openxmlformats.org/officeDocument/2006/relationships/tags" Target="../tags/tag83.xml"/><Relationship Id="rId35"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3" Type="http://schemas.openxmlformats.org/officeDocument/2006/relationships/image" Target="../media/image33.svg"/><Relationship Id="rId7" Type="http://schemas.openxmlformats.org/officeDocument/2006/relationships/image" Target="../media/image37.svg"/><Relationship Id="rId2" Type="http://schemas.openxmlformats.org/officeDocument/2006/relationships/image" Target="../media/image32.png"/><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image" Target="../media/image35.svg"/><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3" Type="http://schemas.openxmlformats.org/officeDocument/2006/relationships/hyperlink" Target="https://www.youtube.com/watch?v=ystdF6jN7hc" TargetMode="External"/><Relationship Id="rId2" Type="http://schemas.openxmlformats.org/officeDocument/2006/relationships/image" Target="../media/image38.ti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86.xml"/><Relationship Id="rId4" Type="http://schemas.openxmlformats.org/officeDocument/2006/relationships/image" Target="../media/image23.emf"/></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20.emf"/><Relationship Id="rId4" Type="http://schemas.openxmlformats.org/officeDocument/2006/relationships/oleObject" Target="../embeddings/oleObject11.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20.emf"/><Relationship Id="rId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chart" Target="../charts/chart3.xml"/><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chart" Target="../charts/chart2.xml"/><Relationship Id="rId5" Type="http://schemas.openxmlformats.org/officeDocument/2006/relationships/image" Target="../media/image8.sv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image" Target="../media/image11.png"/><Relationship Id="rId7"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slides/_rels/slide4.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chart" Target="../charts/chart8.xml"/><Relationship Id="rId7" Type="http://schemas.openxmlformats.org/officeDocument/2006/relationships/image" Target="../media/image13.png"/><Relationship Id="rId2" Type="http://schemas.openxmlformats.org/officeDocument/2006/relationships/chart" Target="../charts/chart7.xml"/><Relationship Id="rId1" Type="http://schemas.openxmlformats.org/officeDocument/2006/relationships/slideLayout" Target="../slideLayouts/slideLayout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chart" Target="../charts/chart9.xml"/></Relationships>
</file>

<file path=ppt/slides/_rels/slide5.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tags" Target="../tags/tag36.xml"/><Relationship Id="rId39" Type="http://schemas.openxmlformats.org/officeDocument/2006/relationships/image" Target="../media/image18.png"/><Relationship Id="rId3" Type="http://schemas.openxmlformats.org/officeDocument/2006/relationships/tags" Target="../tags/tag13.xml"/><Relationship Id="rId21" Type="http://schemas.openxmlformats.org/officeDocument/2006/relationships/tags" Target="../tags/tag31.xml"/><Relationship Id="rId34" Type="http://schemas.openxmlformats.org/officeDocument/2006/relationships/notesSlide" Target="../notesSlides/notesSlide1.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tags" Target="../tags/tag35.xml"/><Relationship Id="rId33" Type="http://schemas.openxmlformats.org/officeDocument/2006/relationships/slideLayout" Target="../slideLayouts/slideLayout12.xml"/><Relationship Id="rId38" Type="http://schemas.microsoft.com/office/2007/relationships/hdphoto" Target="../media/hdphoto1.wdp"/><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tags" Target="../tags/tag39.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tags" Target="../tags/tag34.xml"/><Relationship Id="rId32" Type="http://schemas.openxmlformats.org/officeDocument/2006/relationships/tags" Target="../tags/tag42.xml"/><Relationship Id="rId37" Type="http://schemas.openxmlformats.org/officeDocument/2006/relationships/image" Target="../media/image17.png"/><Relationship Id="rId40" Type="http://schemas.openxmlformats.org/officeDocument/2006/relationships/image" Target="../media/image19.svg"/><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tags" Target="../tags/tag33.xml"/><Relationship Id="rId28" Type="http://schemas.openxmlformats.org/officeDocument/2006/relationships/tags" Target="../tags/tag38.xml"/><Relationship Id="rId36" Type="http://schemas.openxmlformats.org/officeDocument/2006/relationships/image" Target="../media/image16.emf"/><Relationship Id="rId10" Type="http://schemas.openxmlformats.org/officeDocument/2006/relationships/tags" Target="../tags/tag20.xml"/><Relationship Id="rId19" Type="http://schemas.openxmlformats.org/officeDocument/2006/relationships/tags" Target="../tags/tag29.xml"/><Relationship Id="rId31" Type="http://schemas.openxmlformats.org/officeDocument/2006/relationships/tags" Target="../tags/tag41.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tags" Target="../tags/tag37.xml"/><Relationship Id="rId30" Type="http://schemas.openxmlformats.org/officeDocument/2006/relationships/tags" Target="../tags/tag40.xml"/><Relationship Id="rId35"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2.sv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2.sv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3.xml"/><Relationship Id="rId1" Type="http://schemas.openxmlformats.org/officeDocument/2006/relationships/tags" Target="../tags/tag49.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emf"/></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t="-8000" b="-8000"/>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711AE62-5D52-4BD1-B5DB-D7DFE7A7FBC2}"/>
              </a:ext>
            </a:extLst>
          </p:cNvPr>
          <p:cNvPicPr>
            <a:picLocks noChangeAspect="1"/>
          </p:cNvPicPr>
          <p:nvPr/>
        </p:nvPicPr>
        <p:blipFill rotWithShape="1">
          <a:blip r:embed="rId4">
            <a:extLst>
              <a:ext uri="{28A0092B-C50C-407E-A947-70E740481C1C}">
                <a14:useLocalDpi xmlns:a14="http://schemas.microsoft.com/office/drawing/2010/main" val="0"/>
              </a:ext>
            </a:extLst>
          </a:blip>
          <a:srcRect r="40407"/>
          <a:stretch/>
        </p:blipFill>
        <p:spPr>
          <a:xfrm>
            <a:off x="1228106" y="4880597"/>
            <a:ext cx="10504357" cy="1136411"/>
          </a:xfrm>
          <a:prstGeom prst="rect">
            <a:avLst/>
          </a:prstGeom>
        </p:spPr>
      </p:pic>
      <p:graphicFrame>
        <p:nvGraphicFramePr>
          <p:cNvPr id="5" name="Object 4" hidden="1">
            <a:extLst>
              <a:ext uri="{FF2B5EF4-FFF2-40B4-BE49-F238E27FC236}">
                <a16:creationId xmlns:a16="http://schemas.microsoft.com/office/drawing/2014/main" id="{BF931DA8-CEED-424B-B6C7-4A1E13945E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BF931DA8-CEED-424B-B6C7-4A1E13945EC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TextBox 11">
            <a:extLst>
              <a:ext uri="{FF2B5EF4-FFF2-40B4-BE49-F238E27FC236}">
                <a16:creationId xmlns:a16="http://schemas.microsoft.com/office/drawing/2014/main" id="{D645B8D7-C6CF-47A6-A829-BAD128D6B05E}"/>
              </a:ext>
            </a:extLst>
          </p:cNvPr>
          <p:cNvSpPr txBox="1"/>
          <p:nvPr/>
        </p:nvSpPr>
        <p:spPr>
          <a:xfrm>
            <a:off x="4325516" y="5898416"/>
            <a:ext cx="7408013" cy="830997"/>
          </a:xfrm>
          <a:prstGeom prst="rect">
            <a:avLst/>
          </a:prstGeom>
          <a:noFill/>
        </p:spPr>
        <p:txBody>
          <a:bodyPr wrap="square" rtlCol="0">
            <a:spAutoFit/>
          </a:bodyPr>
          <a:lstStyle/>
          <a:p>
            <a:pPr algn="r" defTabSz="914439">
              <a:defRPr/>
            </a:pPr>
            <a:r>
              <a:rPr lang="lt-LT" sz="2400" b="1" dirty="0">
                <a:solidFill>
                  <a:schemeClr val="accent5">
                    <a:lumMod val="75000"/>
                    <a:lumOff val="25000"/>
                  </a:schemeClr>
                </a:solidFill>
                <a:latin typeface="MetaPlusLF"/>
              </a:rPr>
              <a:t>Raimonda Jankauskienė, FCCA, Festo-LT</a:t>
            </a:r>
          </a:p>
          <a:p>
            <a:pPr algn="r" defTabSz="914439">
              <a:defRPr/>
            </a:pPr>
            <a:r>
              <a:rPr lang="lt-LT" sz="2400" b="1" dirty="0">
                <a:solidFill>
                  <a:schemeClr val="accent5">
                    <a:lumMod val="75000"/>
                    <a:lumOff val="25000"/>
                  </a:schemeClr>
                </a:solidFill>
                <a:latin typeface="MetaPlusLF"/>
              </a:rPr>
              <a:t>23.09.2021</a:t>
            </a:r>
            <a:endParaRPr lang="en-150" sz="2400" b="1" dirty="0">
              <a:solidFill>
                <a:schemeClr val="accent5">
                  <a:lumMod val="75000"/>
                  <a:lumOff val="25000"/>
                </a:schemeClr>
              </a:solidFill>
              <a:latin typeface="MetaPlusLF"/>
            </a:endParaRPr>
          </a:p>
        </p:txBody>
      </p:sp>
      <p:sp>
        <p:nvSpPr>
          <p:cNvPr id="3" name="TextBox 2">
            <a:extLst>
              <a:ext uri="{FF2B5EF4-FFF2-40B4-BE49-F238E27FC236}">
                <a16:creationId xmlns:a16="http://schemas.microsoft.com/office/drawing/2014/main" id="{CD070895-3962-4A5C-B1B7-DCB66B7F6FF0}"/>
              </a:ext>
            </a:extLst>
          </p:cNvPr>
          <p:cNvSpPr txBox="1"/>
          <p:nvPr/>
        </p:nvSpPr>
        <p:spPr>
          <a:xfrm>
            <a:off x="2885356" y="4880597"/>
            <a:ext cx="9190072" cy="954107"/>
          </a:xfrm>
          <a:prstGeom prst="rect">
            <a:avLst/>
          </a:prstGeom>
          <a:noFill/>
        </p:spPr>
        <p:txBody>
          <a:bodyPr wrap="square" rtlCol="0">
            <a:spAutoFit/>
          </a:bodyPr>
          <a:lstStyle/>
          <a:p>
            <a:pPr algn="ctr" defTabSz="914439">
              <a:defRPr/>
            </a:pPr>
            <a:r>
              <a:rPr lang="lt-LT" sz="2800" b="1" dirty="0">
                <a:solidFill>
                  <a:srgbClr val="626666"/>
                </a:solidFill>
                <a:latin typeface="MetaPlusLF"/>
              </a:rPr>
              <a:t>Ar paslaugų centrai turi ateitį?</a:t>
            </a:r>
          </a:p>
          <a:p>
            <a:pPr defTabSz="914439">
              <a:defRPr/>
            </a:pPr>
            <a:r>
              <a:rPr lang="lt-LT" sz="2800" b="1" dirty="0">
                <a:solidFill>
                  <a:srgbClr val="626666"/>
                </a:solidFill>
                <a:latin typeface="MetaPlusLF"/>
              </a:rPr>
              <a:t>Festo patirtis skaitmenizuojant ir optimizuojant procesus</a:t>
            </a:r>
            <a:endParaRPr lang="en-US" sz="2800" b="1" dirty="0">
              <a:solidFill>
                <a:srgbClr val="626666"/>
              </a:solidFill>
              <a:latin typeface="MetaPlusLF"/>
            </a:endParaRPr>
          </a:p>
        </p:txBody>
      </p:sp>
    </p:spTree>
    <p:extLst>
      <p:ext uri="{BB962C8B-B14F-4D97-AF65-F5344CB8AC3E}">
        <p14:creationId xmlns:p14="http://schemas.microsoft.com/office/powerpoint/2010/main" val="24037826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2000" fill="hold"/>
                                        <p:tgtEl>
                                          <p:spTgt spid="10"/>
                                        </p:tgtEl>
                                        <p:attrNameLst>
                                          <p:attrName>ppt_w</p:attrName>
                                        </p:attrNameLst>
                                      </p:cBhvr>
                                      <p:tavLst>
                                        <p:tav tm="0">
                                          <p:val>
                                            <p:strVal val="#ppt_w+.3"/>
                                          </p:val>
                                        </p:tav>
                                        <p:tav tm="100000">
                                          <p:val>
                                            <p:strVal val="#ppt_w"/>
                                          </p:val>
                                        </p:tav>
                                      </p:tavLst>
                                    </p:anim>
                                    <p:anim calcmode="lin" valueType="num">
                                      <p:cBhvr>
                                        <p:cTn id="8" dur="2000" fill="hold"/>
                                        <p:tgtEl>
                                          <p:spTgt spid="10"/>
                                        </p:tgtEl>
                                        <p:attrNameLst>
                                          <p:attrName>ppt_h</p:attrName>
                                        </p:attrNameLst>
                                      </p:cBhvr>
                                      <p:tavLst>
                                        <p:tav tm="0">
                                          <p:val>
                                            <p:strVal val="#ppt_h"/>
                                          </p:val>
                                        </p:tav>
                                        <p:tav tm="100000">
                                          <p:val>
                                            <p:strVal val="#ppt_h"/>
                                          </p:val>
                                        </p:tav>
                                      </p:tavLst>
                                    </p:anim>
                                    <p:animEffect transition="in" filter="fade">
                                      <p:cBhvr>
                                        <p:cTn id="9" dur="2000"/>
                                        <p:tgtEl>
                                          <p:spTgt spid="10"/>
                                        </p:tgtEl>
                                      </p:cBhvr>
                                    </p:animEffect>
                                  </p:childTnLst>
                                </p:cTn>
                              </p:par>
                              <p:par>
                                <p:cTn id="10" presetID="50" presetClass="entr" presetSubtype="0" decel="10000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p:cTn id="12" dur="2000" fill="hold"/>
                                        <p:tgtEl>
                                          <p:spTgt spid="12"/>
                                        </p:tgtEl>
                                        <p:attrNameLst>
                                          <p:attrName>ppt_w</p:attrName>
                                        </p:attrNameLst>
                                      </p:cBhvr>
                                      <p:tavLst>
                                        <p:tav tm="0">
                                          <p:val>
                                            <p:strVal val="#ppt_w+.3"/>
                                          </p:val>
                                        </p:tav>
                                        <p:tav tm="100000">
                                          <p:val>
                                            <p:strVal val="#ppt_w"/>
                                          </p:val>
                                        </p:tav>
                                      </p:tavLst>
                                    </p:anim>
                                    <p:anim calcmode="lin" valueType="num">
                                      <p:cBhvr>
                                        <p:cTn id="13" dur="2000" fill="hold"/>
                                        <p:tgtEl>
                                          <p:spTgt spid="12"/>
                                        </p:tgtEl>
                                        <p:attrNameLst>
                                          <p:attrName>ppt_h</p:attrName>
                                        </p:attrNameLst>
                                      </p:cBhvr>
                                      <p:tavLst>
                                        <p:tav tm="0">
                                          <p:val>
                                            <p:strVal val="#ppt_h"/>
                                          </p:val>
                                        </p:tav>
                                        <p:tav tm="100000">
                                          <p:val>
                                            <p:strVal val="#ppt_h"/>
                                          </p:val>
                                        </p:tav>
                                      </p:tavLst>
                                    </p:anim>
                                    <p:animEffect transition="in" filter="fade">
                                      <p:cBhvr>
                                        <p:cTn id="14" dur="2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0B2FA2E-1DF5-4B91-BC2F-C9093C0651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7" name="Objekt 6" hidden="1">
                        <a:extLst>
                          <a:ext uri="{FF2B5EF4-FFF2-40B4-BE49-F238E27FC236}">
                            <a16:creationId xmlns:a16="http://schemas.microsoft.com/office/drawing/2014/main" id="{C0B2FA2E-1DF5-4B91-BC2F-C9093C06516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4B009014-0A10-42D7-9D50-BA9D348C606E}"/>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000" b="1" dirty="0">
              <a:latin typeface="MetaPlusLF" panose="02000503060000020004" pitchFamily="2" charset="-70"/>
              <a:sym typeface="MetaPlusLF" panose="02000503060000020004" pitchFamily="2" charset="-70"/>
            </a:endParaRPr>
          </a:p>
        </p:txBody>
      </p:sp>
      <p:sp>
        <p:nvSpPr>
          <p:cNvPr id="4" name="Foliennummernplatzhalter 3">
            <a:extLst>
              <a:ext uri="{FF2B5EF4-FFF2-40B4-BE49-F238E27FC236}">
                <a16:creationId xmlns:a16="http://schemas.microsoft.com/office/drawing/2014/main" id="{9338B1C0-FE0F-4025-82BE-7D1226005B96}"/>
              </a:ext>
            </a:extLst>
          </p:cNvPr>
          <p:cNvSpPr>
            <a:spLocks noGrp="1"/>
          </p:cNvSpPr>
          <p:nvPr>
            <p:ph type="sldNum" sz="quarter" idx="4"/>
          </p:nvPr>
        </p:nvSpPr>
        <p:spPr/>
        <p:txBody>
          <a:bodyPr/>
          <a:lstStyle/>
          <a:p>
            <a:fld id="{EA182149-5FEE-46AB-9490-B3CD4011A729}" type="slidenum">
              <a:rPr lang="en-GB" smtClean="0"/>
              <a:pPr/>
              <a:t>10</a:t>
            </a:fld>
            <a:endParaRPr lang="en-GB" dirty="0"/>
          </a:p>
        </p:txBody>
      </p:sp>
      <p:sp>
        <p:nvSpPr>
          <p:cNvPr id="5" name="Titel 4">
            <a:extLst>
              <a:ext uri="{FF2B5EF4-FFF2-40B4-BE49-F238E27FC236}">
                <a16:creationId xmlns:a16="http://schemas.microsoft.com/office/drawing/2014/main" id="{D6A01B95-4232-4F46-9E26-396CA81BFEB6}"/>
              </a:ext>
            </a:extLst>
          </p:cNvPr>
          <p:cNvSpPr>
            <a:spLocks noGrp="1"/>
          </p:cNvSpPr>
          <p:nvPr>
            <p:ph type="title"/>
          </p:nvPr>
        </p:nvSpPr>
        <p:spPr>
          <a:xfrm>
            <a:off x="252266" y="1566000"/>
            <a:ext cx="11460041" cy="504000"/>
          </a:xfrm>
        </p:spPr>
        <p:txBody>
          <a:bodyPr vert="horz"/>
          <a:lstStyle/>
          <a:p>
            <a:r>
              <a:rPr lang="lt-LT" dirty="0"/>
              <a:t>Procesų automatizavimas </a:t>
            </a:r>
            <a:r>
              <a:rPr lang="lt-LT" sz="2400" dirty="0">
                <a:solidFill>
                  <a:schemeClr val="tx1">
                    <a:lumMod val="65000"/>
                    <a:lumOff val="35000"/>
                  </a:schemeClr>
                </a:solidFill>
              </a:rPr>
              <a:t>| </a:t>
            </a:r>
            <a:r>
              <a:rPr lang="en-US" dirty="0">
                <a:solidFill>
                  <a:schemeClr val="accent6">
                    <a:lumMod val="60000"/>
                    <a:lumOff val="40000"/>
                  </a:schemeClr>
                </a:solidFill>
              </a:rPr>
              <a:t>FSSC LT </a:t>
            </a:r>
            <a:r>
              <a:rPr lang="lt-LT" dirty="0">
                <a:solidFill>
                  <a:schemeClr val="accent6">
                    <a:lumMod val="60000"/>
                    <a:lumOff val="40000"/>
                  </a:schemeClr>
                </a:solidFill>
              </a:rPr>
              <a:t>Proceso efektyvumo ataskaita</a:t>
            </a:r>
            <a:endParaRPr lang="en-US" dirty="0">
              <a:solidFill>
                <a:schemeClr val="accent6">
                  <a:lumMod val="60000"/>
                  <a:lumOff val="40000"/>
                </a:schemeClr>
              </a:solidFill>
            </a:endParaRPr>
          </a:p>
        </p:txBody>
      </p:sp>
      <p:sp>
        <p:nvSpPr>
          <p:cNvPr id="10" name="Rechteck 9">
            <a:extLst>
              <a:ext uri="{FF2B5EF4-FFF2-40B4-BE49-F238E27FC236}">
                <a16:creationId xmlns:a16="http://schemas.microsoft.com/office/drawing/2014/main" id="{845100B8-3151-4109-8F40-F2802EFAD6A5}"/>
              </a:ext>
            </a:extLst>
          </p:cNvPr>
          <p:cNvSpPr/>
          <p:nvPr/>
        </p:nvSpPr>
        <p:spPr>
          <a:xfrm>
            <a:off x="6216409" y="2147887"/>
            <a:ext cx="5495898" cy="3414924"/>
          </a:xfrm>
          <a:prstGeom prst="rect">
            <a:avLst/>
          </a:prstGeom>
          <a:noFill/>
          <a:ln w="28575" cap="flat" cmpd="sng" algn="ctr">
            <a:solidFill>
              <a:srgbClr val="7FC8ED"/>
            </a:solidFill>
            <a:prstDash val="solid"/>
          </a:ln>
          <a:effectLst/>
        </p:spPr>
        <p:txBody>
          <a:bodyPr rtlCol="0" anchor="t"/>
          <a:lstStyle/>
          <a:p>
            <a:pPr marL="0" marR="0" lvl="0" indent="0" defTabSz="421776" eaLnBrk="1" fontAlgn="auto" latinLnBrk="0" hangingPunct="1">
              <a:lnSpc>
                <a:spcPct val="100000"/>
              </a:lnSpc>
              <a:spcBef>
                <a:spcPts val="0"/>
              </a:spcBef>
              <a:spcAft>
                <a:spcPts val="0"/>
              </a:spcAft>
              <a:buClrTx/>
              <a:buSzTx/>
              <a:buFontTx/>
              <a:buNone/>
              <a:tabLst/>
              <a:defRPr/>
            </a:pPr>
            <a:r>
              <a:rPr kumimoji="0" lang="de-DE" sz="491" b="0" i="0" u="none" strike="noStrike" kern="0" cap="none" spc="0" normalizeH="0" baseline="0" noProof="0" dirty="0">
                <a:ln>
                  <a:noFill/>
                </a:ln>
                <a:solidFill>
                  <a:srgbClr val="000000"/>
                </a:solidFill>
                <a:effectLst/>
                <a:uLnTx/>
                <a:uFillTx/>
                <a:latin typeface="Univers for KPMG"/>
                <a:ea typeface="+mn-ea"/>
                <a:cs typeface="+mn-cs"/>
              </a:rPr>
              <a:t> </a:t>
            </a:r>
          </a:p>
        </p:txBody>
      </p:sp>
      <p:sp>
        <p:nvSpPr>
          <p:cNvPr id="11" name="Rechteck 10">
            <a:extLst>
              <a:ext uri="{FF2B5EF4-FFF2-40B4-BE49-F238E27FC236}">
                <a16:creationId xmlns:a16="http://schemas.microsoft.com/office/drawing/2014/main" id="{45C4B1A3-E763-4D15-B60D-F4EEDBBFB34C}"/>
              </a:ext>
            </a:extLst>
          </p:cNvPr>
          <p:cNvSpPr/>
          <p:nvPr/>
        </p:nvSpPr>
        <p:spPr>
          <a:xfrm>
            <a:off x="207743" y="2144713"/>
            <a:ext cx="5778033" cy="3418098"/>
          </a:xfrm>
          <a:prstGeom prst="rect">
            <a:avLst/>
          </a:prstGeom>
          <a:noFill/>
          <a:ln w="28575" cap="flat" cmpd="sng" algn="ctr">
            <a:solidFill>
              <a:srgbClr val="7FC8ED"/>
            </a:solidFill>
            <a:prstDash val="solid"/>
          </a:ln>
          <a:effectLst/>
        </p:spPr>
        <p:txBody>
          <a:bodyPr rtlCol="0" anchor="ctr"/>
          <a:lstStyle/>
          <a:p>
            <a:pPr marL="0" marR="0" lvl="0" indent="0" defTabSz="42177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Univers for KPMG"/>
              <a:ea typeface="+mn-ea"/>
              <a:cs typeface="+mn-cs"/>
            </a:endParaRPr>
          </a:p>
        </p:txBody>
      </p:sp>
      <p:sp>
        <p:nvSpPr>
          <p:cNvPr id="13" name="Textfeld 12">
            <a:extLst>
              <a:ext uri="{FF2B5EF4-FFF2-40B4-BE49-F238E27FC236}">
                <a16:creationId xmlns:a16="http://schemas.microsoft.com/office/drawing/2014/main" id="{D59AD3C5-D10F-45E4-AD06-9E1C80C1F743}"/>
              </a:ext>
            </a:extLst>
          </p:cNvPr>
          <p:cNvSpPr txBox="1"/>
          <p:nvPr/>
        </p:nvSpPr>
        <p:spPr>
          <a:xfrm>
            <a:off x="6306380" y="2060317"/>
            <a:ext cx="1414066" cy="184408"/>
          </a:xfrm>
          <a:prstGeom prst="rect">
            <a:avLst/>
          </a:prstGeom>
          <a:solidFill>
            <a:srgbClr val="FFFFFF"/>
          </a:solidFill>
        </p:spPr>
        <p:txBody>
          <a:bodyPr wrap="square" lIns="35325" tIns="0" rIns="35325" bIns="0" rtlCol="0" anchor="ctr">
            <a:spAutoFit/>
          </a:bodyPr>
          <a:lstStyle/>
          <a:p>
            <a:pPr marL="0" marR="0" lvl="0" indent="0" algn="ctr" defTabSz="421776" eaLnBrk="1" fontAlgn="auto" latinLnBrk="0" hangingPunct="1">
              <a:lnSpc>
                <a:spcPct val="100000"/>
              </a:lnSpc>
              <a:spcBef>
                <a:spcPts val="0"/>
              </a:spcBef>
              <a:spcAft>
                <a:spcPts val="0"/>
              </a:spcAft>
              <a:buClrTx/>
              <a:buSzTx/>
              <a:buFontTx/>
              <a:buNone/>
              <a:tabLst/>
              <a:defRPr/>
            </a:pPr>
            <a:r>
              <a:rPr lang="en-US" sz="1200" b="1" kern="0" dirty="0">
                <a:solidFill>
                  <a:srgbClr val="00338D"/>
                </a:solidFill>
                <a:latin typeface="+mj-lt"/>
                <a:cs typeface="Univers for KPMG"/>
              </a:rPr>
              <a:t>Payment posting</a:t>
            </a:r>
            <a:endParaRPr kumimoji="0" lang="en-US" sz="1200" b="1" i="0" u="none" strike="noStrike" kern="0" cap="none" spc="0" normalizeH="0" baseline="0" dirty="0">
              <a:ln>
                <a:noFill/>
              </a:ln>
              <a:solidFill>
                <a:srgbClr val="00338D"/>
              </a:solidFill>
              <a:effectLst/>
              <a:uLnTx/>
              <a:uFillTx/>
              <a:latin typeface="+mj-lt"/>
              <a:cs typeface="Univers for KPMG"/>
            </a:endParaRPr>
          </a:p>
        </p:txBody>
      </p:sp>
      <p:sp>
        <p:nvSpPr>
          <p:cNvPr id="14" name="Textfeld 13">
            <a:extLst>
              <a:ext uri="{FF2B5EF4-FFF2-40B4-BE49-F238E27FC236}">
                <a16:creationId xmlns:a16="http://schemas.microsoft.com/office/drawing/2014/main" id="{CD9810BB-ABD3-4B83-898B-387E603F9215}"/>
              </a:ext>
            </a:extLst>
          </p:cNvPr>
          <p:cNvSpPr txBox="1"/>
          <p:nvPr/>
        </p:nvSpPr>
        <p:spPr>
          <a:xfrm>
            <a:off x="574070" y="2060357"/>
            <a:ext cx="1740449" cy="184408"/>
          </a:xfrm>
          <a:prstGeom prst="rect">
            <a:avLst/>
          </a:prstGeom>
          <a:solidFill>
            <a:srgbClr val="FFFFFF"/>
          </a:solidFill>
        </p:spPr>
        <p:txBody>
          <a:bodyPr wrap="square" lIns="35325" tIns="0" rIns="35325" bIns="0" rtlCol="0" anchor="ctr">
            <a:spAutoFit/>
          </a:bodyPr>
          <a:lstStyle/>
          <a:p>
            <a:pPr marL="0" marR="0" lvl="0" indent="0" defTabSz="421776" eaLnBrk="1" fontAlgn="auto" latinLnBrk="0" hangingPunct="1">
              <a:lnSpc>
                <a:spcPct val="100000"/>
              </a:lnSpc>
              <a:spcBef>
                <a:spcPts val="0"/>
              </a:spcBef>
              <a:spcAft>
                <a:spcPts val="0"/>
              </a:spcAft>
              <a:buClrTx/>
              <a:buSzTx/>
              <a:buFontTx/>
              <a:buNone/>
              <a:tabLst/>
              <a:defRPr/>
            </a:pPr>
            <a:r>
              <a:rPr lang="en-US" sz="1200" b="1" kern="0" dirty="0">
                <a:solidFill>
                  <a:srgbClr val="00338D"/>
                </a:solidFill>
                <a:latin typeface="+mj-lt"/>
                <a:cs typeface="Univers for KPMG"/>
              </a:rPr>
              <a:t>AP Invoice processing</a:t>
            </a:r>
            <a:endParaRPr kumimoji="0" lang="en-US" sz="1200" b="1" i="0" u="none" strike="noStrike" kern="0" cap="none" spc="0" normalizeH="0" baseline="0" dirty="0">
              <a:ln>
                <a:noFill/>
              </a:ln>
              <a:solidFill>
                <a:srgbClr val="00338D"/>
              </a:solidFill>
              <a:effectLst/>
              <a:uLnTx/>
              <a:uFillTx/>
              <a:latin typeface="+mj-lt"/>
              <a:cs typeface="Univers for KPMG"/>
            </a:endParaRPr>
          </a:p>
        </p:txBody>
      </p:sp>
      <p:sp>
        <p:nvSpPr>
          <p:cNvPr id="16" name="Rechteck 15">
            <a:extLst>
              <a:ext uri="{FF2B5EF4-FFF2-40B4-BE49-F238E27FC236}">
                <a16:creationId xmlns:a16="http://schemas.microsoft.com/office/drawing/2014/main" id="{4ADB8C60-4482-4DD6-A58E-87C370A97E9C}"/>
              </a:ext>
            </a:extLst>
          </p:cNvPr>
          <p:cNvSpPr/>
          <p:nvPr/>
        </p:nvSpPr>
        <p:spPr>
          <a:xfrm>
            <a:off x="7836851" y="2937856"/>
            <a:ext cx="3707558" cy="1327150"/>
          </a:xfrm>
          <a:prstGeom prst="rect">
            <a:avLst/>
          </a:prstGeom>
          <a:noFill/>
          <a:ln w="25400" cap="flat" cmpd="sng" algn="ctr">
            <a:noFill/>
            <a:prstDash val="solid"/>
          </a:ln>
          <a:effectLst/>
        </p:spPr>
        <p:txBody>
          <a:bodyPr rtlCol="0" anchor="t"/>
          <a:lstStyle/>
          <a:p>
            <a:pPr marL="90353" marR="0" lvl="0" indent="-90353" defTabSz="421776"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030" b="0" i="0" u="none" strike="noStrike" kern="0" cap="none" spc="0" normalizeH="0" baseline="0" noProof="0" dirty="0">
              <a:ln>
                <a:noFill/>
              </a:ln>
              <a:solidFill>
                <a:srgbClr val="000000"/>
              </a:solidFill>
              <a:effectLst/>
              <a:uLnTx/>
              <a:uFillTx/>
              <a:latin typeface="Univers for KPMG"/>
              <a:ea typeface="+mn-ea"/>
              <a:cs typeface="+mn-cs"/>
            </a:endParaRPr>
          </a:p>
        </p:txBody>
      </p:sp>
      <p:sp>
        <p:nvSpPr>
          <p:cNvPr id="18" name="Gleichschenkliges Dreieck 17">
            <a:extLst>
              <a:ext uri="{FF2B5EF4-FFF2-40B4-BE49-F238E27FC236}">
                <a16:creationId xmlns:a16="http://schemas.microsoft.com/office/drawing/2014/main" id="{6148A005-92AB-47FC-8723-4039EDD52E8E}"/>
              </a:ext>
            </a:extLst>
          </p:cNvPr>
          <p:cNvSpPr/>
          <p:nvPr/>
        </p:nvSpPr>
        <p:spPr>
          <a:xfrm>
            <a:off x="1595438" y="2684463"/>
            <a:ext cx="360363" cy="17938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2" name="Rechteck 31">
            <a:extLst>
              <a:ext uri="{FF2B5EF4-FFF2-40B4-BE49-F238E27FC236}">
                <a16:creationId xmlns:a16="http://schemas.microsoft.com/office/drawing/2014/main" id="{864BA9AC-F2F8-4FDE-BB97-9D148A4CF5E9}"/>
              </a:ext>
            </a:extLst>
          </p:cNvPr>
          <p:cNvSpPr/>
          <p:nvPr/>
        </p:nvSpPr>
        <p:spPr>
          <a:xfrm>
            <a:off x="10345554" y="2144713"/>
            <a:ext cx="1121218" cy="560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2000" dirty="0">
                <a:solidFill>
                  <a:srgbClr val="FFFFFF"/>
                </a:solidFill>
              </a:rPr>
              <a:t>98.126</a:t>
            </a:r>
          </a:p>
        </p:txBody>
      </p:sp>
      <p:sp>
        <p:nvSpPr>
          <p:cNvPr id="57" name="Rechteck 56">
            <a:extLst>
              <a:ext uri="{FF2B5EF4-FFF2-40B4-BE49-F238E27FC236}">
                <a16:creationId xmlns:a16="http://schemas.microsoft.com/office/drawing/2014/main" id="{D36BD7D7-839E-4148-BA07-A63E3711F4E0}"/>
              </a:ext>
            </a:extLst>
          </p:cNvPr>
          <p:cNvSpPr/>
          <p:nvPr/>
        </p:nvSpPr>
        <p:spPr>
          <a:xfrm>
            <a:off x="10745341" y="5369416"/>
            <a:ext cx="709905" cy="538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rgbClr val="FFFFFF"/>
                </a:solidFill>
              </a:rPr>
              <a:t>40</a:t>
            </a:r>
          </a:p>
        </p:txBody>
      </p:sp>
      <p:sp>
        <p:nvSpPr>
          <p:cNvPr id="23" name="Rectangle 22" hidden="1">
            <a:extLst>
              <a:ext uri="{FF2B5EF4-FFF2-40B4-BE49-F238E27FC236}">
                <a16:creationId xmlns:a16="http://schemas.microsoft.com/office/drawing/2014/main" id="{2497F270-5879-41B2-9BC4-8A22474AC509}"/>
              </a:ext>
            </a:extLst>
          </p:cNvPr>
          <p:cNvSpPr/>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lt-LT" sz="1400" dirty="0">
              <a:sym typeface="+mn-lt"/>
            </a:endParaRPr>
          </a:p>
        </p:txBody>
      </p:sp>
      <p:sp>
        <p:nvSpPr>
          <p:cNvPr id="35" name="Rectangle 34" hidden="1">
            <a:extLst>
              <a:ext uri="{FF2B5EF4-FFF2-40B4-BE49-F238E27FC236}">
                <a16:creationId xmlns:a16="http://schemas.microsoft.com/office/drawing/2014/main" id="{9112C7F7-4832-458E-8CB3-5699B09CE6A0}"/>
              </a:ext>
            </a:extLst>
          </p:cNvPr>
          <p:cNvSpPr/>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lt-LT" sz="1400" dirty="0">
              <a:sym typeface="+mn-lt"/>
            </a:endParaRPr>
          </a:p>
        </p:txBody>
      </p:sp>
      <p:graphicFrame>
        <p:nvGraphicFramePr>
          <p:cNvPr id="33" name="Chart 32">
            <a:extLst>
              <a:ext uri="{FF2B5EF4-FFF2-40B4-BE49-F238E27FC236}">
                <a16:creationId xmlns:a16="http://schemas.microsoft.com/office/drawing/2014/main" id="{28D4B304-CF4B-493F-A70A-678F087EB6D6}"/>
              </a:ext>
            </a:extLst>
          </p:cNvPr>
          <p:cNvGraphicFramePr>
            <a:graphicFrameLocks/>
          </p:cNvGraphicFramePr>
          <p:nvPr>
            <p:extLst>
              <p:ext uri="{D42A27DB-BD31-4B8C-83A1-F6EECF244321}">
                <p14:modId xmlns:p14="http://schemas.microsoft.com/office/powerpoint/2010/main" val="2613286032"/>
              </p:ext>
            </p:extLst>
          </p:nvPr>
        </p:nvGraphicFramePr>
        <p:xfrm>
          <a:off x="207744" y="2329222"/>
          <a:ext cx="5673511" cy="3233590"/>
        </p:xfrm>
        <a:graphic>
          <a:graphicData uri="http://schemas.openxmlformats.org/drawingml/2006/chart">
            <c:chart xmlns:c="http://schemas.openxmlformats.org/drawingml/2006/chart" xmlns:r="http://schemas.openxmlformats.org/officeDocument/2006/relationships" r:id="rId7"/>
          </a:graphicData>
        </a:graphic>
      </p:graphicFrame>
      <p:sp>
        <p:nvSpPr>
          <p:cNvPr id="34" name="Rechteck 3">
            <a:extLst>
              <a:ext uri="{FF2B5EF4-FFF2-40B4-BE49-F238E27FC236}">
                <a16:creationId xmlns:a16="http://schemas.microsoft.com/office/drawing/2014/main" id="{71B6D84E-ABB8-48A7-B501-EBE6F3EB1053}"/>
              </a:ext>
            </a:extLst>
          </p:cNvPr>
          <p:cNvSpPr/>
          <p:nvPr/>
        </p:nvSpPr>
        <p:spPr>
          <a:xfrm>
            <a:off x="203667" y="5683148"/>
            <a:ext cx="5778033" cy="658035"/>
          </a:xfrm>
          <a:prstGeom prst="rect">
            <a:avLst/>
          </a:prstGeom>
          <a:solidFill>
            <a:srgbClr val="7FC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GB" sz="1200" b="1" dirty="0">
                <a:solidFill>
                  <a:srgbClr val="FFFFFF"/>
                </a:solidFill>
              </a:rPr>
              <a:t># of transactions +14%</a:t>
            </a:r>
          </a:p>
          <a:p>
            <a:pPr>
              <a:lnSpc>
                <a:spcPct val="150000"/>
              </a:lnSpc>
            </a:pPr>
            <a:r>
              <a:rPr lang="en-GB" sz="1200" b="1" dirty="0">
                <a:solidFill>
                  <a:srgbClr val="FFFFFF"/>
                </a:solidFill>
              </a:rPr>
              <a:t>FTE reduction -16% </a:t>
            </a:r>
          </a:p>
          <a:p>
            <a:pPr>
              <a:lnSpc>
                <a:spcPct val="150000"/>
              </a:lnSpc>
            </a:pPr>
            <a:endParaRPr lang="en-GB" sz="1200" dirty="0">
              <a:solidFill>
                <a:srgbClr val="FFFFFF"/>
              </a:solidFill>
            </a:endParaRPr>
          </a:p>
        </p:txBody>
      </p:sp>
      <p:sp>
        <p:nvSpPr>
          <p:cNvPr id="36" name="Rechteck 3">
            <a:extLst>
              <a:ext uri="{FF2B5EF4-FFF2-40B4-BE49-F238E27FC236}">
                <a16:creationId xmlns:a16="http://schemas.microsoft.com/office/drawing/2014/main" id="{8A6860A2-F097-4AC5-A727-E48785743CC8}"/>
              </a:ext>
            </a:extLst>
          </p:cNvPr>
          <p:cNvSpPr/>
          <p:nvPr/>
        </p:nvSpPr>
        <p:spPr>
          <a:xfrm>
            <a:off x="6216409" y="5666336"/>
            <a:ext cx="5495897" cy="658034"/>
          </a:xfrm>
          <a:prstGeom prst="rect">
            <a:avLst/>
          </a:prstGeom>
          <a:solidFill>
            <a:srgbClr val="7FC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GB" sz="1200" b="1" dirty="0">
                <a:solidFill>
                  <a:srgbClr val="FFFFFF"/>
                </a:solidFill>
              </a:rPr>
              <a:t># of transactions +14%</a:t>
            </a:r>
          </a:p>
          <a:p>
            <a:pPr>
              <a:lnSpc>
                <a:spcPct val="150000"/>
              </a:lnSpc>
            </a:pPr>
            <a:r>
              <a:rPr lang="en-GB" sz="1200" b="1" dirty="0">
                <a:solidFill>
                  <a:srgbClr val="FFFFFF"/>
                </a:solidFill>
              </a:rPr>
              <a:t>FTE reduction -13% </a:t>
            </a:r>
          </a:p>
          <a:p>
            <a:pPr>
              <a:lnSpc>
                <a:spcPct val="150000"/>
              </a:lnSpc>
            </a:pPr>
            <a:endParaRPr lang="en-GB" sz="1200" dirty="0">
              <a:solidFill>
                <a:srgbClr val="FFFFFF"/>
              </a:solidFill>
            </a:endParaRPr>
          </a:p>
        </p:txBody>
      </p:sp>
      <p:graphicFrame>
        <p:nvGraphicFramePr>
          <p:cNvPr id="43" name="Chart 42">
            <a:extLst>
              <a:ext uri="{FF2B5EF4-FFF2-40B4-BE49-F238E27FC236}">
                <a16:creationId xmlns:a16="http://schemas.microsoft.com/office/drawing/2014/main" id="{88BA6EED-57CB-4411-9D43-FD8B009952D5}"/>
              </a:ext>
            </a:extLst>
          </p:cNvPr>
          <p:cNvGraphicFramePr>
            <a:graphicFrameLocks/>
          </p:cNvGraphicFramePr>
          <p:nvPr>
            <p:extLst>
              <p:ext uri="{D42A27DB-BD31-4B8C-83A1-F6EECF244321}">
                <p14:modId xmlns:p14="http://schemas.microsoft.com/office/powerpoint/2010/main" val="4237977458"/>
              </p:ext>
            </p:extLst>
          </p:nvPr>
        </p:nvGraphicFramePr>
        <p:xfrm>
          <a:off x="6306380" y="2301558"/>
          <a:ext cx="5148866" cy="3173147"/>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3288491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CFE9D03-77E7-41D2-BE81-63DE0BB0E919}"/>
              </a:ext>
            </a:extLst>
          </p:cNvPr>
          <p:cNvPicPr>
            <a:picLocks noChangeAspect="1"/>
          </p:cNvPicPr>
          <p:nvPr/>
        </p:nvPicPr>
        <p:blipFill>
          <a:blip r:embed="rId5"/>
          <a:stretch>
            <a:fillRect/>
          </a:stretch>
        </p:blipFill>
        <p:spPr>
          <a:xfrm>
            <a:off x="467806" y="2396694"/>
            <a:ext cx="4395199" cy="3425464"/>
          </a:xfrm>
          <a:prstGeom prst="rect">
            <a:avLst/>
          </a:prstGeom>
        </p:spPr>
      </p:pic>
      <p:graphicFrame>
        <p:nvGraphicFramePr>
          <p:cNvPr id="7" name="Objekt 6" hidden="1">
            <a:extLst>
              <a:ext uri="{FF2B5EF4-FFF2-40B4-BE49-F238E27FC236}">
                <a16:creationId xmlns:a16="http://schemas.microsoft.com/office/drawing/2014/main" id="{C0B2FA2E-1DF5-4B91-BC2F-C9093C0651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7" name="Objekt 6" hidden="1">
                        <a:extLst>
                          <a:ext uri="{FF2B5EF4-FFF2-40B4-BE49-F238E27FC236}">
                            <a16:creationId xmlns:a16="http://schemas.microsoft.com/office/drawing/2014/main" id="{C0B2FA2E-1DF5-4B91-BC2F-C9093C0651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4B009014-0A10-42D7-9D50-BA9D348C606E}"/>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000" b="1" dirty="0">
              <a:latin typeface="MetaPlusLF" panose="02000503060000020004" pitchFamily="2" charset="-70"/>
              <a:sym typeface="MetaPlusLF" panose="02000503060000020004" pitchFamily="2" charset="-70"/>
            </a:endParaRPr>
          </a:p>
        </p:txBody>
      </p:sp>
      <p:sp>
        <p:nvSpPr>
          <p:cNvPr id="4" name="Foliennummernplatzhalter 3">
            <a:extLst>
              <a:ext uri="{FF2B5EF4-FFF2-40B4-BE49-F238E27FC236}">
                <a16:creationId xmlns:a16="http://schemas.microsoft.com/office/drawing/2014/main" id="{9338B1C0-FE0F-4025-82BE-7D1226005B96}"/>
              </a:ext>
            </a:extLst>
          </p:cNvPr>
          <p:cNvSpPr>
            <a:spLocks noGrp="1"/>
          </p:cNvSpPr>
          <p:nvPr>
            <p:ph type="sldNum" sz="quarter" idx="4"/>
          </p:nvPr>
        </p:nvSpPr>
        <p:spPr/>
        <p:txBody>
          <a:bodyPr/>
          <a:lstStyle/>
          <a:p>
            <a:fld id="{EA182149-5FEE-46AB-9490-B3CD4011A729}" type="slidenum">
              <a:rPr lang="en-GB" smtClean="0"/>
              <a:pPr/>
              <a:t>11</a:t>
            </a:fld>
            <a:endParaRPr lang="en-GB" dirty="0"/>
          </a:p>
        </p:txBody>
      </p:sp>
      <p:sp>
        <p:nvSpPr>
          <p:cNvPr id="5" name="Titel 4">
            <a:extLst>
              <a:ext uri="{FF2B5EF4-FFF2-40B4-BE49-F238E27FC236}">
                <a16:creationId xmlns:a16="http://schemas.microsoft.com/office/drawing/2014/main" id="{D6A01B95-4232-4F46-9E26-396CA81BFEB6}"/>
              </a:ext>
            </a:extLst>
          </p:cNvPr>
          <p:cNvSpPr>
            <a:spLocks noGrp="1"/>
          </p:cNvSpPr>
          <p:nvPr>
            <p:ph type="title"/>
          </p:nvPr>
        </p:nvSpPr>
        <p:spPr>
          <a:xfrm>
            <a:off x="291752" y="1556317"/>
            <a:ext cx="11460041" cy="504000"/>
          </a:xfrm>
        </p:spPr>
        <p:txBody>
          <a:bodyPr vert="horz"/>
          <a:lstStyle/>
          <a:p>
            <a:r>
              <a:rPr lang="lt-LT" dirty="0"/>
              <a:t>Procesų automatizavimas </a:t>
            </a:r>
            <a:r>
              <a:rPr lang="lt-LT" sz="2400" dirty="0">
                <a:solidFill>
                  <a:schemeClr val="tx1">
                    <a:lumMod val="65000"/>
                    <a:lumOff val="35000"/>
                  </a:schemeClr>
                </a:solidFill>
              </a:rPr>
              <a:t>| </a:t>
            </a:r>
            <a:r>
              <a:rPr lang="en-US" dirty="0" err="1">
                <a:solidFill>
                  <a:schemeClr val="accent6">
                    <a:lumMod val="60000"/>
                    <a:lumOff val="40000"/>
                  </a:schemeClr>
                </a:solidFill>
              </a:rPr>
              <a:t>Lygis</a:t>
            </a:r>
            <a:r>
              <a:rPr lang="en-US" dirty="0">
                <a:solidFill>
                  <a:schemeClr val="accent6">
                    <a:lumMod val="60000"/>
                    <a:lumOff val="40000"/>
                  </a:schemeClr>
                </a:solidFill>
              </a:rPr>
              <a:t> per </a:t>
            </a:r>
            <a:r>
              <a:rPr lang="en-US" dirty="0" err="1">
                <a:solidFill>
                  <a:schemeClr val="accent6">
                    <a:lumMod val="60000"/>
                    <a:lumOff val="40000"/>
                  </a:schemeClr>
                </a:solidFill>
              </a:rPr>
              <a:t>laikotarp</a:t>
            </a:r>
            <a:r>
              <a:rPr lang="lt-LT" dirty="0">
                <a:solidFill>
                  <a:schemeClr val="accent6">
                    <a:lumMod val="60000"/>
                    <a:lumOff val="40000"/>
                  </a:schemeClr>
                </a:solidFill>
              </a:rPr>
              <a:t>į</a:t>
            </a:r>
            <a:endParaRPr lang="en-US" dirty="0"/>
          </a:p>
        </p:txBody>
      </p:sp>
      <p:sp>
        <p:nvSpPr>
          <p:cNvPr id="13" name="Textfeld 12">
            <a:extLst>
              <a:ext uri="{FF2B5EF4-FFF2-40B4-BE49-F238E27FC236}">
                <a16:creationId xmlns:a16="http://schemas.microsoft.com/office/drawing/2014/main" id="{D59AD3C5-D10F-45E4-AD06-9E1C80C1F743}"/>
              </a:ext>
            </a:extLst>
          </p:cNvPr>
          <p:cNvSpPr txBox="1"/>
          <p:nvPr/>
        </p:nvSpPr>
        <p:spPr>
          <a:xfrm>
            <a:off x="343696" y="2225336"/>
            <a:ext cx="1992231" cy="184666"/>
          </a:xfrm>
          <a:prstGeom prst="rect">
            <a:avLst/>
          </a:prstGeom>
          <a:solidFill>
            <a:srgbClr val="FFFFFF"/>
          </a:solidFill>
        </p:spPr>
        <p:txBody>
          <a:bodyPr wrap="square" lIns="35325" tIns="0" rIns="35325" bIns="0" rtlCol="0" anchor="ctr">
            <a:spAutoFit/>
          </a:bodyPr>
          <a:lstStyle/>
          <a:p>
            <a:pPr marL="0" marR="0" lvl="0" indent="0" algn="ctr" defTabSz="421776" eaLnBrk="1" fontAlgn="auto" latinLnBrk="0" hangingPunct="1">
              <a:lnSpc>
                <a:spcPct val="100000"/>
              </a:lnSpc>
              <a:spcBef>
                <a:spcPts val="0"/>
              </a:spcBef>
              <a:spcAft>
                <a:spcPts val="0"/>
              </a:spcAft>
              <a:buClrTx/>
              <a:buSzTx/>
              <a:buFontTx/>
              <a:buNone/>
              <a:tabLst/>
              <a:defRPr/>
            </a:pPr>
            <a:r>
              <a:rPr lang="en-US" sz="1200" b="1" kern="0" dirty="0">
                <a:solidFill>
                  <a:schemeClr val="tx1">
                    <a:lumMod val="65000"/>
                    <a:lumOff val="35000"/>
                  </a:schemeClr>
                </a:solidFill>
                <a:latin typeface="+mj-lt"/>
                <a:cs typeface="Univers for KPMG"/>
              </a:rPr>
              <a:t>Automation Status Over Time</a:t>
            </a:r>
            <a:endParaRPr kumimoji="0" lang="en-US" sz="1200" b="1" i="0" u="none" strike="noStrike" kern="0" cap="none" spc="0" normalizeH="0" baseline="0" dirty="0">
              <a:ln>
                <a:noFill/>
              </a:ln>
              <a:solidFill>
                <a:schemeClr val="tx1">
                  <a:lumMod val="65000"/>
                  <a:lumOff val="35000"/>
                </a:schemeClr>
              </a:solidFill>
              <a:effectLst/>
              <a:uLnTx/>
              <a:uFillTx/>
              <a:latin typeface="+mj-lt"/>
              <a:cs typeface="Univers for KPMG"/>
            </a:endParaRPr>
          </a:p>
        </p:txBody>
      </p:sp>
      <p:sp>
        <p:nvSpPr>
          <p:cNvPr id="16" name="Rechteck 15">
            <a:extLst>
              <a:ext uri="{FF2B5EF4-FFF2-40B4-BE49-F238E27FC236}">
                <a16:creationId xmlns:a16="http://schemas.microsoft.com/office/drawing/2014/main" id="{4ADB8C60-4482-4DD6-A58E-87C370A97E9C}"/>
              </a:ext>
            </a:extLst>
          </p:cNvPr>
          <p:cNvSpPr/>
          <p:nvPr/>
        </p:nvSpPr>
        <p:spPr>
          <a:xfrm>
            <a:off x="7836852" y="2976563"/>
            <a:ext cx="3707558" cy="1327150"/>
          </a:xfrm>
          <a:prstGeom prst="rect">
            <a:avLst/>
          </a:prstGeom>
          <a:noFill/>
          <a:ln w="25400" cap="flat" cmpd="sng" algn="ctr">
            <a:noFill/>
            <a:prstDash val="solid"/>
          </a:ln>
          <a:effectLst/>
        </p:spPr>
        <p:txBody>
          <a:bodyPr rtlCol="0" anchor="t"/>
          <a:lstStyle/>
          <a:p>
            <a:pPr marL="90353" marR="0" lvl="0" indent="-90353" defTabSz="421776"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030" b="0" i="0" u="none" strike="noStrike" kern="0" cap="none" spc="0" normalizeH="0" baseline="0" noProof="0" dirty="0">
              <a:ln>
                <a:noFill/>
              </a:ln>
              <a:solidFill>
                <a:srgbClr val="000000"/>
              </a:solidFill>
              <a:effectLst/>
              <a:uLnTx/>
              <a:uFillTx/>
              <a:latin typeface="Univers for KPMG"/>
              <a:ea typeface="+mn-ea"/>
              <a:cs typeface="+mn-cs"/>
            </a:endParaRPr>
          </a:p>
        </p:txBody>
      </p:sp>
      <p:sp>
        <p:nvSpPr>
          <p:cNvPr id="18" name="Gleichschenkliges Dreieck 17">
            <a:extLst>
              <a:ext uri="{FF2B5EF4-FFF2-40B4-BE49-F238E27FC236}">
                <a16:creationId xmlns:a16="http://schemas.microsoft.com/office/drawing/2014/main" id="{6148A005-92AB-47FC-8723-4039EDD52E8E}"/>
              </a:ext>
            </a:extLst>
          </p:cNvPr>
          <p:cNvSpPr/>
          <p:nvPr/>
        </p:nvSpPr>
        <p:spPr>
          <a:xfrm>
            <a:off x="1595438" y="2684463"/>
            <a:ext cx="360363" cy="17938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 name="Rechteck 20">
            <a:extLst>
              <a:ext uri="{FF2B5EF4-FFF2-40B4-BE49-F238E27FC236}">
                <a16:creationId xmlns:a16="http://schemas.microsoft.com/office/drawing/2014/main" id="{D3531093-337E-4ED9-927C-5CD393E3D9FF}"/>
              </a:ext>
            </a:extLst>
          </p:cNvPr>
          <p:cNvSpPr/>
          <p:nvPr/>
        </p:nvSpPr>
        <p:spPr>
          <a:xfrm>
            <a:off x="4846071" y="2154238"/>
            <a:ext cx="1121218" cy="560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de-DE" sz="2000" dirty="0">
              <a:solidFill>
                <a:srgbClr val="FFFFFF"/>
              </a:solidFill>
            </a:endParaRPr>
          </a:p>
        </p:txBody>
      </p:sp>
      <p:sp>
        <p:nvSpPr>
          <p:cNvPr id="32" name="Rechteck 31">
            <a:extLst>
              <a:ext uri="{FF2B5EF4-FFF2-40B4-BE49-F238E27FC236}">
                <a16:creationId xmlns:a16="http://schemas.microsoft.com/office/drawing/2014/main" id="{864BA9AC-F2F8-4FDE-BB97-9D148A4CF5E9}"/>
              </a:ext>
            </a:extLst>
          </p:cNvPr>
          <p:cNvSpPr/>
          <p:nvPr/>
        </p:nvSpPr>
        <p:spPr>
          <a:xfrm>
            <a:off x="10345554" y="2144713"/>
            <a:ext cx="1121218" cy="560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2000" dirty="0">
                <a:solidFill>
                  <a:srgbClr val="FFFFFF"/>
                </a:solidFill>
              </a:rPr>
              <a:t>98.126</a:t>
            </a:r>
          </a:p>
        </p:txBody>
      </p:sp>
      <p:sp>
        <p:nvSpPr>
          <p:cNvPr id="55" name="Gleichschenkliges Dreieck 54">
            <a:extLst>
              <a:ext uri="{FF2B5EF4-FFF2-40B4-BE49-F238E27FC236}">
                <a16:creationId xmlns:a16="http://schemas.microsoft.com/office/drawing/2014/main" id="{C87EDA7E-0FE3-46A9-8A2D-59A9ABA6AF21}"/>
              </a:ext>
            </a:extLst>
          </p:cNvPr>
          <p:cNvSpPr/>
          <p:nvPr/>
        </p:nvSpPr>
        <p:spPr>
          <a:xfrm rot="10800000">
            <a:off x="7880084" y="5562811"/>
            <a:ext cx="300413" cy="12033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7" name="Rechteck 56">
            <a:extLst>
              <a:ext uri="{FF2B5EF4-FFF2-40B4-BE49-F238E27FC236}">
                <a16:creationId xmlns:a16="http://schemas.microsoft.com/office/drawing/2014/main" id="{D36BD7D7-839E-4148-BA07-A63E3711F4E0}"/>
              </a:ext>
            </a:extLst>
          </p:cNvPr>
          <p:cNvSpPr/>
          <p:nvPr/>
        </p:nvSpPr>
        <p:spPr>
          <a:xfrm>
            <a:off x="10745341" y="5369416"/>
            <a:ext cx="709905" cy="538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rgbClr val="FFFFFF"/>
                </a:solidFill>
              </a:rPr>
              <a:t>40</a:t>
            </a:r>
          </a:p>
        </p:txBody>
      </p:sp>
      <p:sp>
        <p:nvSpPr>
          <p:cNvPr id="58" name="Gleichschenkliges Dreieck 57">
            <a:extLst>
              <a:ext uri="{FF2B5EF4-FFF2-40B4-BE49-F238E27FC236}">
                <a16:creationId xmlns:a16="http://schemas.microsoft.com/office/drawing/2014/main" id="{CF64CE76-C43F-4671-8CF5-9EE12DA6B57A}"/>
              </a:ext>
            </a:extLst>
          </p:cNvPr>
          <p:cNvSpPr/>
          <p:nvPr/>
        </p:nvSpPr>
        <p:spPr>
          <a:xfrm rot="10800000">
            <a:off x="10479439" y="5562811"/>
            <a:ext cx="255921" cy="12033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3" name="Rectangle 22" hidden="1">
            <a:extLst>
              <a:ext uri="{FF2B5EF4-FFF2-40B4-BE49-F238E27FC236}">
                <a16:creationId xmlns:a16="http://schemas.microsoft.com/office/drawing/2014/main" id="{2497F270-5879-41B2-9BC4-8A22474AC509}"/>
              </a:ext>
            </a:extLst>
          </p:cNvPr>
          <p:cNvSpPr/>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lt-LT" sz="1400" dirty="0">
              <a:sym typeface="+mn-lt"/>
            </a:endParaRPr>
          </a:p>
        </p:txBody>
      </p:sp>
      <p:sp>
        <p:nvSpPr>
          <p:cNvPr id="35" name="Rectangle 34" hidden="1">
            <a:extLst>
              <a:ext uri="{FF2B5EF4-FFF2-40B4-BE49-F238E27FC236}">
                <a16:creationId xmlns:a16="http://schemas.microsoft.com/office/drawing/2014/main" id="{9112C7F7-4832-458E-8CB3-5699B09CE6A0}"/>
              </a:ext>
            </a:extLst>
          </p:cNvPr>
          <p:cNvSpPr/>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lt-LT" sz="1400" dirty="0">
              <a:sym typeface="+mn-lt"/>
            </a:endParaRPr>
          </a:p>
        </p:txBody>
      </p:sp>
      <p:grpSp>
        <p:nvGrpSpPr>
          <p:cNvPr id="3" name="Group 2">
            <a:extLst>
              <a:ext uri="{FF2B5EF4-FFF2-40B4-BE49-F238E27FC236}">
                <a16:creationId xmlns:a16="http://schemas.microsoft.com/office/drawing/2014/main" id="{58A950CE-0C03-42AA-B1D3-7053AEC1EC83}"/>
              </a:ext>
            </a:extLst>
          </p:cNvPr>
          <p:cNvGrpSpPr/>
          <p:nvPr/>
        </p:nvGrpSpPr>
        <p:grpSpPr>
          <a:xfrm>
            <a:off x="348786" y="2207065"/>
            <a:ext cx="5328000" cy="4193295"/>
            <a:chOff x="6216409" y="2147888"/>
            <a:chExt cx="5328000" cy="4193295"/>
          </a:xfrm>
        </p:grpSpPr>
        <p:sp>
          <p:nvSpPr>
            <p:cNvPr id="10" name="Rechteck 9">
              <a:extLst>
                <a:ext uri="{FF2B5EF4-FFF2-40B4-BE49-F238E27FC236}">
                  <a16:creationId xmlns:a16="http://schemas.microsoft.com/office/drawing/2014/main" id="{845100B8-3151-4109-8F40-F2802EFAD6A5}"/>
                </a:ext>
              </a:extLst>
            </p:cNvPr>
            <p:cNvSpPr/>
            <p:nvPr/>
          </p:nvSpPr>
          <p:spPr>
            <a:xfrm>
              <a:off x="6216409" y="2147888"/>
              <a:ext cx="5328000" cy="4193295"/>
            </a:xfrm>
            <a:prstGeom prst="rect">
              <a:avLst/>
            </a:prstGeom>
            <a:noFill/>
            <a:ln w="28575" cap="flat" cmpd="sng" algn="ctr">
              <a:solidFill>
                <a:srgbClr val="00338D"/>
              </a:solidFill>
              <a:prstDash val="solid"/>
            </a:ln>
            <a:effectLst/>
          </p:spPr>
          <p:txBody>
            <a:bodyPr rtlCol="0" anchor="t"/>
            <a:lstStyle/>
            <a:p>
              <a:pPr marL="0" marR="0" lvl="0" indent="0" defTabSz="421776" eaLnBrk="1" fontAlgn="auto" latinLnBrk="0" hangingPunct="1">
                <a:lnSpc>
                  <a:spcPct val="100000"/>
                </a:lnSpc>
                <a:spcBef>
                  <a:spcPts val="0"/>
                </a:spcBef>
                <a:spcAft>
                  <a:spcPts val="0"/>
                </a:spcAft>
                <a:buClrTx/>
                <a:buSzTx/>
                <a:buFontTx/>
                <a:buNone/>
                <a:tabLst/>
                <a:defRPr/>
              </a:pPr>
              <a:r>
                <a:rPr kumimoji="0" lang="de-DE" sz="491" b="0" i="0" u="none" strike="noStrike" kern="0" cap="none" spc="0" normalizeH="0" baseline="0" noProof="0" dirty="0">
                  <a:ln>
                    <a:noFill/>
                  </a:ln>
                  <a:solidFill>
                    <a:srgbClr val="000000"/>
                  </a:solidFill>
                  <a:effectLst/>
                  <a:uLnTx/>
                  <a:uFillTx/>
                  <a:latin typeface="Univers for KPMG"/>
                  <a:ea typeface="+mn-ea"/>
                  <a:cs typeface="+mn-cs"/>
                </a:rPr>
                <a:t> </a:t>
              </a:r>
            </a:p>
          </p:txBody>
        </p:sp>
        <p:pic>
          <p:nvPicPr>
            <p:cNvPr id="27" name="Picture 26">
              <a:extLst>
                <a:ext uri="{FF2B5EF4-FFF2-40B4-BE49-F238E27FC236}">
                  <a16:creationId xmlns:a16="http://schemas.microsoft.com/office/drawing/2014/main" id="{1E3AEF5B-B36E-42F2-BC09-DED70CDDDB2F}"/>
                </a:ext>
              </a:extLst>
            </p:cNvPr>
            <p:cNvPicPr>
              <a:picLocks noChangeAspect="1"/>
            </p:cNvPicPr>
            <p:nvPr/>
          </p:nvPicPr>
          <p:blipFill>
            <a:blip r:embed="rId8"/>
            <a:stretch>
              <a:fillRect/>
            </a:stretch>
          </p:blipFill>
          <p:spPr>
            <a:xfrm>
              <a:off x="6274030" y="5575719"/>
              <a:ext cx="933405" cy="742636"/>
            </a:xfrm>
            <a:prstGeom prst="rect">
              <a:avLst/>
            </a:prstGeom>
          </p:spPr>
        </p:pic>
        <p:pic>
          <p:nvPicPr>
            <p:cNvPr id="29" name="Picture 28">
              <a:extLst>
                <a:ext uri="{FF2B5EF4-FFF2-40B4-BE49-F238E27FC236}">
                  <a16:creationId xmlns:a16="http://schemas.microsoft.com/office/drawing/2014/main" id="{67BD092B-C99F-4580-AA1E-D030D75201C6}"/>
                </a:ext>
              </a:extLst>
            </p:cNvPr>
            <p:cNvPicPr>
              <a:picLocks noChangeAspect="1"/>
            </p:cNvPicPr>
            <p:nvPr/>
          </p:nvPicPr>
          <p:blipFill>
            <a:blip r:embed="rId9"/>
            <a:stretch>
              <a:fillRect/>
            </a:stretch>
          </p:blipFill>
          <p:spPr>
            <a:xfrm>
              <a:off x="7355568" y="5610119"/>
              <a:ext cx="933405" cy="706721"/>
            </a:xfrm>
            <a:prstGeom prst="rect">
              <a:avLst/>
            </a:prstGeom>
          </p:spPr>
        </p:pic>
        <p:sp>
          <p:nvSpPr>
            <p:cNvPr id="81" name="TextBox 80">
              <a:extLst>
                <a:ext uri="{FF2B5EF4-FFF2-40B4-BE49-F238E27FC236}">
                  <a16:creationId xmlns:a16="http://schemas.microsoft.com/office/drawing/2014/main" id="{18DD713D-D1D8-445F-991B-5CB501287D54}"/>
                </a:ext>
              </a:extLst>
            </p:cNvPr>
            <p:cNvSpPr txBox="1"/>
            <p:nvPr/>
          </p:nvSpPr>
          <p:spPr>
            <a:xfrm>
              <a:off x="9696261" y="5683148"/>
              <a:ext cx="1770511" cy="586384"/>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t"/>
            <a:lstStyle>
              <a:defPPr>
                <a:defRPr lang="en-US"/>
              </a:defPPr>
              <a:lvl1pPr>
                <a:lnSpc>
                  <a:spcPct val="150000"/>
                </a:lnSpc>
                <a:defRPr sz="1200">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algn="r" defTabSz="421776" fontAlgn="auto">
                <a:lnSpc>
                  <a:spcPct val="100000"/>
                </a:lnSpc>
                <a:spcBef>
                  <a:spcPts val="0"/>
                </a:spcBef>
                <a:spcAft>
                  <a:spcPts val="0"/>
                </a:spcAft>
                <a:defRPr/>
              </a:pPr>
              <a:r>
                <a:rPr lang="en-US" b="1" kern="0" dirty="0">
                  <a:solidFill>
                    <a:schemeClr val="tx1">
                      <a:lumMod val="65000"/>
                      <a:lumOff val="35000"/>
                    </a:schemeClr>
                  </a:solidFill>
                  <a:latin typeface="+mj-lt"/>
                </a:rPr>
                <a:t>AP automation goal: </a:t>
              </a:r>
            </a:p>
            <a:p>
              <a:pPr algn="r" defTabSz="421776" fontAlgn="auto">
                <a:lnSpc>
                  <a:spcPct val="100000"/>
                </a:lnSpc>
                <a:spcBef>
                  <a:spcPts val="0"/>
                </a:spcBef>
                <a:spcAft>
                  <a:spcPts val="0"/>
                </a:spcAft>
                <a:defRPr/>
              </a:pPr>
              <a:r>
                <a:rPr lang="en-US" b="1" kern="0" dirty="0">
                  <a:solidFill>
                    <a:schemeClr val="tx1">
                      <a:lumMod val="65000"/>
                      <a:lumOff val="35000"/>
                    </a:schemeClr>
                  </a:solidFill>
                  <a:latin typeface="+mj-lt"/>
                </a:rPr>
                <a:t>Touchless posting </a:t>
              </a:r>
            </a:p>
            <a:p>
              <a:pPr algn="r" defTabSz="421776" fontAlgn="auto">
                <a:lnSpc>
                  <a:spcPct val="100000"/>
                </a:lnSpc>
                <a:spcBef>
                  <a:spcPts val="0"/>
                </a:spcBef>
                <a:spcAft>
                  <a:spcPts val="0"/>
                </a:spcAft>
                <a:defRPr/>
              </a:pPr>
              <a:r>
                <a:rPr lang="en-US" b="1" kern="0" dirty="0">
                  <a:solidFill>
                    <a:schemeClr val="accent6">
                      <a:lumMod val="60000"/>
                      <a:lumOff val="40000"/>
                    </a:schemeClr>
                  </a:solidFill>
                  <a:latin typeface="+mj-lt"/>
                </a:rPr>
                <a:t>60%</a:t>
              </a:r>
              <a:endParaRPr lang="lt-LT" b="1" kern="0" dirty="0">
                <a:solidFill>
                  <a:schemeClr val="accent6">
                    <a:lumMod val="60000"/>
                    <a:lumOff val="40000"/>
                  </a:schemeClr>
                </a:solidFill>
                <a:latin typeface="+mj-lt"/>
              </a:endParaRPr>
            </a:p>
          </p:txBody>
        </p:sp>
      </p:grpSp>
    </p:spTree>
    <p:extLst>
      <p:ext uri="{BB962C8B-B14F-4D97-AF65-F5344CB8AC3E}">
        <p14:creationId xmlns:p14="http://schemas.microsoft.com/office/powerpoint/2010/main" val="4560599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0DA599-012C-4C90-ACB2-A44F5C322E75}"/>
              </a:ext>
            </a:extLst>
          </p:cNvPr>
          <p:cNvSpPr>
            <a:spLocks noGrp="1"/>
          </p:cNvSpPr>
          <p:nvPr>
            <p:ph type="body" sz="quarter" idx="11"/>
          </p:nvPr>
        </p:nvSpPr>
        <p:spPr/>
        <p:txBody>
          <a:bodyPr/>
          <a:lstStyle/>
          <a:p>
            <a:r>
              <a:rPr lang="lt-LT" dirty="0"/>
              <a:t>Procesų automatizavimas </a:t>
            </a:r>
            <a:r>
              <a:rPr lang="lt-LT" sz="2400" dirty="0">
                <a:solidFill>
                  <a:schemeClr val="tx1">
                    <a:lumMod val="65000"/>
                    <a:lumOff val="35000"/>
                  </a:schemeClr>
                </a:solidFill>
              </a:rPr>
              <a:t>| </a:t>
            </a:r>
            <a:r>
              <a:rPr lang="lt-LT" dirty="0">
                <a:solidFill>
                  <a:schemeClr val="accent6">
                    <a:lumMod val="60000"/>
                    <a:lumOff val="40000"/>
                  </a:schemeClr>
                </a:solidFill>
              </a:rPr>
              <a:t>Pagrindiniai ribojimai ir iššūkiai </a:t>
            </a:r>
            <a:endParaRPr lang="en-GB" dirty="0"/>
          </a:p>
        </p:txBody>
      </p:sp>
      <p:sp>
        <p:nvSpPr>
          <p:cNvPr id="6" name="Content Placeholder 5">
            <a:extLst>
              <a:ext uri="{FF2B5EF4-FFF2-40B4-BE49-F238E27FC236}">
                <a16:creationId xmlns:a16="http://schemas.microsoft.com/office/drawing/2014/main" id="{0BBEE269-B6D5-4C4F-82A1-7D5BDC073A55}"/>
              </a:ext>
            </a:extLst>
          </p:cNvPr>
          <p:cNvSpPr>
            <a:spLocks noGrp="1"/>
          </p:cNvSpPr>
          <p:nvPr>
            <p:ph sz="quarter" idx="15"/>
          </p:nvPr>
        </p:nvSpPr>
        <p:spPr>
          <a:xfrm>
            <a:off x="252267" y="2318056"/>
            <a:ext cx="5370569" cy="3997325"/>
          </a:xfrm>
          <a:solidFill>
            <a:schemeClr val="bg1">
              <a:lumMod val="95000"/>
            </a:schemeClr>
          </a:solidFill>
        </p:spPr>
        <p:txBody>
          <a:bodyPr/>
          <a:lstStyle/>
          <a:p>
            <a:endParaRPr lang="en-US" b="1" dirty="0">
              <a:sym typeface="Roboto Condensed Light"/>
            </a:endParaRPr>
          </a:p>
          <a:p>
            <a:pPr marL="266700"/>
            <a:r>
              <a:rPr lang="lt-LT" b="1" dirty="0">
                <a:sym typeface="Roboto Condensed Light"/>
              </a:rPr>
              <a:t>Mokėtinos sumos</a:t>
            </a:r>
            <a:r>
              <a:rPr lang="en-US" b="1" dirty="0">
                <a:sym typeface="Roboto Condensed Light"/>
              </a:rPr>
              <a:t>: </a:t>
            </a:r>
          </a:p>
          <a:p>
            <a:pPr lvl="1">
              <a:buClr>
                <a:srgbClr val="7FC8ED"/>
              </a:buClr>
              <a:buFont typeface="Wingdings" panose="05000000000000000000" pitchFamily="2" charset="2"/>
              <a:buChar char="§"/>
            </a:pPr>
            <a:r>
              <a:rPr lang="lt-LT" dirty="0">
                <a:sym typeface="Roboto Condensed Light"/>
              </a:rPr>
              <a:t>Maksimalus automatizavimo lygis –  </a:t>
            </a:r>
            <a:endParaRPr lang="lt-LT" sz="2000" b="1" dirty="0">
              <a:solidFill>
                <a:schemeClr val="accent6">
                  <a:lumMod val="60000"/>
                  <a:lumOff val="40000"/>
                </a:schemeClr>
              </a:solidFill>
              <a:sym typeface="Roboto Condensed Light"/>
            </a:endParaRPr>
          </a:p>
          <a:p>
            <a:pPr lvl="1">
              <a:buClr>
                <a:srgbClr val="7FC8ED"/>
              </a:buClr>
              <a:buFont typeface="Wingdings" panose="05000000000000000000" pitchFamily="2" charset="2"/>
              <a:buChar char="§"/>
            </a:pPr>
            <a:r>
              <a:rPr lang="lt-LT" dirty="0">
                <a:sym typeface="Roboto Condensed Light"/>
              </a:rPr>
              <a:t>Žemas pirkimo užsakymų procentas, arba sudėtingas suderinamumas tarp dviejų skirtingų sistemų (tiekėjo ir gavėjo)</a:t>
            </a:r>
            <a:endParaRPr lang="en-US" dirty="0"/>
          </a:p>
          <a:p>
            <a:pPr lvl="1">
              <a:buClr>
                <a:srgbClr val="7FC8ED"/>
              </a:buClr>
              <a:buFont typeface="Wingdings" panose="05000000000000000000" pitchFamily="2" charset="2"/>
              <a:buChar char="§"/>
            </a:pPr>
            <a:r>
              <a:rPr lang="lt-LT" dirty="0"/>
              <a:t>Pasenę tiekėjų </a:t>
            </a:r>
            <a:r>
              <a:rPr lang="lt-LT" dirty="0" err="1"/>
              <a:t>duombazės</a:t>
            </a:r>
            <a:r>
              <a:rPr lang="lt-LT" dirty="0"/>
              <a:t> pagrindiniai duomenys</a:t>
            </a:r>
          </a:p>
          <a:p>
            <a:pPr lvl="1">
              <a:buClr>
                <a:srgbClr val="7FC8ED"/>
              </a:buClr>
              <a:buFont typeface="Wingdings" panose="05000000000000000000" pitchFamily="2" charset="2"/>
              <a:buChar char="§"/>
            </a:pPr>
            <a:r>
              <a:rPr lang="lt-LT" dirty="0">
                <a:sym typeface="Roboto Condensed Light"/>
              </a:rPr>
              <a:t>Tekstiniai komentarai ant gaunamų dokumentų ir apskaitos įraše sistemoje</a:t>
            </a:r>
          </a:p>
          <a:p>
            <a:pPr lvl="1">
              <a:buClr>
                <a:srgbClr val="7FC8ED"/>
              </a:buClr>
              <a:buFont typeface="Wingdings" panose="05000000000000000000" pitchFamily="2" charset="2"/>
              <a:buChar char="§"/>
            </a:pPr>
            <a:r>
              <a:rPr lang="lt-LT" dirty="0">
                <a:sym typeface="Roboto Condensed Light"/>
              </a:rPr>
              <a:t>Skirtingos privalomos taisyklės apskaitai atskirose šalyse (pvz. savikainos apskaita)</a:t>
            </a:r>
          </a:p>
          <a:p>
            <a:pPr lvl="1">
              <a:buClr>
                <a:srgbClr val="7FC8ED"/>
              </a:buClr>
              <a:buFont typeface="Wingdings" panose="05000000000000000000" pitchFamily="2" charset="2"/>
              <a:buChar char="§"/>
            </a:pPr>
            <a:r>
              <a:rPr lang="lt-LT" b="1" dirty="0" err="1">
                <a:sym typeface="Roboto Condensed Light"/>
              </a:rPr>
              <a:t>Cyber</a:t>
            </a:r>
            <a:r>
              <a:rPr lang="lt-LT" b="1" dirty="0">
                <a:sym typeface="Roboto Condensed Light"/>
              </a:rPr>
              <a:t> </a:t>
            </a:r>
            <a:r>
              <a:rPr lang="lt-LT" b="1" dirty="0" err="1">
                <a:sym typeface="Roboto Condensed Light"/>
              </a:rPr>
              <a:t>security</a:t>
            </a:r>
            <a:r>
              <a:rPr lang="lt-LT" b="1" dirty="0">
                <a:sym typeface="Roboto Condensed Light"/>
              </a:rPr>
              <a:t> ir apgaulės rizika</a:t>
            </a:r>
          </a:p>
          <a:p>
            <a:pPr lvl="1">
              <a:buFont typeface="Arial" panose="020B0604020202020204" pitchFamily="34" charset="0"/>
              <a:buChar char="•"/>
            </a:pPr>
            <a:endParaRPr lang="en-US" dirty="0"/>
          </a:p>
          <a:p>
            <a:pPr>
              <a:lnSpc>
                <a:spcPct val="100000"/>
              </a:lnSpc>
              <a:spcBef>
                <a:spcPts val="600"/>
              </a:spcBef>
            </a:pPr>
            <a:endParaRPr lang="en-GB" dirty="0"/>
          </a:p>
        </p:txBody>
      </p:sp>
      <p:sp>
        <p:nvSpPr>
          <p:cNvPr id="5" name="Slide Number Placeholder 4">
            <a:extLst>
              <a:ext uri="{FF2B5EF4-FFF2-40B4-BE49-F238E27FC236}">
                <a16:creationId xmlns:a16="http://schemas.microsoft.com/office/drawing/2014/main" id="{10A446F0-5F96-4807-B160-012C4A7BB086}"/>
              </a:ext>
            </a:extLst>
          </p:cNvPr>
          <p:cNvSpPr>
            <a:spLocks noGrp="1"/>
          </p:cNvSpPr>
          <p:nvPr>
            <p:ph type="sldNum" sz="quarter" idx="4"/>
          </p:nvPr>
        </p:nvSpPr>
        <p:spPr/>
        <p:txBody>
          <a:bodyPr/>
          <a:lstStyle/>
          <a:p>
            <a:fld id="{EA182149-5FEE-46AB-9490-B3CD4011A729}" type="slidenum">
              <a:rPr lang="en-GB" smtClean="0"/>
              <a:pPr/>
              <a:t>12</a:t>
            </a:fld>
            <a:endParaRPr lang="en-GB" dirty="0"/>
          </a:p>
        </p:txBody>
      </p:sp>
      <p:sp>
        <p:nvSpPr>
          <p:cNvPr id="8" name="Content Placeholder 5">
            <a:extLst>
              <a:ext uri="{FF2B5EF4-FFF2-40B4-BE49-F238E27FC236}">
                <a16:creationId xmlns:a16="http://schemas.microsoft.com/office/drawing/2014/main" id="{BB69727A-CC24-40F9-B449-C6729014A5AD}"/>
              </a:ext>
            </a:extLst>
          </p:cNvPr>
          <p:cNvSpPr txBox="1">
            <a:spLocks/>
          </p:cNvSpPr>
          <p:nvPr/>
        </p:nvSpPr>
        <p:spPr>
          <a:xfrm>
            <a:off x="6056650" y="2318056"/>
            <a:ext cx="5370569" cy="3997325"/>
          </a:xfrm>
          <a:prstGeom prst="rect">
            <a:avLst/>
          </a:prstGeom>
          <a:solidFill>
            <a:srgbClr val="DCEBF6"/>
          </a:solidFill>
        </p:spPr>
        <p:txBody>
          <a:bodyPr lIns="0" tIns="0" rIns="0" bIns="0"/>
          <a:lstStyle>
            <a:lvl1pPr marL="0" indent="0" algn="l" rtl="0" eaLnBrk="1" fontAlgn="base" hangingPunct="1">
              <a:lnSpc>
                <a:spcPts val="2100"/>
              </a:lnSpc>
              <a:spcBef>
                <a:spcPct val="20000"/>
              </a:spcBef>
              <a:spcAft>
                <a:spcPct val="0"/>
              </a:spcAft>
              <a:buFont typeface="MetaPlusLF" pitchFamily="2" charset="0"/>
              <a:buNone/>
              <a:defRPr sz="1600" kern="1200">
                <a:solidFill>
                  <a:schemeClr val="tx1"/>
                </a:solidFill>
                <a:latin typeface="+mn-lt"/>
                <a:ea typeface="+mn-ea"/>
                <a:cs typeface="+mn-cs"/>
              </a:defRPr>
            </a:lvl1pPr>
            <a:lvl2pPr marL="742950" indent="-285750"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2pPr>
            <a:lvl3pPr marL="1143000" indent="-228600"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3pPr>
            <a:lvl4pPr marL="1600200" indent="-228600"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4pPr>
            <a:lvl5pPr marL="2057400" indent="-228600"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a:p>
            <a:pPr marL="266700"/>
            <a:r>
              <a:rPr lang="lt-LT" b="1" dirty="0">
                <a:sym typeface="Roboto Condensed Light"/>
              </a:rPr>
              <a:t>Gautinos sumos</a:t>
            </a:r>
            <a:r>
              <a:rPr lang="en-US" b="1" dirty="0">
                <a:sym typeface="Roboto Condensed Light"/>
              </a:rPr>
              <a:t>: </a:t>
            </a:r>
          </a:p>
          <a:p>
            <a:pPr lvl="1">
              <a:buClr>
                <a:srgbClr val="7FC8ED"/>
              </a:buClr>
              <a:buFont typeface="Wingdings" panose="05000000000000000000" pitchFamily="2" charset="2"/>
              <a:buChar char="§"/>
            </a:pPr>
            <a:r>
              <a:rPr lang="lt-LT" dirty="0">
                <a:sym typeface="Roboto Condensed Light"/>
              </a:rPr>
              <a:t>Maksimalus automatizavimo lygis – </a:t>
            </a:r>
            <a:endParaRPr lang="lt-LT" b="1" dirty="0">
              <a:sym typeface="Roboto Condensed Light"/>
            </a:endParaRPr>
          </a:p>
          <a:p>
            <a:pPr lvl="1">
              <a:buClr>
                <a:srgbClr val="7FC8ED"/>
              </a:buClr>
              <a:buFont typeface="Wingdings" panose="05000000000000000000" pitchFamily="2" charset="2"/>
              <a:buChar char="§"/>
            </a:pPr>
            <a:r>
              <a:rPr lang="lt-LT" dirty="0">
                <a:sym typeface="Roboto Condensed Light"/>
              </a:rPr>
              <a:t>Nepakankama informacija banko išrašuose mokėjimų susiejimui</a:t>
            </a:r>
          </a:p>
          <a:p>
            <a:pPr lvl="1">
              <a:buClr>
                <a:srgbClr val="7FC8ED"/>
              </a:buClr>
              <a:buFont typeface="Wingdings" panose="05000000000000000000" pitchFamily="2" charset="2"/>
              <a:buChar char="§"/>
            </a:pPr>
            <a:r>
              <a:rPr lang="lt-LT" dirty="0">
                <a:sym typeface="Roboto Condensed Light"/>
              </a:rPr>
              <a:t>Daliniai mokėjimai, avansiniai mokėjimai</a:t>
            </a:r>
          </a:p>
          <a:p>
            <a:pPr lvl="1">
              <a:buClr>
                <a:srgbClr val="7FC8ED"/>
              </a:buClr>
              <a:buFont typeface="Wingdings" panose="05000000000000000000" pitchFamily="2" charset="2"/>
              <a:buChar char="§"/>
            </a:pPr>
            <a:r>
              <a:rPr lang="lt-LT" dirty="0">
                <a:sym typeface="Roboto Condensed Light"/>
              </a:rPr>
              <a:t>Valiutos konvertavimo kurso naudojimo sudėtingos taisyklės</a:t>
            </a:r>
          </a:p>
          <a:p>
            <a:pPr marL="457200" lvl="1" indent="0">
              <a:buNone/>
            </a:pPr>
            <a:endParaRPr lang="en-US" dirty="0">
              <a:sym typeface="Roboto Condensed Light"/>
            </a:endParaRPr>
          </a:p>
          <a:p>
            <a:pPr>
              <a:lnSpc>
                <a:spcPct val="100000"/>
              </a:lnSpc>
              <a:spcBef>
                <a:spcPts val="600"/>
              </a:spcBef>
            </a:pPr>
            <a:endParaRPr lang="en-GB" dirty="0"/>
          </a:p>
        </p:txBody>
      </p:sp>
      <p:grpSp>
        <p:nvGrpSpPr>
          <p:cNvPr id="13" name="Group 12">
            <a:extLst>
              <a:ext uri="{FF2B5EF4-FFF2-40B4-BE49-F238E27FC236}">
                <a16:creationId xmlns:a16="http://schemas.microsoft.com/office/drawing/2014/main" id="{6531D83F-93CC-42EC-8C9D-7AAB99877D74}"/>
              </a:ext>
            </a:extLst>
          </p:cNvPr>
          <p:cNvGrpSpPr/>
          <p:nvPr/>
        </p:nvGrpSpPr>
        <p:grpSpPr>
          <a:xfrm>
            <a:off x="10014148" y="2591420"/>
            <a:ext cx="882542" cy="648072"/>
            <a:chOff x="4673775" y="2284586"/>
            <a:chExt cx="882542" cy="648072"/>
          </a:xfrm>
        </p:grpSpPr>
        <p:sp>
          <p:nvSpPr>
            <p:cNvPr id="14" name="Rectangle 13">
              <a:extLst>
                <a:ext uri="{FF2B5EF4-FFF2-40B4-BE49-F238E27FC236}">
                  <a16:creationId xmlns:a16="http://schemas.microsoft.com/office/drawing/2014/main" id="{DD5E7B37-940C-4FE4-9D92-E91934B3D7EF}"/>
                </a:ext>
              </a:extLst>
            </p:cNvPr>
            <p:cNvSpPr/>
            <p:nvPr/>
          </p:nvSpPr>
          <p:spPr>
            <a:xfrm>
              <a:off x="4673775" y="2284586"/>
              <a:ext cx="864096" cy="64807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5" name="TextBox 14">
              <a:extLst>
                <a:ext uri="{FF2B5EF4-FFF2-40B4-BE49-F238E27FC236}">
                  <a16:creationId xmlns:a16="http://schemas.microsoft.com/office/drawing/2014/main" id="{6E7EC42A-C751-4DAF-A3CB-DE041B993372}"/>
                </a:ext>
              </a:extLst>
            </p:cNvPr>
            <p:cNvSpPr txBox="1"/>
            <p:nvPr/>
          </p:nvSpPr>
          <p:spPr>
            <a:xfrm>
              <a:off x="4673775" y="2381062"/>
              <a:ext cx="882542" cy="523220"/>
            </a:xfrm>
            <a:prstGeom prst="rect">
              <a:avLst/>
            </a:prstGeom>
            <a:noFill/>
          </p:spPr>
          <p:txBody>
            <a:bodyPr wrap="square" rtlCol="0">
              <a:spAutoFit/>
            </a:bodyPr>
            <a:lstStyle/>
            <a:p>
              <a:r>
                <a:rPr lang="lt-LT" sz="2800" b="1" dirty="0">
                  <a:solidFill>
                    <a:schemeClr val="accent6">
                      <a:lumMod val="60000"/>
                      <a:lumOff val="40000"/>
                    </a:schemeClr>
                  </a:solidFill>
                  <a:sym typeface="Roboto Condensed Light"/>
                </a:rPr>
                <a:t>40</a:t>
              </a:r>
              <a:r>
                <a:rPr lang="en-US" sz="2800" b="1" dirty="0">
                  <a:solidFill>
                    <a:schemeClr val="accent6">
                      <a:lumMod val="60000"/>
                      <a:lumOff val="40000"/>
                    </a:schemeClr>
                  </a:solidFill>
                  <a:sym typeface="Roboto Condensed Light"/>
                </a:rPr>
                <a:t>%</a:t>
              </a:r>
              <a:endParaRPr lang="en-US" sz="2800" dirty="0">
                <a:latin typeface="+mn-lt"/>
              </a:endParaRPr>
            </a:p>
          </p:txBody>
        </p:sp>
      </p:grpSp>
      <p:grpSp>
        <p:nvGrpSpPr>
          <p:cNvPr id="16" name="Group 15">
            <a:extLst>
              <a:ext uri="{FF2B5EF4-FFF2-40B4-BE49-F238E27FC236}">
                <a16:creationId xmlns:a16="http://schemas.microsoft.com/office/drawing/2014/main" id="{0E5E61C1-D638-4434-8770-E35FE0F4F4CA}"/>
              </a:ext>
            </a:extLst>
          </p:cNvPr>
          <p:cNvGrpSpPr/>
          <p:nvPr/>
        </p:nvGrpSpPr>
        <p:grpSpPr>
          <a:xfrm>
            <a:off x="4119867" y="2591420"/>
            <a:ext cx="937199" cy="648072"/>
            <a:chOff x="4673775" y="2284586"/>
            <a:chExt cx="937199" cy="648072"/>
          </a:xfrm>
        </p:grpSpPr>
        <p:sp>
          <p:nvSpPr>
            <p:cNvPr id="17" name="Rectangle 16">
              <a:extLst>
                <a:ext uri="{FF2B5EF4-FFF2-40B4-BE49-F238E27FC236}">
                  <a16:creationId xmlns:a16="http://schemas.microsoft.com/office/drawing/2014/main" id="{FBEFC951-3868-49FD-8EB5-5718B49150E9}"/>
                </a:ext>
              </a:extLst>
            </p:cNvPr>
            <p:cNvSpPr/>
            <p:nvPr/>
          </p:nvSpPr>
          <p:spPr>
            <a:xfrm>
              <a:off x="4673775" y="2284586"/>
              <a:ext cx="864096" cy="64807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8" name="TextBox 17">
              <a:extLst>
                <a:ext uri="{FF2B5EF4-FFF2-40B4-BE49-F238E27FC236}">
                  <a16:creationId xmlns:a16="http://schemas.microsoft.com/office/drawing/2014/main" id="{AC8A2436-7A98-4753-9DD8-8E9AB3420A4E}"/>
                </a:ext>
              </a:extLst>
            </p:cNvPr>
            <p:cNvSpPr txBox="1"/>
            <p:nvPr/>
          </p:nvSpPr>
          <p:spPr>
            <a:xfrm>
              <a:off x="4728432" y="2372183"/>
              <a:ext cx="882542" cy="523220"/>
            </a:xfrm>
            <a:prstGeom prst="rect">
              <a:avLst/>
            </a:prstGeom>
            <a:noFill/>
          </p:spPr>
          <p:txBody>
            <a:bodyPr wrap="square" rtlCol="0">
              <a:spAutoFit/>
            </a:bodyPr>
            <a:lstStyle/>
            <a:p>
              <a:r>
                <a:rPr lang="lt-LT" sz="2800" b="1" dirty="0">
                  <a:solidFill>
                    <a:schemeClr val="accent6">
                      <a:lumMod val="60000"/>
                      <a:lumOff val="40000"/>
                    </a:schemeClr>
                  </a:solidFill>
                  <a:sym typeface="Roboto Condensed Light"/>
                </a:rPr>
                <a:t>80</a:t>
              </a:r>
              <a:r>
                <a:rPr lang="en-US" sz="2800" b="1" dirty="0">
                  <a:solidFill>
                    <a:schemeClr val="accent6">
                      <a:lumMod val="60000"/>
                      <a:lumOff val="40000"/>
                    </a:schemeClr>
                  </a:solidFill>
                  <a:sym typeface="Roboto Condensed Light"/>
                </a:rPr>
                <a:t>%</a:t>
              </a:r>
              <a:endParaRPr lang="en-US" sz="2800" dirty="0">
                <a:latin typeface="+mn-lt"/>
              </a:endParaRPr>
            </a:p>
          </p:txBody>
        </p:sp>
      </p:grpSp>
    </p:spTree>
    <p:extLst>
      <p:ext uri="{BB962C8B-B14F-4D97-AF65-F5344CB8AC3E}">
        <p14:creationId xmlns:p14="http://schemas.microsoft.com/office/powerpoint/2010/main" val="2818815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xEl>
                                              <p:pRg st="3" end="3"/>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xEl>
                                              <p:pRg st="4" end="4"/>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xEl>
                                              <p:pRg st="5" end="5"/>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xEl>
                                              <p:pRg st="6" end="6"/>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P spid="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0A446F0-5F96-4807-B160-012C4A7BB086}"/>
              </a:ext>
            </a:extLst>
          </p:cNvPr>
          <p:cNvSpPr>
            <a:spLocks noGrp="1"/>
          </p:cNvSpPr>
          <p:nvPr>
            <p:ph type="sldNum" sz="quarter" idx="4"/>
          </p:nvPr>
        </p:nvSpPr>
        <p:spPr/>
        <p:txBody>
          <a:bodyPr/>
          <a:lstStyle/>
          <a:p>
            <a:fld id="{EA182149-5FEE-46AB-9490-B3CD4011A729}" type="slidenum">
              <a:rPr lang="en-GB" smtClean="0"/>
              <a:pPr/>
              <a:t>13</a:t>
            </a:fld>
            <a:endParaRPr lang="en-GB" dirty="0"/>
          </a:p>
        </p:txBody>
      </p:sp>
      <p:sp>
        <p:nvSpPr>
          <p:cNvPr id="7" name="Title 1">
            <a:extLst>
              <a:ext uri="{FF2B5EF4-FFF2-40B4-BE49-F238E27FC236}">
                <a16:creationId xmlns:a16="http://schemas.microsoft.com/office/drawing/2014/main" id="{281CA35F-0041-4FE7-9B5D-055290BD1955}"/>
              </a:ext>
            </a:extLst>
          </p:cNvPr>
          <p:cNvSpPr txBox="1">
            <a:spLocks/>
          </p:cNvSpPr>
          <p:nvPr/>
        </p:nvSpPr>
        <p:spPr>
          <a:xfrm>
            <a:off x="223536" y="1423070"/>
            <a:ext cx="11301413" cy="354013"/>
          </a:xfrm>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pPr>
              <a:buClr>
                <a:schemeClr val="accent6">
                  <a:lumMod val="60000"/>
                  <a:lumOff val="40000"/>
                </a:schemeClr>
              </a:buClr>
            </a:pPr>
            <a:r>
              <a:rPr lang="lt-LT" sz="2400" dirty="0">
                <a:solidFill>
                  <a:schemeClr val="accent3">
                    <a:lumMod val="75000"/>
                  </a:schemeClr>
                </a:solidFill>
              </a:rPr>
              <a:t>Finansų ir apskaitos paslaugų centras </a:t>
            </a:r>
            <a:r>
              <a:rPr lang="en-GB" sz="2400" dirty="0"/>
              <a:t>| </a:t>
            </a:r>
            <a:r>
              <a:rPr lang="lt-LT" sz="2400" dirty="0">
                <a:solidFill>
                  <a:schemeClr val="accent6">
                    <a:lumMod val="60000"/>
                    <a:lumOff val="40000"/>
                  </a:schemeClr>
                </a:solidFill>
              </a:rPr>
              <a:t>Paslaugų transformacija</a:t>
            </a:r>
            <a:br>
              <a:rPr lang="lt-LT" sz="2400" dirty="0">
                <a:solidFill>
                  <a:schemeClr val="accent3">
                    <a:lumMod val="75000"/>
                  </a:schemeClr>
                </a:solidFill>
              </a:rPr>
            </a:br>
            <a:endParaRPr lang="lt-LT" sz="2400" dirty="0">
              <a:solidFill>
                <a:schemeClr val="accent3">
                  <a:lumMod val="75000"/>
                </a:schemeClr>
              </a:solidFill>
            </a:endParaRPr>
          </a:p>
        </p:txBody>
      </p:sp>
      <p:sp>
        <p:nvSpPr>
          <p:cNvPr id="4" name="Content Placeholder 3">
            <a:extLst>
              <a:ext uri="{FF2B5EF4-FFF2-40B4-BE49-F238E27FC236}">
                <a16:creationId xmlns:a16="http://schemas.microsoft.com/office/drawing/2014/main" id="{CF9A2F3E-CEDB-4156-BB2E-5A5F4863AA1C}"/>
              </a:ext>
            </a:extLst>
          </p:cNvPr>
          <p:cNvSpPr>
            <a:spLocks noGrp="1"/>
          </p:cNvSpPr>
          <p:nvPr>
            <p:ph sz="quarter" idx="15"/>
          </p:nvPr>
        </p:nvSpPr>
        <p:spPr/>
        <p:txBody>
          <a:bodyPr/>
          <a:lstStyle/>
          <a:p>
            <a:pPr lvl="0"/>
            <a:endParaRPr lang="lt-LT" dirty="0"/>
          </a:p>
          <a:p>
            <a:pPr lvl="0"/>
            <a:endParaRPr lang="lt-LT" dirty="0"/>
          </a:p>
          <a:p>
            <a:pPr lvl="0"/>
            <a:endParaRPr lang="lt-LT" dirty="0"/>
          </a:p>
          <a:p>
            <a:endParaRPr lang="en-US" dirty="0"/>
          </a:p>
        </p:txBody>
      </p:sp>
      <p:graphicFrame>
        <p:nvGraphicFramePr>
          <p:cNvPr id="8" name="Diagram 7">
            <a:extLst>
              <a:ext uri="{FF2B5EF4-FFF2-40B4-BE49-F238E27FC236}">
                <a16:creationId xmlns:a16="http://schemas.microsoft.com/office/drawing/2014/main" id="{820CF93E-5D7E-4191-B8E6-1B7A2B8213C2}"/>
              </a:ext>
            </a:extLst>
          </p:cNvPr>
          <p:cNvGraphicFramePr/>
          <p:nvPr>
            <p:extLst>
              <p:ext uri="{D42A27DB-BD31-4B8C-83A1-F6EECF244321}">
                <p14:modId xmlns:p14="http://schemas.microsoft.com/office/powerpoint/2010/main" val="4104272088"/>
              </p:ext>
            </p:extLst>
          </p:nvPr>
        </p:nvGraphicFramePr>
        <p:xfrm>
          <a:off x="941140" y="3026075"/>
          <a:ext cx="9217024" cy="259228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Graphic 5" descr="Question Mark with solid fill">
            <a:extLst>
              <a:ext uri="{FF2B5EF4-FFF2-40B4-BE49-F238E27FC236}">
                <a16:creationId xmlns:a16="http://schemas.microsoft.com/office/drawing/2014/main" id="{13C85C77-410B-473A-84AC-B78FE919718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57964" y="4043463"/>
            <a:ext cx="914400" cy="914400"/>
          </a:xfrm>
          <a:prstGeom prst="rect">
            <a:avLst/>
          </a:prstGeom>
        </p:spPr>
      </p:pic>
      <p:sp>
        <p:nvSpPr>
          <p:cNvPr id="9" name="Text Placeholder 8">
            <a:extLst>
              <a:ext uri="{FF2B5EF4-FFF2-40B4-BE49-F238E27FC236}">
                <a16:creationId xmlns:a16="http://schemas.microsoft.com/office/drawing/2014/main" id="{0F5DB2ED-74C7-4A49-BA5B-063FF4A6ECF8}"/>
              </a:ext>
            </a:extLst>
          </p:cNvPr>
          <p:cNvSpPr>
            <a:spLocks noGrp="1"/>
          </p:cNvSpPr>
          <p:nvPr>
            <p:ph type="body" sz="quarter" idx="12"/>
          </p:nvPr>
        </p:nvSpPr>
        <p:spPr/>
        <p:txBody>
          <a:bodyPr/>
          <a:lstStyle/>
          <a:p>
            <a:r>
              <a:rPr lang="lt-LT" dirty="0"/>
              <a:t> </a:t>
            </a:r>
            <a:endParaRPr lang="en-US" dirty="0"/>
          </a:p>
        </p:txBody>
      </p:sp>
    </p:spTree>
    <p:extLst>
      <p:ext uri="{BB962C8B-B14F-4D97-AF65-F5344CB8AC3E}">
        <p14:creationId xmlns:p14="http://schemas.microsoft.com/office/powerpoint/2010/main" val="21693188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A956111-9FA5-4106-92EB-414CCA056F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59" imgH="358" progId="TCLayout.ActiveDocument.1">
                  <p:embed/>
                </p:oleObj>
              </mc:Choice>
              <mc:Fallback>
                <p:oleObj name="think-cell Slide" r:id="rId35" imgW="359" imgH="358" progId="TCLayout.ActiveDocument.1">
                  <p:embed/>
                  <p:pic>
                    <p:nvPicPr>
                      <p:cNvPr id="10" name="Object 9" hidden="1">
                        <a:extLst>
                          <a:ext uri="{FF2B5EF4-FFF2-40B4-BE49-F238E27FC236}">
                            <a16:creationId xmlns:a16="http://schemas.microsoft.com/office/drawing/2014/main" id="{BA956111-9FA5-4106-92EB-414CCA056F66}"/>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cxnSp>
        <p:nvCxnSpPr>
          <p:cNvPr id="169" name="Straight Connector 168">
            <a:extLst>
              <a:ext uri="{FF2B5EF4-FFF2-40B4-BE49-F238E27FC236}">
                <a16:creationId xmlns:a16="http://schemas.microsoft.com/office/drawing/2014/main" id="{F5CE5317-EDC9-47AB-8447-10882E52EF1A}"/>
              </a:ext>
            </a:extLst>
          </p:cNvPr>
          <p:cNvCxnSpPr>
            <a:cxnSpLocks/>
          </p:cNvCxnSpPr>
          <p:nvPr/>
        </p:nvCxnSpPr>
        <p:spPr>
          <a:xfrm>
            <a:off x="9412598" y="3683067"/>
            <a:ext cx="5493" cy="848334"/>
          </a:xfrm>
          <a:prstGeom prst="line">
            <a:avLst/>
          </a:prstGeom>
          <a:ln w="12700">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sp>
        <p:nvSpPr>
          <p:cNvPr id="9" name="Rectangle 8" hidden="1">
            <a:extLst>
              <a:ext uri="{FF2B5EF4-FFF2-40B4-BE49-F238E27FC236}">
                <a16:creationId xmlns:a16="http://schemas.microsoft.com/office/drawing/2014/main" id="{418084FA-1F52-424C-BF17-DDECDDECFD97}"/>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100" b="1" u="none" strike="noStrike" kern="1200" cap="none" spc="0" normalizeH="0" noProof="0" dirty="0">
              <a:ln>
                <a:noFill/>
              </a:ln>
              <a:solidFill>
                <a:srgbClr val="FFFFFF"/>
              </a:solidFill>
              <a:effectLst/>
              <a:uLnTx/>
              <a:uFillTx/>
              <a:latin typeface="MetaPlusLF" panose="02000503060000020004" pitchFamily="2" charset="-70"/>
              <a:sym typeface="MetaPlusLF" panose="02000503060000020004" pitchFamily="2" charset="-70"/>
            </a:endParaRPr>
          </a:p>
        </p:txBody>
      </p:sp>
      <p:cxnSp>
        <p:nvCxnSpPr>
          <p:cNvPr id="92" name="Straight Connector 91">
            <a:extLst>
              <a:ext uri="{FF2B5EF4-FFF2-40B4-BE49-F238E27FC236}">
                <a16:creationId xmlns:a16="http://schemas.microsoft.com/office/drawing/2014/main" id="{43D4927B-FD41-457A-AFD2-1D3B1888C478}"/>
              </a:ext>
            </a:extLst>
          </p:cNvPr>
          <p:cNvCxnSpPr>
            <a:cxnSpLocks/>
          </p:cNvCxnSpPr>
          <p:nvPr/>
        </p:nvCxnSpPr>
        <p:spPr>
          <a:xfrm>
            <a:off x="3248058" y="3676637"/>
            <a:ext cx="0" cy="415969"/>
          </a:xfrm>
          <a:prstGeom prst="line">
            <a:avLst/>
          </a:prstGeom>
          <a:ln w="12700">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04FA5FD-3AE3-4D09-A9CC-9102A4B63E30}"/>
              </a:ext>
            </a:extLst>
          </p:cNvPr>
          <p:cNvCxnSpPr>
            <a:cxnSpLocks/>
          </p:cNvCxnSpPr>
          <p:nvPr/>
        </p:nvCxnSpPr>
        <p:spPr>
          <a:xfrm>
            <a:off x="1178339" y="3676852"/>
            <a:ext cx="0" cy="379752"/>
          </a:xfrm>
          <a:prstGeom prst="line">
            <a:avLst/>
          </a:prstGeom>
          <a:ln w="12700">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85DFB927-D003-4A6B-B162-D246253746B3}"/>
              </a:ext>
            </a:extLst>
          </p:cNvPr>
          <p:cNvCxnSpPr>
            <a:cxnSpLocks/>
            <a:endCxn id="74" idx="0"/>
          </p:cNvCxnSpPr>
          <p:nvPr/>
        </p:nvCxnSpPr>
        <p:spPr>
          <a:xfrm>
            <a:off x="3247680" y="4110361"/>
            <a:ext cx="0" cy="442276"/>
          </a:xfrm>
          <a:prstGeom prst="line">
            <a:avLst/>
          </a:prstGeom>
          <a:ln w="12700">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99BBB137-6571-41E6-B379-501C206983CF}"/>
              </a:ext>
            </a:extLst>
          </p:cNvPr>
          <p:cNvCxnSpPr>
            <a:cxnSpLocks/>
          </p:cNvCxnSpPr>
          <p:nvPr/>
        </p:nvCxnSpPr>
        <p:spPr>
          <a:xfrm>
            <a:off x="7353300" y="3686175"/>
            <a:ext cx="5493" cy="848334"/>
          </a:xfrm>
          <a:prstGeom prst="line">
            <a:avLst/>
          </a:prstGeom>
          <a:ln w="12700">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819877B-78D5-4E6B-8D7B-0689351ECAC3}"/>
              </a:ext>
            </a:extLst>
          </p:cNvPr>
          <p:cNvCxnSpPr>
            <a:cxnSpLocks/>
            <a:stCxn id="26" idx="4"/>
            <a:endCxn id="78" idx="0"/>
          </p:cNvCxnSpPr>
          <p:nvPr/>
        </p:nvCxnSpPr>
        <p:spPr>
          <a:xfrm flipH="1">
            <a:off x="5282343" y="3655471"/>
            <a:ext cx="14405" cy="898088"/>
          </a:xfrm>
          <a:prstGeom prst="line">
            <a:avLst/>
          </a:prstGeom>
          <a:ln w="12700">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a:spLocks noChangeAspect="1"/>
          </p:cNvSpPr>
          <p:nvPr/>
        </p:nvSpPr>
        <p:spPr>
          <a:xfrm>
            <a:off x="644568" y="2573704"/>
            <a:ext cx="1085679" cy="1085679"/>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2" name="Group 21"/>
          <p:cNvGrpSpPr>
            <a:grpSpLocks noChangeAspect="1"/>
          </p:cNvGrpSpPr>
          <p:nvPr/>
        </p:nvGrpSpPr>
        <p:grpSpPr>
          <a:xfrm>
            <a:off x="2678585" y="2573202"/>
            <a:ext cx="1085679" cy="1085679"/>
            <a:chOff x="1115911" y="2879929"/>
            <a:chExt cx="1338773" cy="1338773"/>
          </a:xfrm>
        </p:grpSpPr>
        <p:sp>
          <p:nvSpPr>
            <p:cNvPr id="23" name="Oval 22"/>
            <p:cNvSpPr>
              <a:spLocks noChangeAspect="1"/>
            </p:cNvSpPr>
            <p:nvPr/>
          </p:nvSpPr>
          <p:spPr>
            <a:xfrm>
              <a:off x="1115911" y="2879929"/>
              <a:ext cx="1338773" cy="1338773"/>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Oval 23"/>
            <p:cNvSpPr>
              <a:spLocks noChangeAspect="1"/>
            </p:cNvSpPr>
            <p:nvPr/>
          </p:nvSpPr>
          <p:spPr>
            <a:xfrm>
              <a:off x="1232085" y="2996103"/>
              <a:ext cx="1106424" cy="1106424"/>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5" name="Group 24"/>
          <p:cNvGrpSpPr>
            <a:grpSpLocks noChangeAspect="1"/>
          </p:cNvGrpSpPr>
          <p:nvPr/>
        </p:nvGrpSpPr>
        <p:grpSpPr>
          <a:xfrm>
            <a:off x="4753908" y="2569792"/>
            <a:ext cx="1085679" cy="1085679"/>
            <a:chOff x="1115911" y="2879929"/>
            <a:chExt cx="1338773" cy="1338773"/>
          </a:xfrm>
        </p:grpSpPr>
        <p:sp>
          <p:nvSpPr>
            <p:cNvPr id="26" name="Oval 25"/>
            <p:cNvSpPr>
              <a:spLocks noChangeAspect="1"/>
            </p:cNvSpPr>
            <p:nvPr/>
          </p:nvSpPr>
          <p:spPr>
            <a:xfrm>
              <a:off x="1115911" y="2879929"/>
              <a:ext cx="1338773" cy="1338773"/>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Oval 26"/>
            <p:cNvSpPr>
              <a:spLocks noChangeAspect="1"/>
            </p:cNvSpPr>
            <p:nvPr/>
          </p:nvSpPr>
          <p:spPr>
            <a:xfrm>
              <a:off x="1232085" y="2996103"/>
              <a:ext cx="1106424" cy="1106424"/>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8" name="Group 27"/>
          <p:cNvGrpSpPr>
            <a:grpSpLocks noChangeAspect="1"/>
          </p:cNvGrpSpPr>
          <p:nvPr/>
        </p:nvGrpSpPr>
        <p:grpSpPr>
          <a:xfrm>
            <a:off x="6814675" y="2569794"/>
            <a:ext cx="1085679" cy="1085679"/>
            <a:chOff x="1115911" y="2879929"/>
            <a:chExt cx="1338773" cy="1338773"/>
          </a:xfrm>
        </p:grpSpPr>
        <p:sp>
          <p:nvSpPr>
            <p:cNvPr id="29" name="Oval 28"/>
            <p:cNvSpPr>
              <a:spLocks noChangeAspect="1"/>
            </p:cNvSpPr>
            <p:nvPr/>
          </p:nvSpPr>
          <p:spPr>
            <a:xfrm>
              <a:off x="1115911" y="2879929"/>
              <a:ext cx="1338773" cy="1338773"/>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Oval 29"/>
            <p:cNvSpPr>
              <a:spLocks noChangeAspect="1"/>
            </p:cNvSpPr>
            <p:nvPr/>
          </p:nvSpPr>
          <p:spPr>
            <a:xfrm>
              <a:off x="1232085" y="2996103"/>
              <a:ext cx="1106424" cy="1106424"/>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1" name="Group 30"/>
          <p:cNvGrpSpPr>
            <a:grpSpLocks noChangeAspect="1"/>
          </p:cNvGrpSpPr>
          <p:nvPr/>
        </p:nvGrpSpPr>
        <p:grpSpPr>
          <a:xfrm>
            <a:off x="8875137" y="2559654"/>
            <a:ext cx="1085679" cy="1085679"/>
            <a:chOff x="1115911" y="2879929"/>
            <a:chExt cx="1338773" cy="1338773"/>
          </a:xfrm>
        </p:grpSpPr>
        <p:sp>
          <p:nvSpPr>
            <p:cNvPr id="32" name="Oval 31"/>
            <p:cNvSpPr>
              <a:spLocks noChangeAspect="1"/>
            </p:cNvSpPr>
            <p:nvPr/>
          </p:nvSpPr>
          <p:spPr>
            <a:xfrm>
              <a:off x="1115911" y="2879929"/>
              <a:ext cx="1338773" cy="1338773"/>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Oval 32"/>
            <p:cNvSpPr>
              <a:spLocks noChangeAspect="1"/>
            </p:cNvSpPr>
            <p:nvPr/>
          </p:nvSpPr>
          <p:spPr>
            <a:xfrm>
              <a:off x="1232085" y="2996103"/>
              <a:ext cx="1106424" cy="1106424"/>
            </a:xfrm>
            <a:prstGeom prst="ellipse">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5" name="Oval 34"/>
          <p:cNvSpPr>
            <a:spLocks noChangeAspect="1"/>
          </p:cNvSpPr>
          <p:nvPr/>
        </p:nvSpPr>
        <p:spPr>
          <a:xfrm>
            <a:off x="634312" y="4538903"/>
            <a:ext cx="1085679" cy="1085679"/>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TextBox 20"/>
          <p:cNvSpPr txBox="1"/>
          <p:nvPr/>
        </p:nvSpPr>
        <p:spPr>
          <a:xfrm>
            <a:off x="1422159" y="3318165"/>
            <a:ext cx="986679" cy="498598"/>
          </a:xfrm>
          <a:prstGeom prst="rect">
            <a:avLst/>
          </a:prstGeom>
          <a:noFill/>
        </p:spPr>
        <p:txBody>
          <a:bodyPr wrap="square" rtlCol="0">
            <a:spAutoFit/>
          </a:bodyPr>
          <a:lstStyle/>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en-GB" sz="1200" b="1" i="0" u="none" strike="noStrike" kern="1200" cap="none" spc="0" normalizeH="0" baseline="0" noProof="0" dirty="0">
                <a:ln>
                  <a:noFill/>
                </a:ln>
                <a:solidFill>
                  <a:srgbClr val="0091DC"/>
                </a:solidFill>
                <a:effectLst/>
                <a:uLnTx/>
                <a:uFillTx/>
                <a:latin typeface="MetaPlusLF" panose="02000503060000020004" pitchFamily="2" charset="-70"/>
              </a:rPr>
              <a:t>19</a:t>
            </a:r>
            <a:r>
              <a:rPr kumimoji="0" lang="lt-LT" sz="1200" b="1" i="0" u="none" strike="noStrike" kern="1200" cap="none" spc="0" normalizeH="0" baseline="0" noProof="0" dirty="0">
                <a:ln>
                  <a:noFill/>
                </a:ln>
                <a:solidFill>
                  <a:srgbClr val="0091DC"/>
                </a:solidFill>
                <a:effectLst/>
                <a:uLnTx/>
                <a:uFillTx/>
                <a:latin typeface="MetaPlusLF" panose="02000503060000020004" pitchFamily="2" charset="-70"/>
              </a:rPr>
              <a:t>92</a:t>
            </a:r>
            <a:r>
              <a:rPr kumimoji="0" lang="en-GB" sz="1200" b="1" i="0" u="none" strike="noStrike" kern="1200" cap="none" spc="0" normalizeH="0" baseline="0" noProof="0" dirty="0">
                <a:ln>
                  <a:noFill/>
                </a:ln>
                <a:solidFill>
                  <a:srgbClr val="0091DC"/>
                </a:solidFill>
                <a:effectLst/>
                <a:uLnTx/>
                <a:uFillTx/>
                <a:latin typeface="MetaPlusLF" panose="02000503060000020004" pitchFamily="2" charset="-70"/>
              </a:rPr>
              <a:t> </a:t>
            </a:r>
          </a:p>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MetaPlusLF" panose="02000503060000020004" pitchFamily="2" charset="-70"/>
              </a:rPr>
              <a:t>F-LT</a:t>
            </a:r>
            <a:endParaRPr kumimoji="0" lang="en-GB" sz="1200" b="1" i="0" u="none" strike="noStrike" kern="1200" cap="none" spc="0" normalizeH="0" baseline="0" noProof="0" dirty="0">
              <a:ln>
                <a:noFill/>
              </a:ln>
              <a:solidFill>
                <a:srgbClr val="000000"/>
              </a:solidFill>
              <a:effectLst/>
              <a:uLnTx/>
              <a:uFillTx/>
              <a:latin typeface="MetaPlusLF" panose="02000503060000020004" pitchFamily="2" charset="-70"/>
            </a:endParaRPr>
          </a:p>
        </p:txBody>
      </p:sp>
      <p:sp>
        <p:nvSpPr>
          <p:cNvPr id="38" name="TextBox 37"/>
          <p:cNvSpPr txBox="1"/>
          <p:nvPr/>
        </p:nvSpPr>
        <p:spPr>
          <a:xfrm>
            <a:off x="3061967" y="3333135"/>
            <a:ext cx="1798246" cy="498598"/>
          </a:xfrm>
          <a:prstGeom prst="rect">
            <a:avLst/>
          </a:prstGeom>
          <a:noFill/>
        </p:spPr>
        <p:txBody>
          <a:bodyPr wrap="square" rtlCol="0">
            <a:spAutoFit/>
          </a:bodyPr>
          <a:lstStyle/>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200" b="1" i="0" u="none" strike="noStrike" kern="1200" cap="none" spc="0" normalizeH="0" baseline="0" noProof="0" dirty="0">
                <a:ln>
                  <a:noFill/>
                </a:ln>
                <a:solidFill>
                  <a:srgbClr val="0091DC"/>
                </a:solidFill>
                <a:effectLst/>
                <a:uLnTx/>
                <a:uFillTx/>
                <a:latin typeface="MetaPlusLF"/>
                <a:ea typeface="+mn-ea"/>
              </a:rPr>
              <a:t>2006</a:t>
            </a:r>
            <a:r>
              <a:rPr kumimoji="0" lang="en-GB" sz="1200" b="1" i="0" u="none" strike="noStrike" kern="1200" cap="none" spc="0" normalizeH="0" baseline="0" noProof="0" dirty="0">
                <a:ln>
                  <a:noFill/>
                </a:ln>
                <a:solidFill>
                  <a:srgbClr val="0091DC"/>
                </a:solidFill>
                <a:effectLst/>
                <a:uLnTx/>
                <a:uFillTx/>
                <a:latin typeface="MetaPlusLF"/>
                <a:ea typeface="+mn-ea"/>
              </a:rPr>
              <a:t> </a:t>
            </a:r>
          </a:p>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200" b="0" i="0" u="none" strike="noStrike" kern="1200" cap="none" spc="0" normalizeH="0" baseline="0" noProof="0" dirty="0">
                <a:ln>
                  <a:noFill/>
                </a:ln>
                <a:solidFill>
                  <a:srgbClr val="000000"/>
                </a:solidFill>
                <a:effectLst/>
                <a:uLnTx/>
                <a:uFillTx/>
                <a:latin typeface="MetaPlusLF"/>
                <a:ea typeface="Verdana" panose="020B0604030504040204" pitchFamily="34" charset="0"/>
                <a:cs typeface="Verdana" panose="020B0604030504040204" pitchFamily="34" charset="0"/>
              </a:rPr>
              <a:t>DPC </a:t>
            </a:r>
            <a:r>
              <a:rPr lang="en-US" sz="1200" dirty="0" err="1">
                <a:solidFill>
                  <a:srgbClr val="000000"/>
                </a:solidFill>
                <a:latin typeface="MetaPlusLF"/>
                <a:ea typeface="Verdana" panose="020B0604030504040204" pitchFamily="34" charset="0"/>
                <a:cs typeface="Verdana" panose="020B0604030504040204" pitchFamily="34" charset="0"/>
              </a:rPr>
              <a:t>ir</a:t>
            </a:r>
            <a:r>
              <a:rPr lang="en-US" sz="1200" dirty="0">
                <a:solidFill>
                  <a:srgbClr val="000000"/>
                </a:solidFill>
                <a:latin typeface="MetaPlusLF"/>
                <a:ea typeface="Verdana" panose="020B0604030504040204" pitchFamily="34" charset="0"/>
                <a:cs typeface="Verdana" panose="020B0604030504040204" pitchFamily="34" charset="0"/>
              </a:rPr>
              <a:t> </a:t>
            </a:r>
            <a:r>
              <a:rPr kumimoji="0" lang="lt-LT" sz="1200" b="0" i="0" u="none" strike="noStrike" kern="1200" cap="none" spc="0" normalizeH="0" baseline="0" noProof="0" dirty="0">
                <a:ln>
                  <a:noFill/>
                </a:ln>
                <a:solidFill>
                  <a:srgbClr val="000000"/>
                </a:solidFill>
                <a:effectLst/>
                <a:uLnTx/>
                <a:uFillTx/>
                <a:latin typeface="MetaPlusLF"/>
                <a:ea typeface="Verdana" panose="020B0604030504040204" pitchFamily="34" charset="0"/>
                <a:cs typeface="Verdana" panose="020B0604030504040204" pitchFamily="34" charset="0"/>
              </a:rPr>
              <a:t> IT</a:t>
            </a:r>
            <a:endParaRPr kumimoji="0" lang="en-GB" sz="1200" b="0" i="0" u="none" strike="noStrike" kern="1200" cap="none" spc="0" normalizeH="0" baseline="0" noProof="0" dirty="0">
              <a:ln>
                <a:noFill/>
              </a:ln>
              <a:solidFill>
                <a:srgbClr val="000000"/>
              </a:solidFill>
              <a:effectLst/>
              <a:uLnTx/>
              <a:uFillTx/>
              <a:latin typeface="MetaPlusLF"/>
              <a:ea typeface="+mn-ea"/>
            </a:endParaRPr>
          </a:p>
        </p:txBody>
      </p:sp>
      <p:sp>
        <p:nvSpPr>
          <p:cNvPr id="39" name="TextBox 38"/>
          <p:cNvSpPr txBox="1"/>
          <p:nvPr/>
        </p:nvSpPr>
        <p:spPr>
          <a:xfrm>
            <a:off x="5286806" y="3392603"/>
            <a:ext cx="1849049"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lt-LT" sz="1200" b="1" i="0" u="none" strike="noStrike" kern="1200" cap="none" spc="0" normalizeH="0" baseline="0" noProof="0" dirty="0">
                <a:ln>
                  <a:noFill/>
                </a:ln>
                <a:solidFill>
                  <a:srgbClr val="0091DC"/>
                </a:solidFill>
                <a:effectLst/>
                <a:uLnTx/>
                <a:uFillTx/>
                <a:latin typeface="MetaPlusLF"/>
                <a:ea typeface="+mn-ea"/>
              </a:rPr>
              <a:t>2013</a:t>
            </a:r>
            <a:r>
              <a:rPr kumimoji="0" lang="en-GB" sz="1200" b="1" i="0" u="none" strike="noStrike" kern="1200" cap="none" spc="0" normalizeH="0" baseline="0" noProof="0" dirty="0">
                <a:ln>
                  <a:noFill/>
                </a:ln>
                <a:solidFill>
                  <a:srgbClr val="0091DC"/>
                </a:solidFill>
                <a:effectLst/>
                <a:uLnTx/>
                <a:uFillTx/>
                <a:latin typeface="MetaPlusLF"/>
                <a:ea typeface="+mn-ea"/>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MetaPlusLF" charset="0"/>
                <a:ea typeface="+mn-ea"/>
              </a:rPr>
              <a:t>Kitos</a:t>
            </a:r>
            <a:r>
              <a:rPr kumimoji="0" lang="en-US" sz="1200" b="0" i="0" u="none" strike="noStrike" kern="1200" cap="none" spc="0" normalizeH="0" baseline="0" noProof="0" dirty="0">
                <a:ln>
                  <a:noFill/>
                </a:ln>
                <a:solidFill>
                  <a:srgbClr val="000000"/>
                </a:solidFill>
                <a:effectLst/>
                <a:uLnTx/>
                <a:uFillTx/>
                <a:latin typeface="MetaPlusLF" charset="0"/>
                <a:ea typeface="+mn-ea"/>
              </a:rPr>
              <a:t> </a:t>
            </a:r>
            <a:r>
              <a:rPr kumimoji="0" lang="en-US" sz="1200" b="0" i="0" u="none" strike="noStrike" kern="1200" cap="none" spc="0" normalizeH="0" baseline="0" noProof="0" dirty="0" err="1">
                <a:ln>
                  <a:noFill/>
                </a:ln>
                <a:solidFill>
                  <a:srgbClr val="000000"/>
                </a:solidFill>
                <a:effectLst/>
                <a:uLnTx/>
                <a:uFillTx/>
                <a:latin typeface="MetaPlusLF" charset="0"/>
                <a:ea typeface="+mn-ea"/>
              </a:rPr>
              <a:t>pardavim</a:t>
            </a:r>
            <a:r>
              <a:rPr kumimoji="0" lang="lt-LT" sz="1200" b="0" i="0" u="none" strike="noStrike" kern="1200" cap="none" spc="0" normalizeH="0" baseline="0" noProof="0" dirty="0">
                <a:ln>
                  <a:noFill/>
                </a:ln>
                <a:solidFill>
                  <a:srgbClr val="000000"/>
                </a:solidFill>
                <a:effectLst/>
                <a:uLnTx/>
                <a:uFillTx/>
                <a:latin typeface="MetaPlusLF" charset="0"/>
                <a:ea typeface="+mn-ea"/>
              </a:rPr>
              <a:t>ų funkcijos</a:t>
            </a:r>
            <a:endParaRPr kumimoji="0" lang="en-US" sz="1200" b="0" i="0" u="none" strike="noStrike" kern="1200" cap="none" spc="0" normalizeH="0" baseline="0" noProof="0" dirty="0">
              <a:ln>
                <a:noFill/>
              </a:ln>
              <a:solidFill>
                <a:srgbClr val="000000"/>
              </a:solidFill>
              <a:effectLst/>
              <a:uLnTx/>
              <a:uFillTx/>
              <a:latin typeface="MetaPlusLF" charset="0"/>
              <a:ea typeface="+mn-ea"/>
            </a:endParaRPr>
          </a:p>
        </p:txBody>
      </p:sp>
      <p:sp>
        <p:nvSpPr>
          <p:cNvPr id="40" name="TextBox 39"/>
          <p:cNvSpPr txBox="1"/>
          <p:nvPr/>
        </p:nvSpPr>
        <p:spPr>
          <a:xfrm>
            <a:off x="7825356" y="3378338"/>
            <a:ext cx="1142410" cy="498598"/>
          </a:xfrm>
          <a:prstGeom prst="rect">
            <a:avLst/>
          </a:prstGeom>
          <a:noFill/>
          <a:ln w="38100">
            <a:noFill/>
          </a:ln>
        </p:spPr>
        <p:txBody>
          <a:bodyPr wrap="square" rtlCol="0">
            <a:spAutoFit/>
          </a:bodyPr>
          <a:lstStyle/>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200" b="1" i="0" u="none" strike="noStrike" kern="1200" cap="none" spc="0" normalizeH="0" baseline="0" noProof="0" dirty="0">
                <a:ln>
                  <a:noFill/>
                </a:ln>
                <a:solidFill>
                  <a:srgbClr val="0091DC"/>
                </a:solidFill>
                <a:effectLst/>
                <a:uLnTx/>
                <a:uFillTx/>
                <a:latin typeface="MetaPlusLF"/>
                <a:ea typeface="+mn-ea"/>
              </a:rPr>
              <a:t>2017</a:t>
            </a:r>
            <a:r>
              <a:rPr kumimoji="0" lang="en-GB" sz="1200" b="1" i="0" u="none" strike="noStrike" kern="1200" cap="none" spc="0" normalizeH="0" baseline="0" noProof="0" dirty="0">
                <a:ln>
                  <a:noFill/>
                </a:ln>
                <a:solidFill>
                  <a:srgbClr val="0091DC"/>
                </a:solidFill>
                <a:effectLst/>
                <a:uLnTx/>
                <a:uFillTx/>
                <a:latin typeface="MetaPlusLF"/>
                <a:ea typeface="+mn-ea"/>
              </a:rPr>
              <a:t> </a:t>
            </a:r>
          </a:p>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200" b="0" i="0" u="none" strike="noStrike" kern="1200" cap="none" spc="0" normalizeH="0" baseline="0" noProof="0" dirty="0">
                <a:ln>
                  <a:noFill/>
                </a:ln>
                <a:solidFill>
                  <a:srgbClr val="000000"/>
                </a:solidFill>
                <a:effectLst/>
                <a:uLnTx/>
                <a:uFillTx/>
                <a:latin typeface="MetaPlusLF"/>
                <a:ea typeface="+mn-ea"/>
              </a:rPr>
              <a:t>SSC Finance</a:t>
            </a:r>
            <a:endParaRPr kumimoji="0" lang="en-GB" sz="1200" b="0" i="0" u="none" strike="noStrike" kern="1200" cap="none" spc="0" normalizeH="0" baseline="0" noProof="0" dirty="0">
              <a:ln>
                <a:noFill/>
              </a:ln>
              <a:solidFill>
                <a:srgbClr val="000000"/>
              </a:solidFill>
              <a:effectLst/>
              <a:uLnTx/>
              <a:uFillTx/>
              <a:latin typeface="MetaPlusLF"/>
              <a:ea typeface="+mn-ea"/>
            </a:endParaRPr>
          </a:p>
        </p:txBody>
      </p:sp>
      <p:sp>
        <p:nvSpPr>
          <p:cNvPr id="41" name="TextBox 40"/>
          <p:cNvSpPr txBox="1"/>
          <p:nvPr/>
        </p:nvSpPr>
        <p:spPr>
          <a:xfrm>
            <a:off x="9465940" y="3321000"/>
            <a:ext cx="2065538" cy="680186"/>
          </a:xfrm>
          <a:prstGeom prst="rect">
            <a:avLst/>
          </a:prstGeom>
          <a:noFill/>
        </p:spPr>
        <p:txBody>
          <a:bodyPr wrap="square" rtlCol="0">
            <a:spAutoFit/>
          </a:bodyPr>
          <a:lstStyle/>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200" b="1" i="0" u="none" strike="noStrike" kern="1200" cap="none" spc="0" normalizeH="0" baseline="0" noProof="0" dirty="0">
                <a:ln>
                  <a:noFill/>
                </a:ln>
                <a:solidFill>
                  <a:srgbClr val="0091DC"/>
                </a:solidFill>
                <a:effectLst/>
                <a:uLnTx/>
                <a:uFillTx/>
                <a:latin typeface="MetaPlusLF"/>
                <a:ea typeface="+mn-ea"/>
              </a:rPr>
              <a:t>2019</a:t>
            </a:r>
            <a:r>
              <a:rPr kumimoji="0" lang="en-GB" sz="1200" b="1" i="0" u="none" strike="noStrike" kern="1200" cap="none" spc="0" normalizeH="0" baseline="0" noProof="0" dirty="0">
                <a:ln>
                  <a:noFill/>
                </a:ln>
                <a:solidFill>
                  <a:srgbClr val="0091DC"/>
                </a:solidFill>
                <a:effectLst/>
                <a:uLnTx/>
                <a:uFillTx/>
                <a:latin typeface="MetaPlusLF"/>
                <a:ea typeface="+mn-ea"/>
              </a:rPr>
              <a:t> </a:t>
            </a:r>
          </a:p>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200" b="0" i="0" u="none" strike="noStrike" kern="1200" cap="none" spc="0" normalizeH="0" baseline="0" noProof="0" dirty="0">
                <a:ln>
                  <a:noFill/>
                </a:ln>
                <a:solidFill>
                  <a:srgbClr val="000000"/>
                </a:solidFill>
                <a:effectLst/>
                <a:uLnTx/>
                <a:uFillTx/>
                <a:latin typeface="MetaPlusLF"/>
                <a:ea typeface="+mn-ea"/>
              </a:rPr>
              <a:t>5 Skyriai ir virš 450 darbuotojų SSC Kaunas</a:t>
            </a:r>
            <a:endParaRPr kumimoji="0" lang="en-GB" sz="1200" b="0" i="0" u="none" strike="noStrike" kern="1200" cap="none" spc="0" normalizeH="0" baseline="0" noProof="0" dirty="0">
              <a:ln>
                <a:noFill/>
              </a:ln>
              <a:solidFill>
                <a:srgbClr val="000000"/>
              </a:solidFill>
              <a:effectLst/>
              <a:uLnTx/>
              <a:uFillTx/>
              <a:latin typeface="MetaPlusLF"/>
              <a:ea typeface="+mn-ea"/>
            </a:endParaRPr>
          </a:p>
        </p:txBody>
      </p:sp>
      <p:sp>
        <p:nvSpPr>
          <p:cNvPr id="42" name="TextBox 41"/>
          <p:cNvSpPr txBox="1"/>
          <p:nvPr/>
        </p:nvSpPr>
        <p:spPr>
          <a:xfrm>
            <a:off x="886900" y="5367304"/>
            <a:ext cx="1997064" cy="683264"/>
          </a:xfrm>
          <a:prstGeom prst="rect">
            <a:avLst/>
          </a:prstGeom>
          <a:noFill/>
        </p:spPr>
        <p:txBody>
          <a:bodyPr wrap="square" rtlCol="0">
            <a:spAutoFit/>
          </a:bodyPr>
          <a:lstStyle/>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200" b="1" i="0" u="none" strike="noStrike" kern="1200" cap="none" spc="0" normalizeH="0" baseline="0" noProof="0" dirty="0">
                <a:ln>
                  <a:noFill/>
                </a:ln>
                <a:solidFill>
                  <a:srgbClr val="0091DC"/>
                </a:solidFill>
                <a:effectLst/>
                <a:uLnTx/>
                <a:uFillTx/>
                <a:latin typeface="MetaPlusLF"/>
                <a:ea typeface="+mn-ea"/>
              </a:rPr>
              <a:t>2005</a:t>
            </a:r>
            <a:r>
              <a:rPr kumimoji="0" lang="en-GB" sz="1200" b="1" i="0" u="none" strike="noStrike" kern="1200" cap="none" spc="0" normalizeH="0" baseline="0" noProof="0" dirty="0">
                <a:ln>
                  <a:noFill/>
                </a:ln>
                <a:solidFill>
                  <a:srgbClr val="0091DC"/>
                </a:solidFill>
                <a:effectLst/>
                <a:uLnTx/>
                <a:uFillTx/>
                <a:latin typeface="MetaPlusLF"/>
                <a:ea typeface="+mn-ea"/>
              </a:rPr>
              <a:t> </a:t>
            </a:r>
          </a:p>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200" b="0" i="0" u="none" strike="noStrike" kern="1200" cap="none" spc="0" normalizeH="0" baseline="0" noProof="0" dirty="0">
                <a:ln>
                  <a:noFill/>
                </a:ln>
                <a:solidFill>
                  <a:srgbClr val="000000"/>
                </a:solidFill>
                <a:effectLst/>
                <a:uLnTx/>
                <a:uFillTx/>
                <a:latin typeface="MetaPlusLF"/>
                <a:ea typeface="Verdana" panose="020B0604030504040204" pitchFamily="34" charset="0"/>
              </a:rPr>
              <a:t>Pirmieji žingsniai link paslaugų centro (</a:t>
            </a:r>
            <a:r>
              <a:rPr kumimoji="0" lang="lt-LT" sz="1200" b="0" i="0" u="none" strike="noStrike" kern="1200" cap="none" spc="0" normalizeH="0" baseline="0" noProof="0" dirty="0">
                <a:ln>
                  <a:noFill/>
                </a:ln>
                <a:solidFill>
                  <a:srgbClr val="000000"/>
                </a:solidFill>
                <a:effectLst/>
                <a:uLnTx/>
                <a:uFillTx/>
                <a:latin typeface="MetaPlusLF"/>
                <a:ea typeface="Verdana" panose="020B0604030504040204" pitchFamily="34" charset="0"/>
                <a:cs typeface="Verdana" panose="020B0604030504040204" pitchFamily="34" charset="0"/>
              </a:rPr>
              <a:t>PM ir CRS)</a:t>
            </a:r>
            <a:endParaRPr kumimoji="0" lang="en-GB" sz="1200" b="0" i="0" u="none" strike="noStrike" kern="1200" cap="none" spc="0" normalizeH="0" baseline="0" noProof="0" dirty="0">
              <a:ln>
                <a:noFill/>
              </a:ln>
              <a:solidFill>
                <a:srgbClr val="000000"/>
              </a:solidFill>
              <a:effectLst/>
              <a:uLnTx/>
              <a:uFillTx/>
              <a:latin typeface="MetaPlusLF"/>
              <a:ea typeface="Verdana" panose="020B0604030504040204" pitchFamily="34" charset="0"/>
              <a:cs typeface="Verdana" panose="020B0604030504040204" pitchFamily="34" charset="0"/>
            </a:endParaRPr>
          </a:p>
        </p:txBody>
      </p:sp>
      <p:sp>
        <p:nvSpPr>
          <p:cNvPr id="37" name="Construction2" descr="{&quot;Key&quot;:&quot;POWER_USER_SHAPE_ICON&quot;,&quot;Value&quot;:&quot;POWER_USER_SHAPE_ICON_STYLE_1&quot;}"/>
          <p:cNvSpPr>
            <a:spLocks noChangeAspect="1" noEditPoints="1"/>
          </p:cNvSpPr>
          <p:nvPr>
            <p:custDataLst>
              <p:tags r:id="rId3"/>
            </p:custDataLst>
          </p:nvPr>
        </p:nvSpPr>
        <p:spPr bwMode="auto">
          <a:xfrm>
            <a:off x="836249" y="4778701"/>
            <a:ext cx="721355" cy="484314"/>
          </a:xfrm>
          <a:custGeom>
            <a:avLst/>
            <a:gdLst>
              <a:gd name="T0" fmla="*/ 821 w 1127"/>
              <a:gd name="T1" fmla="*/ 408 h 753"/>
              <a:gd name="T2" fmla="*/ 740 w 1127"/>
              <a:gd name="T3" fmla="*/ 424 h 753"/>
              <a:gd name="T4" fmla="*/ 669 w 1127"/>
              <a:gd name="T5" fmla="*/ 526 h 753"/>
              <a:gd name="T6" fmla="*/ 617 w 1127"/>
              <a:gd name="T7" fmla="*/ 512 h 753"/>
              <a:gd name="T8" fmla="*/ 453 w 1127"/>
              <a:gd name="T9" fmla="*/ 482 h 753"/>
              <a:gd name="T10" fmla="*/ 394 w 1127"/>
              <a:gd name="T11" fmla="*/ 355 h 753"/>
              <a:gd name="T12" fmla="*/ 360 w 1127"/>
              <a:gd name="T13" fmla="*/ 169 h 753"/>
              <a:gd name="T14" fmla="*/ 366 w 1127"/>
              <a:gd name="T15" fmla="*/ 141 h 753"/>
              <a:gd name="T16" fmla="*/ 357 w 1127"/>
              <a:gd name="T17" fmla="*/ 0 h 753"/>
              <a:gd name="T18" fmla="*/ 298 w 1127"/>
              <a:gd name="T19" fmla="*/ 109 h 753"/>
              <a:gd name="T20" fmla="*/ 283 w 1127"/>
              <a:gd name="T21" fmla="*/ 138 h 753"/>
              <a:gd name="T22" fmla="*/ 229 w 1127"/>
              <a:gd name="T23" fmla="*/ 140 h 753"/>
              <a:gd name="T24" fmla="*/ 85 w 1127"/>
              <a:gd name="T25" fmla="*/ 223 h 753"/>
              <a:gd name="T26" fmla="*/ 67 w 1127"/>
              <a:gd name="T27" fmla="*/ 333 h 753"/>
              <a:gd name="T28" fmla="*/ 64 w 1127"/>
              <a:gd name="T29" fmla="*/ 355 h 753"/>
              <a:gd name="T30" fmla="*/ 89 w 1127"/>
              <a:gd name="T31" fmla="*/ 371 h 753"/>
              <a:gd name="T32" fmla="*/ 123 w 1127"/>
              <a:gd name="T33" fmla="*/ 363 h 753"/>
              <a:gd name="T34" fmla="*/ 144 w 1127"/>
              <a:gd name="T35" fmla="*/ 367 h 753"/>
              <a:gd name="T36" fmla="*/ 140 w 1127"/>
              <a:gd name="T37" fmla="*/ 528 h 753"/>
              <a:gd name="T38" fmla="*/ 43 w 1127"/>
              <a:gd name="T39" fmla="*/ 684 h 753"/>
              <a:gd name="T40" fmla="*/ 71 w 1127"/>
              <a:gd name="T41" fmla="*/ 708 h 753"/>
              <a:gd name="T42" fmla="*/ 0 w 1127"/>
              <a:gd name="T43" fmla="*/ 718 h 753"/>
              <a:gd name="T44" fmla="*/ 1127 w 1127"/>
              <a:gd name="T45" fmla="*/ 753 h 753"/>
              <a:gd name="T46" fmla="*/ 128 w 1127"/>
              <a:gd name="T47" fmla="*/ 328 h 753"/>
              <a:gd name="T48" fmla="*/ 198 w 1127"/>
              <a:gd name="T49" fmla="*/ 223 h 753"/>
              <a:gd name="T50" fmla="*/ 193 w 1127"/>
              <a:gd name="T51" fmla="*/ 272 h 753"/>
              <a:gd name="T52" fmla="*/ 128 w 1127"/>
              <a:gd name="T53" fmla="*/ 328 h 753"/>
              <a:gd name="T54" fmla="*/ 142 w 1127"/>
              <a:gd name="T55" fmla="*/ 685 h 753"/>
              <a:gd name="T56" fmla="*/ 143 w 1127"/>
              <a:gd name="T57" fmla="*/ 656 h 753"/>
              <a:gd name="T58" fmla="*/ 223 w 1127"/>
              <a:gd name="T59" fmla="*/ 531 h 753"/>
              <a:gd name="T60" fmla="*/ 235 w 1127"/>
              <a:gd name="T61" fmla="*/ 454 h 753"/>
              <a:gd name="T62" fmla="*/ 300 w 1127"/>
              <a:gd name="T63" fmla="*/ 549 h 753"/>
              <a:gd name="T64" fmla="*/ 160 w 1127"/>
              <a:gd name="T65" fmla="*/ 719 h 753"/>
              <a:gd name="T66" fmla="*/ 303 w 1127"/>
              <a:gd name="T67" fmla="*/ 343 h 753"/>
              <a:gd name="T68" fmla="*/ 335 w 1127"/>
              <a:gd name="T69" fmla="*/ 361 h 753"/>
              <a:gd name="T70" fmla="*/ 367 w 1127"/>
              <a:gd name="T71" fmla="*/ 438 h 753"/>
              <a:gd name="T72" fmla="*/ 297 w 1127"/>
              <a:gd name="T73" fmla="*/ 382 h 753"/>
              <a:gd name="T74" fmla="*/ 535 w 1127"/>
              <a:gd name="T75" fmla="*/ 646 h 753"/>
              <a:gd name="T76" fmla="*/ 495 w 1127"/>
              <a:gd name="T77" fmla="*/ 691 h 753"/>
              <a:gd name="T78" fmla="*/ 461 w 1127"/>
              <a:gd name="T79" fmla="*/ 718 h 753"/>
              <a:gd name="T80" fmla="*/ 382 w 1127"/>
              <a:gd name="T81" fmla="*/ 670 h 753"/>
              <a:gd name="T82" fmla="*/ 375 w 1127"/>
              <a:gd name="T83" fmla="*/ 527 h 753"/>
              <a:gd name="T84" fmla="*/ 342 w 1127"/>
              <a:gd name="T85" fmla="*/ 463 h 753"/>
              <a:gd name="T86" fmla="*/ 552 w 1127"/>
              <a:gd name="T87" fmla="*/ 586 h 753"/>
              <a:gd name="T88" fmla="*/ 583 w 1127"/>
              <a:gd name="T89" fmla="*/ 616 h 753"/>
              <a:gd name="T90" fmla="*/ 548 w 1127"/>
              <a:gd name="T91" fmla="*/ 641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7" h="753">
                <a:moveTo>
                  <a:pt x="871" y="399"/>
                </a:moveTo>
                <a:cubicBezTo>
                  <a:pt x="856" y="377"/>
                  <a:pt x="827" y="404"/>
                  <a:pt x="821" y="408"/>
                </a:cubicBezTo>
                <a:cubicBezTo>
                  <a:pt x="814" y="411"/>
                  <a:pt x="818" y="409"/>
                  <a:pt x="792" y="401"/>
                </a:cubicBezTo>
                <a:cubicBezTo>
                  <a:pt x="765" y="394"/>
                  <a:pt x="746" y="411"/>
                  <a:pt x="740" y="424"/>
                </a:cubicBezTo>
                <a:cubicBezTo>
                  <a:pt x="734" y="437"/>
                  <a:pt x="697" y="511"/>
                  <a:pt x="691" y="523"/>
                </a:cubicBezTo>
                <a:cubicBezTo>
                  <a:pt x="684" y="534"/>
                  <a:pt x="669" y="526"/>
                  <a:pt x="669" y="526"/>
                </a:cubicBezTo>
                <a:cubicBezTo>
                  <a:pt x="669" y="526"/>
                  <a:pt x="643" y="511"/>
                  <a:pt x="634" y="507"/>
                </a:cubicBezTo>
                <a:cubicBezTo>
                  <a:pt x="624" y="504"/>
                  <a:pt x="617" y="512"/>
                  <a:pt x="617" y="512"/>
                </a:cubicBezTo>
                <a:lnTo>
                  <a:pt x="586" y="545"/>
                </a:lnTo>
                <a:cubicBezTo>
                  <a:pt x="586" y="545"/>
                  <a:pt x="466" y="489"/>
                  <a:pt x="453" y="482"/>
                </a:cubicBezTo>
                <a:cubicBezTo>
                  <a:pt x="440" y="474"/>
                  <a:pt x="410" y="398"/>
                  <a:pt x="401" y="382"/>
                </a:cubicBezTo>
                <a:cubicBezTo>
                  <a:pt x="392" y="367"/>
                  <a:pt x="394" y="355"/>
                  <a:pt x="394" y="355"/>
                </a:cubicBezTo>
                <a:cubicBezTo>
                  <a:pt x="394" y="355"/>
                  <a:pt x="392" y="322"/>
                  <a:pt x="391" y="262"/>
                </a:cubicBezTo>
                <a:cubicBezTo>
                  <a:pt x="391" y="203"/>
                  <a:pt x="365" y="177"/>
                  <a:pt x="360" y="169"/>
                </a:cubicBezTo>
                <a:cubicBezTo>
                  <a:pt x="355" y="161"/>
                  <a:pt x="360" y="154"/>
                  <a:pt x="360" y="154"/>
                </a:cubicBezTo>
                <a:lnTo>
                  <a:pt x="366" y="141"/>
                </a:lnTo>
                <a:cubicBezTo>
                  <a:pt x="401" y="136"/>
                  <a:pt x="428" y="107"/>
                  <a:pt x="428" y="70"/>
                </a:cubicBezTo>
                <a:cubicBezTo>
                  <a:pt x="428" y="31"/>
                  <a:pt x="396" y="0"/>
                  <a:pt x="357" y="0"/>
                </a:cubicBezTo>
                <a:cubicBezTo>
                  <a:pt x="318" y="0"/>
                  <a:pt x="287" y="31"/>
                  <a:pt x="287" y="70"/>
                </a:cubicBezTo>
                <a:cubicBezTo>
                  <a:pt x="287" y="85"/>
                  <a:pt x="291" y="98"/>
                  <a:pt x="298" y="109"/>
                </a:cubicBezTo>
                <a:cubicBezTo>
                  <a:pt x="297" y="112"/>
                  <a:pt x="297" y="118"/>
                  <a:pt x="296" y="124"/>
                </a:cubicBezTo>
                <a:cubicBezTo>
                  <a:pt x="296" y="135"/>
                  <a:pt x="283" y="138"/>
                  <a:pt x="283" y="138"/>
                </a:cubicBezTo>
                <a:cubicBezTo>
                  <a:pt x="283" y="138"/>
                  <a:pt x="252" y="137"/>
                  <a:pt x="245" y="137"/>
                </a:cubicBezTo>
                <a:cubicBezTo>
                  <a:pt x="237" y="137"/>
                  <a:pt x="229" y="140"/>
                  <a:pt x="229" y="140"/>
                </a:cubicBezTo>
                <a:cubicBezTo>
                  <a:pt x="229" y="140"/>
                  <a:pt x="110" y="200"/>
                  <a:pt x="97" y="207"/>
                </a:cubicBezTo>
                <a:cubicBezTo>
                  <a:pt x="84" y="213"/>
                  <a:pt x="85" y="223"/>
                  <a:pt x="85" y="223"/>
                </a:cubicBezTo>
                <a:lnTo>
                  <a:pt x="76" y="327"/>
                </a:lnTo>
                <a:cubicBezTo>
                  <a:pt x="76" y="327"/>
                  <a:pt x="70" y="331"/>
                  <a:pt x="67" y="333"/>
                </a:cubicBezTo>
                <a:cubicBezTo>
                  <a:pt x="64" y="335"/>
                  <a:pt x="64" y="339"/>
                  <a:pt x="64" y="339"/>
                </a:cubicBezTo>
                <a:lnTo>
                  <a:pt x="64" y="355"/>
                </a:lnTo>
                <a:cubicBezTo>
                  <a:pt x="64" y="360"/>
                  <a:pt x="71" y="362"/>
                  <a:pt x="71" y="362"/>
                </a:cubicBezTo>
                <a:cubicBezTo>
                  <a:pt x="71" y="362"/>
                  <a:pt x="84" y="368"/>
                  <a:pt x="89" y="371"/>
                </a:cubicBezTo>
                <a:cubicBezTo>
                  <a:pt x="95" y="374"/>
                  <a:pt x="97" y="371"/>
                  <a:pt x="97" y="371"/>
                </a:cubicBezTo>
                <a:cubicBezTo>
                  <a:pt x="97" y="371"/>
                  <a:pt x="118" y="365"/>
                  <a:pt x="123" y="363"/>
                </a:cubicBezTo>
                <a:cubicBezTo>
                  <a:pt x="127" y="360"/>
                  <a:pt x="131" y="360"/>
                  <a:pt x="131" y="360"/>
                </a:cubicBezTo>
                <a:lnTo>
                  <a:pt x="144" y="367"/>
                </a:lnTo>
                <a:cubicBezTo>
                  <a:pt x="144" y="367"/>
                  <a:pt x="147" y="491"/>
                  <a:pt x="147" y="506"/>
                </a:cubicBezTo>
                <a:cubicBezTo>
                  <a:pt x="147" y="520"/>
                  <a:pt x="140" y="528"/>
                  <a:pt x="140" y="528"/>
                </a:cubicBezTo>
                <a:cubicBezTo>
                  <a:pt x="140" y="528"/>
                  <a:pt x="51" y="650"/>
                  <a:pt x="41" y="663"/>
                </a:cubicBezTo>
                <a:cubicBezTo>
                  <a:pt x="32" y="676"/>
                  <a:pt x="43" y="684"/>
                  <a:pt x="43" y="684"/>
                </a:cubicBezTo>
                <a:lnTo>
                  <a:pt x="59" y="694"/>
                </a:lnTo>
                <a:cubicBezTo>
                  <a:pt x="59" y="694"/>
                  <a:pt x="71" y="701"/>
                  <a:pt x="71" y="708"/>
                </a:cubicBezTo>
                <a:cubicBezTo>
                  <a:pt x="71" y="715"/>
                  <a:pt x="61" y="718"/>
                  <a:pt x="61" y="718"/>
                </a:cubicBezTo>
                <a:lnTo>
                  <a:pt x="0" y="718"/>
                </a:lnTo>
                <a:lnTo>
                  <a:pt x="0" y="751"/>
                </a:lnTo>
                <a:lnTo>
                  <a:pt x="1127" y="753"/>
                </a:lnTo>
                <a:lnTo>
                  <a:pt x="871" y="399"/>
                </a:lnTo>
                <a:close/>
                <a:moveTo>
                  <a:pt x="128" y="328"/>
                </a:moveTo>
                <a:cubicBezTo>
                  <a:pt x="127" y="324"/>
                  <a:pt x="134" y="255"/>
                  <a:pt x="134" y="255"/>
                </a:cubicBezTo>
                <a:lnTo>
                  <a:pt x="198" y="223"/>
                </a:lnTo>
                <a:cubicBezTo>
                  <a:pt x="198" y="223"/>
                  <a:pt x="205" y="218"/>
                  <a:pt x="204" y="227"/>
                </a:cubicBezTo>
                <a:cubicBezTo>
                  <a:pt x="204" y="236"/>
                  <a:pt x="193" y="272"/>
                  <a:pt x="193" y="272"/>
                </a:cubicBezTo>
                <a:lnTo>
                  <a:pt x="158" y="343"/>
                </a:lnTo>
                <a:cubicBezTo>
                  <a:pt x="158" y="343"/>
                  <a:pt x="130" y="332"/>
                  <a:pt x="128" y="328"/>
                </a:cubicBezTo>
                <a:close/>
                <a:moveTo>
                  <a:pt x="160" y="719"/>
                </a:moveTo>
                <a:lnTo>
                  <a:pt x="142" y="685"/>
                </a:lnTo>
                <a:cubicBezTo>
                  <a:pt x="142" y="685"/>
                  <a:pt x="139" y="676"/>
                  <a:pt x="139" y="670"/>
                </a:cubicBezTo>
                <a:cubicBezTo>
                  <a:pt x="139" y="665"/>
                  <a:pt x="143" y="656"/>
                  <a:pt x="143" y="656"/>
                </a:cubicBezTo>
                <a:lnTo>
                  <a:pt x="216" y="550"/>
                </a:lnTo>
                <a:cubicBezTo>
                  <a:pt x="216" y="550"/>
                  <a:pt x="221" y="541"/>
                  <a:pt x="223" y="531"/>
                </a:cubicBezTo>
                <a:cubicBezTo>
                  <a:pt x="224" y="521"/>
                  <a:pt x="231" y="453"/>
                  <a:pt x="231" y="453"/>
                </a:cubicBezTo>
                <a:cubicBezTo>
                  <a:pt x="231" y="453"/>
                  <a:pt x="233" y="452"/>
                  <a:pt x="235" y="454"/>
                </a:cubicBezTo>
                <a:cubicBezTo>
                  <a:pt x="238" y="457"/>
                  <a:pt x="295" y="533"/>
                  <a:pt x="295" y="533"/>
                </a:cubicBezTo>
                <a:cubicBezTo>
                  <a:pt x="295" y="533"/>
                  <a:pt x="300" y="543"/>
                  <a:pt x="300" y="549"/>
                </a:cubicBezTo>
                <a:cubicBezTo>
                  <a:pt x="300" y="554"/>
                  <a:pt x="302" y="718"/>
                  <a:pt x="302" y="718"/>
                </a:cubicBezTo>
                <a:lnTo>
                  <a:pt x="160" y="719"/>
                </a:lnTo>
                <a:close/>
                <a:moveTo>
                  <a:pt x="297" y="382"/>
                </a:moveTo>
                <a:cubicBezTo>
                  <a:pt x="297" y="368"/>
                  <a:pt x="296" y="353"/>
                  <a:pt x="303" y="343"/>
                </a:cubicBezTo>
                <a:cubicBezTo>
                  <a:pt x="311" y="333"/>
                  <a:pt x="333" y="308"/>
                  <a:pt x="333" y="308"/>
                </a:cubicBezTo>
                <a:lnTo>
                  <a:pt x="335" y="361"/>
                </a:lnTo>
                <a:cubicBezTo>
                  <a:pt x="335" y="361"/>
                  <a:pt x="335" y="375"/>
                  <a:pt x="340" y="386"/>
                </a:cubicBezTo>
                <a:cubicBezTo>
                  <a:pt x="345" y="396"/>
                  <a:pt x="367" y="438"/>
                  <a:pt x="367" y="438"/>
                </a:cubicBezTo>
                <a:lnTo>
                  <a:pt x="314" y="415"/>
                </a:lnTo>
                <a:cubicBezTo>
                  <a:pt x="314" y="415"/>
                  <a:pt x="297" y="396"/>
                  <a:pt x="297" y="382"/>
                </a:cubicBezTo>
                <a:close/>
                <a:moveTo>
                  <a:pt x="548" y="641"/>
                </a:moveTo>
                <a:cubicBezTo>
                  <a:pt x="548" y="641"/>
                  <a:pt x="540" y="644"/>
                  <a:pt x="535" y="646"/>
                </a:cubicBezTo>
                <a:cubicBezTo>
                  <a:pt x="530" y="648"/>
                  <a:pt x="518" y="650"/>
                  <a:pt x="513" y="665"/>
                </a:cubicBezTo>
                <a:cubicBezTo>
                  <a:pt x="509" y="679"/>
                  <a:pt x="506" y="689"/>
                  <a:pt x="495" y="691"/>
                </a:cubicBezTo>
                <a:cubicBezTo>
                  <a:pt x="485" y="693"/>
                  <a:pt x="483" y="695"/>
                  <a:pt x="476" y="702"/>
                </a:cubicBezTo>
                <a:cubicBezTo>
                  <a:pt x="469" y="709"/>
                  <a:pt x="467" y="717"/>
                  <a:pt x="461" y="718"/>
                </a:cubicBezTo>
                <a:cubicBezTo>
                  <a:pt x="455" y="719"/>
                  <a:pt x="413" y="719"/>
                  <a:pt x="413" y="719"/>
                </a:cubicBezTo>
                <a:lnTo>
                  <a:pt x="382" y="670"/>
                </a:lnTo>
                <a:cubicBezTo>
                  <a:pt x="382" y="670"/>
                  <a:pt x="379" y="663"/>
                  <a:pt x="379" y="656"/>
                </a:cubicBezTo>
                <a:cubicBezTo>
                  <a:pt x="379" y="649"/>
                  <a:pt x="375" y="527"/>
                  <a:pt x="375" y="527"/>
                </a:cubicBezTo>
                <a:cubicBezTo>
                  <a:pt x="375" y="527"/>
                  <a:pt x="374" y="517"/>
                  <a:pt x="369" y="509"/>
                </a:cubicBezTo>
                <a:cubicBezTo>
                  <a:pt x="365" y="502"/>
                  <a:pt x="342" y="463"/>
                  <a:pt x="342" y="463"/>
                </a:cubicBezTo>
                <a:lnTo>
                  <a:pt x="564" y="571"/>
                </a:lnTo>
                <a:lnTo>
                  <a:pt x="552" y="586"/>
                </a:lnTo>
                <a:cubicBezTo>
                  <a:pt x="552" y="586"/>
                  <a:pt x="542" y="598"/>
                  <a:pt x="554" y="603"/>
                </a:cubicBezTo>
                <a:cubicBezTo>
                  <a:pt x="565" y="608"/>
                  <a:pt x="583" y="616"/>
                  <a:pt x="583" y="616"/>
                </a:cubicBezTo>
                <a:lnTo>
                  <a:pt x="584" y="621"/>
                </a:lnTo>
                <a:lnTo>
                  <a:pt x="548" y="641"/>
                </a:lnTo>
                <a:close/>
              </a:path>
            </a:pathLst>
          </a:custGeom>
          <a:solidFill>
            <a:schemeClr val="bg1"/>
          </a:solidFill>
          <a:ln w="0">
            <a:noFill/>
            <a:prstDash val="solid"/>
            <a:round/>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57" name="Microscope3" descr="{&quot;Key&quot;:&quot;POWER_USER_SHAPE_ICON&quot;,&quot;Value&quot;:&quot;POWER_USER_SHAPE_ICON_STYLE_1&quot;}"/>
          <p:cNvGrpSpPr>
            <a:grpSpLocks noChangeAspect="1"/>
          </p:cNvGrpSpPr>
          <p:nvPr>
            <p:custDataLst>
              <p:tags r:id="rId4"/>
            </p:custDataLst>
          </p:nvPr>
        </p:nvGrpSpPr>
        <p:grpSpPr bwMode="auto">
          <a:xfrm>
            <a:off x="965799" y="2850171"/>
            <a:ext cx="397464" cy="532745"/>
            <a:chOff x="897" y="335"/>
            <a:chExt cx="2656" cy="3560"/>
          </a:xfrm>
          <a:solidFill>
            <a:schemeClr val="bg1"/>
          </a:solidFill>
        </p:grpSpPr>
        <p:sp>
          <p:nvSpPr>
            <p:cNvPr id="58" name="Rectangle 41"/>
            <p:cNvSpPr>
              <a:spLocks noChangeArrowheads="1"/>
            </p:cNvSpPr>
            <p:nvPr/>
          </p:nvSpPr>
          <p:spPr bwMode="auto">
            <a:xfrm>
              <a:off x="897" y="3811"/>
              <a:ext cx="2414" cy="84"/>
            </a:xfrm>
            <a:prstGeom prst="rect">
              <a:avLst/>
            </a:prstGeom>
            <a:grpFill/>
            <a:ln w="93663"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59" name="Rectangle 42"/>
            <p:cNvSpPr>
              <a:spLocks noChangeArrowheads="1"/>
            </p:cNvSpPr>
            <p:nvPr/>
          </p:nvSpPr>
          <p:spPr bwMode="auto">
            <a:xfrm>
              <a:off x="1266" y="3609"/>
              <a:ext cx="419" cy="151"/>
            </a:xfrm>
            <a:prstGeom prst="rect">
              <a:avLst/>
            </a:prstGeom>
            <a:grpFill/>
            <a:ln w="93663"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60" name="Freeform 43"/>
            <p:cNvSpPr>
              <a:spLocks/>
            </p:cNvSpPr>
            <p:nvPr/>
          </p:nvSpPr>
          <p:spPr bwMode="auto">
            <a:xfrm>
              <a:off x="1151" y="3341"/>
              <a:ext cx="734" cy="369"/>
            </a:xfrm>
            <a:custGeom>
              <a:avLst/>
              <a:gdLst>
                <a:gd name="T0" fmla="*/ 87 w 2388"/>
                <a:gd name="T1" fmla="*/ 0 h 1198"/>
                <a:gd name="T2" fmla="*/ 2388 w 2388"/>
                <a:gd name="T3" fmla="*/ 998 h 1198"/>
                <a:gd name="T4" fmla="*/ 2301 w 2388"/>
                <a:gd name="T5" fmla="*/ 1198 h 1198"/>
                <a:gd name="T6" fmla="*/ 0 w 2388"/>
                <a:gd name="T7" fmla="*/ 200 h 1198"/>
                <a:gd name="T8" fmla="*/ 87 w 2388"/>
                <a:gd name="T9" fmla="*/ 0 h 1198"/>
              </a:gdLst>
              <a:ahLst/>
              <a:cxnLst>
                <a:cxn ang="0">
                  <a:pos x="T0" y="T1"/>
                </a:cxn>
                <a:cxn ang="0">
                  <a:pos x="T2" y="T3"/>
                </a:cxn>
                <a:cxn ang="0">
                  <a:pos x="T4" y="T5"/>
                </a:cxn>
                <a:cxn ang="0">
                  <a:pos x="T6" y="T7"/>
                </a:cxn>
                <a:cxn ang="0">
                  <a:pos x="T8" y="T9"/>
                </a:cxn>
              </a:cxnLst>
              <a:rect l="0" t="0" r="r" b="b"/>
              <a:pathLst>
                <a:path w="2388" h="1198">
                  <a:moveTo>
                    <a:pt x="87" y="0"/>
                  </a:moveTo>
                  <a:lnTo>
                    <a:pt x="2388" y="998"/>
                  </a:lnTo>
                  <a:lnTo>
                    <a:pt x="2301" y="1198"/>
                  </a:lnTo>
                  <a:lnTo>
                    <a:pt x="0" y="200"/>
                  </a:lnTo>
                  <a:lnTo>
                    <a:pt x="87" y="0"/>
                  </a:lnTo>
                  <a:close/>
                </a:path>
              </a:pathLst>
            </a:custGeom>
            <a:grpFill/>
            <a:ln w="93663"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61" name="Freeform 44"/>
            <p:cNvSpPr>
              <a:spLocks noEditPoints="1"/>
            </p:cNvSpPr>
            <p:nvPr/>
          </p:nvSpPr>
          <p:spPr bwMode="auto">
            <a:xfrm>
              <a:off x="1048" y="2823"/>
              <a:ext cx="2087" cy="974"/>
            </a:xfrm>
            <a:custGeom>
              <a:avLst/>
              <a:gdLst>
                <a:gd name="T0" fmla="*/ 4985 w 6789"/>
                <a:gd name="T1" fmla="*/ 0 h 3165"/>
                <a:gd name="T2" fmla="*/ 4976 w 6789"/>
                <a:gd name="T3" fmla="*/ 45 h 3165"/>
                <a:gd name="T4" fmla="*/ 0 w 6789"/>
                <a:gd name="T5" fmla="*/ 45 h 3165"/>
                <a:gd name="T6" fmla="*/ 0 w 6789"/>
                <a:gd name="T7" fmla="*/ 536 h 3165"/>
                <a:gd name="T8" fmla="*/ 4871 w 6789"/>
                <a:gd name="T9" fmla="*/ 536 h 3165"/>
                <a:gd name="T10" fmla="*/ 4307 w 6789"/>
                <a:gd name="T11" fmla="*/ 3165 h 3165"/>
                <a:gd name="T12" fmla="*/ 5548 w 6789"/>
                <a:gd name="T13" fmla="*/ 3157 h 3165"/>
                <a:gd name="T14" fmla="*/ 6789 w 6789"/>
                <a:gd name="T15" fmla="*/ 3165 h 3165"/>
                <a:gd name="T16" fmla="*/ 6166 w 6789"/>
                <a:gd name="T17" fmla="*/ 261 h 3165"/>
                <a:gd name="T18" fmla="*/ 6111 w 6789"/>
                <a:gd name="T19" fmla="*/ 0 h 3165"/>
                <a:gd name="T20" fmla="*/ 4985 w 6789"/>
                <a:gd name="T21" fmla="*/ 0 h 3165"/>
                <a:gd name="T22" fmla="*/ 5559 w 6789"/>
                <a:gd name="T23" fmla="*/ 261 h 3165"/>
                <a:gd name="T24" fmla="*/ 5994 w 6789"/>
                <a:gd name="T25" fmla="*/ 672 h 3165"/>
                <a:gd name="T26" fmla="*/ 5559 w 6789"/>
                <a:gd name="T27" fmla="*/ 1083 h 3165"/>
                <a:gd name="T28" fmla="*/ 5124 w 6789"/>
                <a:gd name="T29" fmla="*/ 672 h 3165"/>
                <a:gd name="T30" fmla="*/ 5559 w 6789"/>
                <a:gd name="T31" fmla="*/ 261 h 3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89" h="3165">
                  <a:moveTo>
                    <a:pt x="4985" y="0"/>
                  </a:moveTo>
                  <a:lnTo>
                    <a:pt x="4976" y="45"/>
                  </a:lnTo>
                  <a:lnTo>
                    <a:pt x="0" y="45"/>
                  </a:lnTo>
                  <a:lnTo>
                    <a:pt x="0" y="536"/>
                  </a:lnTo>
                  <a:lnTo>
                    <a:pt x="4871" y="536"/>
                  </a:lnTo>
                  <a:lnTo>
                    <a:pt x="4307" y="3165"/>
                  </a:lnTo>
                  <a:lnTo>
                    <a:pt x="5548" y="3157"/>
                  </a:lnTo>
                  <a:lnTo>
                    <a:pt x="6789" y="3165"/>
                  </a:lnTo>
                  <a:lnTo>
                    <a:pt x="6166" y="261"/>
                  </a:lnTo>
                  <a:lnTo>
                    <a:pt x="6111" y="0"/>
                  </a:lnTo>
                  <a:lnTo>
                    <a:pt x="4985" y="0"/>
                  </a:lnTo>
                  <a:close/>
                  <a:moveTo>
                    <a:pt x="5559" y="261"/>
                  </a:moveTo>
                  <a:cubicBezTo>
                    <a:pt x="5799" y="261"/>
                    <a:pt x="5994" y="445"/>
                    <a:pt x="5994" y="672"/>
                  </a:cubicBezTo>
                  <a:cubicBezTo>
                    <a:pt x="5994" y="899"/>
                    <a:pt x="5799" y="1083"/>
                    <a:pt x="5559" y="1083"/>
                  </a:cubicBezTo>
                  <a:cubicBezTo>
                    <a:pt x="5319" y="1083"/>
                    <a:pt x="5124" y="899"/>
                    <a:pt x="5124" y="672"/>
                  </a:cubicBezTo>
                  <a:cubicBezTo>
                    <a:pt x="5124" y="445"/>
                    <a:pt x="5319" y="261"/>
                    <a:pt x="5559" y="261"/>
                  </a:cubicBezTo>
                  <a:close/>
                </a:path>
              </a:pathLst>
            </a:custGeom>
            <a:grpFill/>
            <a:ln w="122238"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62" name="Freeform 45"/>
            <p:cNvSpPr>
              <a:spLocks/>
            </p:cNvSpPr>
            <p:nvPr/>
          </p:nvSpPr>
          <p:spPr bwMode="auto">
            <a:xfrm>
              <a:off x="2229" y="1083"/>
              <a:ext cx="1152" cy="1724"/>
            </a:xfrm>
            <a:custGeom>
              <a:avLst/>
              <a:gdLst>
                <a:gd name="T0" fmla="*/ 1367 w 3747"/>
                <a:gd name="T1" fmla="*/ 0 h 5598"/>
                <a:gd name="T2" fmla="*/ 0 w 3747"/>
                <a:gd name="T3" fmla="*/ 445 h 5598"/>
                <a:gd name="T4" fmla="*/ 249 w 3747"/>
                <a:gd name="T5" fmla="*/ 419 h 5598"/>
                <a:gd name="T6" fmla="*/ 2111 w 3747"/>
                <a:gd name="T7" fmla="*/ 3045 h 5598"/>
                <a:gd name="T8" fmla="*/ 837 w 3747"/>
                <a:gd name="T9" fmla="*/ 5534 h 5598"/>
                <a:gd name="T10" fmla="*/ 1367 w 3747"/>
                <a:gd name="T11" fmla="*/ 5598 h 5598"/>
                <a:gd name="T12" fmla="*/ 3747 w 3747"/>
                <a:gd name="T13" fmla="*/ 3730 h 5598"/>
                <a:gd name="T14" fmla="*/ 3629 w 3747"/>
                <a:gd name="T15" fmla="*/ 3738 h 5598"/>
                <a:gd name="T16" fmla="*/ 2642 w 3747"/>
                <a:gd name="T17" fmla="*/ 2777 h 5598"/>
                <a:gd name="T18" fmla="*/ 3629 w 3747"/>
                <a:gd name="T19" fmla="*/ 1816 h 5598"/>
                <a:gd name="T20" fmla="*/ 3731 w 3747"/>
                <a:gd name="T21" fmla="*/ 1821 h 5598"/>
                <a:gd name="T22" fmla="*/ 1367 w 3747"/>
                <a:gd name="T23" fmla="*/ 0 h 5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47" h="5598">
                  <a:moveTo>
                    <a:pt x="1367" y="0"/>
                  </a:moveTo>
                  <a:cubicBezTo>
                    <a:pt x="882" y="0"/>
                    <a:pt x="408" y="155"/>
                    <a:pt x="0" y="445"/>
                  </a:cubicBezTo>
                  <a:cubicBezTo>
                    <a:pt x="83" y="429"/>
                    <a:pt x="166" y="420"/>
                    <a:pt x="249" y="419"/>
                  </a:cubicBezTo>
                  <a:cubicBezTo>
                    <a:pt x="1278" y="419"/>
                    <a:pt x="2111" y="1595"/>
                    <a:pt x="2111" y="3045"/>
                  </a:cubicBezTo>
                  <a:cubicBezTo>
                    <a:pt x="2110" y="4175"/>
                    <a:pt x="1597" y="5177"/>
                    <a:pt x="837" y="5534"/>
                  </a:cubicBezTo>
                  <a:cubicBezTo>
                    <a:pt x="1011" y="5576"/>
                    <a:pt x="1189" y="5597"/>
                    <a:pt x="1367" y="5598"/>
                  </a:cubicBezTo>
                  <a:cubicBezTo>
                    <a:pt x="2437" y="5597"/>
                    <a:pt x="3391" y="4848"/>
                    <a:pt x="3747" y="3730"/>
                  </a:cubicBezTo>
                  <a:cubicBezTo>
                    <a:pt x="3707" y="3735"/>
                    <a:pt x="3668" y="3738"/>
                    <a:pt x="3629" y="3738"/>
                  </a:cubicBezTo>
                  <a:cubicBezTo>
                    <a:pt x="3084" y="3738"/>
                    <a:pt x="2642" y="3308"/>
                    <a:pt x="2642" y="2777"/>
                  </a:cubicBezTo>
                  <a:cubicBezTo>
                    <a:pt x="2642" y="2246"/>
                    <a:pt x="3084" y="1816"/>
                    <a:pt x="3629" y="1816"/>
                  </a:cubicBezTo>
                  <a:cubicBezTo>
                    <a:pt x="3663" y="1816"/>
                    <a:pt x="3697" y="1818"/>
                    <a:pt x="3731" y="1821"/>
                  </a:cubicBezTo>
                  <a:cubicBezTo>
                    <a:pt x="3363" y="727"/>
                    <a:pt x="2421" y="1"/>
                    <a:pt x="1367" y="0"/>
                  </a:cubicBezTo>
                  <a:close/>
                </a:path>
              </a:pathLst>
            </a:custGeom>
            <a:grpFill/>
            <a:ln w="103188"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63" name="Freeform 46"/>
            <p:cNvSpPr>
              <a:spLocks/>
            </p:cNvSpPr>
            <p:nvPr/>
          </p:nvSpPr>
          <p:spPr bwMode="auto">
            <a:xfrm>
              <a:off x="1253" y="2117"/>
              <a:ext cx="349" cy="338"/>
            </a:xfrm>
            <a:custGeom>
              <a:avLst/>
              <a:gdLst>
                <a:gd name="T0" fmla="*/ 0 w 1133"/>
                <a:gd name="T1" fmla="*/ 649 h 1099"/>
                <a:gd name="T2" fmla="*/ 737 w 1133"/>
                <a:gd name="T3" fmla="*/ 0 h 1099"/>
                <a:gd name="T4" fmla="*/ 1133 w 1133"/>
                <a:gd name="T5" fmla="*/ 450 h 1099"/>
                <a:gd name="T6" fmla="*/ 396 w 1133"/>
                <a:gd name="T7" fmla="*/ 1099 h 1099"/>
                <a:gd name="T8" fmla="*/ 0 w 1133"/>
                <a:gd name="T9" fmla="*/ 649 h 1099"/>
              </a:gdLst>
              <a:ahLst/>
              <a:cxnLst>
                <a:cxn ang="0">
                  <a:pos x="T0" y="T1"/>
                </a:cxn>
                <a:cxn ang="0">
                  <a:pos x="T2" y="T3"/>
                </a:cxn>
                <a:cxn ang="0">
                  <a:pos x="T4" y="T5"/>
                </a:cxn>
                <a:cxn ang="0">
                  <a:pos x="T6" y="T7"/>
                </a:cxn>
                <a:cxn ang="0">
                  <a:pos x="T8" y="T9"/>
                </a:cxn>
              </a:cxnLst>
              <a:rect l="0" t="0" r="r" b="b"/>
              <a:pathLst>
                <a:path w="1133" h="1099">
                  <a:moveTo>
                    <a:pt x="0" y="649"/>
                  </a:moveTo>
                  <a:lnTo>
                    <a:pt x="737" y="0"/>
                  </a:lnTo>
                  <a:lnTo>
                    <a:pt x="1133" y="450"/>
                  </a:lnTo>
                  <a:lnTo>
                    <a:pt x="396" y="1099"/>
                  </a:lnTo>
                  <a:lnTo>
                    <a:pt x="0" y="649"/>
                  </a:lnTo>
                  <a:close/>
                </a:path>
              </a:pathLst>
            </a:custGeom>
            <a:grpFill/>
            <a:ln w="93663"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64" name="Freeform 47"/>
            <p:cNvSpPr>
              <a:spLocks/>
            </p:cNvSpPr>
            <p:nvPr/>
          </p:nvSpPr>
          <p:spPr bwMode="auto">
            <a:xfrm>
              <a:off x="1237" y="1970"/>
              <a:ext cx="336" cy="250"/>
            </a:xfrm>
            <a:custGeom>
              <a:avLst/>
              <a:gdLst>
                <a:gd name="T0" fmla="*/ 141 w 1095"/>
                <a:gd name="T1" fmla="*/ 0 h 813"/>
                <a:gd name="T2" fmla="*/ 1095 w 1095"/>
                <a:gd name="T3" fmla="*/ 230 h 813"/>
                <a:gd name="T4" fmla="*/ 955 w 1095"/>
                <a:gd name="T5" fmla="*/ 813 h 813"/>
                <a:gd name="T6" fmla="*/ 0 w 1095"/>
                <a:gd name="T7" fmla="*/ 583 h 813"/>
                <a:gd name="T8" fmla="*/ 141 w 1095"/>
                <a:gd name="T9" fmla="*/ 0 h 813"/>
              </a:gdLst>
              <a:ahLst/>
              <a:cxnLst>
                <a:cxn ang="0">
                  <a:pos x="T0" y="T1"/>
                </a:cxn>
                <a:cxn ang="0">
                  <a:pos x="T2" y="T3"/>
                </a:cxn>
                <a:cxn ang="0">
                  <a:pos x="T4" y="T5"/>
                </a:cxn>
                <a:cxn ang="0">
                  <a:pos x="T6" y="T7"/>
                </a:cxn>
                <a:cxn ang="0">
                  <a:pos x="T8" y="T9"/>
                </a:cxn>
              </a:cxnLst>
              <a:rect l="0" t="0" r="r" b="b"/>
              <a:pathLst>
                <a:path w="1095" h="813">
                  <a:moveTo>
                    <a:pt x="141" y="0"/>
                  </a:moveTo>
                  <a:lnTo>
                    <a:pt x="1095" y="230"/>
                  </a:lnTo>
                  <a:lnTo>
                    <a:pt x="955" y="813"/>
                  </a:lnTo>
                  <a:lnTo>
                    <a:pt x="0" y="583"/>
                  </a:lnTo>
                  <a:lnTo>
                    <a:pt x="141" y="0"/>
                  </a:lnTo>
                  <a:close/>
                </a:path>
              </a:pathLst>
            </a:custGeom>
            <a:grpFill/>
            <a:ln w="93663"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65" name="Freeform 48"/>
            <p:cNvSpPr>
              <a:spLocks/>
            </p:cNvSpPr>
            <p:nvPr/>
          </p:nvSpPr>
          <p:spPr bwMode="auto">
            <a:xfrm>
              <a:off x="1495" y="547"/>
              <a:ext cx="1840" cy="1736"/>
            </a:xfrm>
            <a:custGeom>
              <a:avLst/>
              <a:gdLst>
                <a:gd name="T0" fmla="*/ 0 w 5986"/>
                <a:gd name="T1" fmla="*/ 4000 h 5637"/>
                <a:gd name="T2" fmla="*/ 4544 w 5986"/>
                <a:gd name="T3" fmla="*/ 0 h 5637"/>
                <a:gd name="T4" fmla="*/ 5986 w 5986"/>
                <a:gd name="T5" fmla="*/ 1637 h 5637"/>
                <a:gd name="T6" fmla="*/ 1442 w 5986"/>
                <a:gd name="T7" fmla="*/ 5637 h 5637"/>
                <a:gd name="T8" fmla="*/ 0 w 5986"/>
                <a:gd name="T9" fmla="*/ 4000 h 5637"/>
              </a:gdLst>
              <a:ahLst/>
              <a:cxnLst>
                <a:cxn ang="0">
                  <a:pos x="T0" y="T1"/>
                </a:cxn>
                <a:cxn ang="0">
                  <a:pos x="T2" y="T3"/>
                </a:cxn>
                <a:cxn ang="0">
                  <a:pos x="T4" y="T5"/>
                </a:cxn>
                <a:cxn ang="0">
                  <a:pos x="T6" y="T7"/>
                </a:cxn>
                <a:cxn ang="0">
                  <a:pos x="T8" y="T9"/>
                </a:cxn>
              </a:cxnLst>
              <a:rect l="0" t="0" r="r" b="b"/>
              <a:pathLst>
                <a:path w="5986" h="5637">
                  <a:moveTo>
                    <a:pt x="0" y="4000"/>
                  </a:moveTo>
                  <a:lnTo>
                    <a:pt x="4544" y="0"/>
                  </a:lnTo>
                  <a:lnTo>
                    <a:pt x="5986" y="1637"/>
                  </a:lnTo>
                  <a:lnTo>
                    <a:pt x="1442" y="5637"/>
                  </a:lnTo>
                  <a:lnTo>
                    <a:pt x="0" y="4000"/>
                  </a:lnTo>
                  <a:close/>
                </a:path>
              </a:pathLst>
            </a:custGeom>
            <a:grpFill/>
            <a:ln w="93663"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66" name="Freeform 49"/>
            <p:cNvSpPr>
              <a:spLocks/>
            </p:cNvSpPr>
            <p:nvPr/>
          </p:nvSpPr>
          <p:spPr bwMode="auto">
            <a:xfrm>
              <a:off x="1371" y="1814"/>
              <a:ext cx="523" cy="582"/>
            </a:xfrm>
            <a:custGeom>
              <a:avLst/>
              <a:gdLst>
                <a:gd name="T0" fmla="*/ 0 w 1700"/>
                <a:gd name="T1" fmla="*/ 138 h 1892"/>
                <a:gd name="T2" fmla="*/ 156 w 1700"/>
                <a:gd name="T3" fmla="*/ 0 h 1892"/>
                <a:gd name="T4" fmla="*/ 1700 w 1700"/>
                <a:gd name="T5" fmla="*/ 1754 h 1892"/>
                <a:gd name="T6" fmla="*/ 1543 w 1700"/>
                <a:gd name="T7" fmla="*/ 1892 h 1892"/>
                <a:gd name="T8" fmla="*/ 0 w 1700"/>
                <a:gd name="T9" fmla="*/ 138 h 1892"/>
              </a:gdLst>
              <a:ahLst/>
              <a:cxnLst>
                <a:cxn ang="0">
                  <a:pos x="T0" y="T1"/>
                </a:cxn>
                <a:cxn ang="0">
                  <a:pos x="T2" y="T3"/>
                </a:cxn>
                <a:cxn ang="0">
                  <a:pos x="T4" y="T5"/>
                </a:cxn>
                <a:cxn ang="0">
                  <a:pos x="T6" y="T7"/>
                </a:cxn>
                <a:cxn ang="0">
                  <a:pos x="T8" y="T9"/>
                </a:cxn>
              </a:cxnLst>
              <a:rect l="0" t="0" r="r" b="b"/>
              <a:pathLst>
                <a:path w="1700" h="1892">
                  <a:moveTo>
                    <a:pt x="0" y="138"/>
                  </a:moveTo>
                  <a:lnTo>
                    <a:pt x="156" y="0"/>
                  </a:lnTo>
                  <a:lnTo>
                    <a:pt x="1700" y="1754"/>
                  </a:lnTo>
                  <a:lnTo>
                    <a:pt x="1543" y="1892"/>
                  </a:lnTo>
                  <a:lnTo>
                    <a:pt x="0" y="138"/>
                  </a:lnTo>
                  <a:close/>
                </a:path>
              </a:pathLst>
            </a:custGeom>
            <a:grpFill/>
            <a:ln w="17463"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67" name="Freeform 50"/>
            <p:cNvSpPr>
              <a:spLocks/>
            </p:cNvSpPr>
            <p:nvPr/>
          </p:nvSpPr>
          <p:spPr bwMode="auto">
            <a:xfrm>
              <a:off x="1465" y="2155"/>
              <a:ext cx="251" cy="353"/>
            </a:xfrm>
            <a:custGeom>
              <a:avLst/>
              <a:gdLst>
                <a:gd name="T0" fmla="*/ 0 w 816"/>
                <a:gd name="T1" fmla="*/ 51 h 1147"/>
                <a:gd name="T2" fmla="*/ 157 w 816"/>
                <a:gd name="T3" fmla="*/ 1147 h 1147"/>
                <a:gd name="T4" fmla="*/ 816 w 816"/>
                <a:gd name="T5" fmla="*/ 1096 h 1147"/>
                <a:gd name="T6" fmla="*/ 658 w 816"/>
                <a:gd name="T7" fmla="*/ 0 h 1147"/>
                <a:gd name="T8" fmla="*/ 0 w 816"/>
                <a:gd name="T9" fmla="*/ 51 h 1147"/>
              </a:gdLst>
              <a:ahLst/>
              <a:cxnLst>
                <a:cxn ang="0">
                  <a:pos x="T0" y="T1"/>
                </a:cxn>
                <a:cxn ang="0">
                  <a:pos x="T2" y="T3"/>
                </a:cxn>
                <a:cxn ang="0">
                  <a:pos x="T4" y="T5"/>
                </a:cxn>
                <a:cxn ang="0">
                  <a:pos x="T6" y="T7"/>
                </a:cxn>
                <a:cxn ang="0">
                  <a:pos x="T8" y="T9"/>
                </a:cxn>
              </a:cxnLst>
              <a:rect l="0" t="0" r="r" b="b"/>
              <a:pathLst>
                <a:path w="816" h="1147">
                  <a:moveTo>
                    <a:pt x="0" y="51"/>
                  </a:moveTo>
                  <a:lnTo>
                    <a:pt x="157" y="1147"/>
                  </a:lnTo>
                  <a:lnTo>
                    <a:pt x="816" y="1096"/>
                  </a:lnTo>
                  <a:lnTo>
                    <a:pt x="658" y="0"/>
                  </a:lnTo>
                  <a:lnTo>
                    <a:pt x="0" y="51"/>
                  </a:lnTo>
                  <a:close/>
                </a:path>
              </a:pathLst>
            </a:custGeom>
            <a:grpFill/>
            <a:ln w="107950"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68" name="Freeform 51"/>
            <p:cNvSpPr>
              <a:spLocks/>
            </p:cNvSpPr>
            <p:nvPr/>
          </p:nvSpPr>
          <p:spPr bwMode="auto">
            <a:xfrm>
              <a:off x="3095" y="548"/>
              <a:ext cx="243" cy="254"/>
            </a:xfrm>
            <a:custGeom>
              <a:avLst/>
              <a:gdLst>
                <a:gd name="T0" fmla="*/ 0 w 791"/>
                <a:gd name="T1" fmla="*/ 252 h 825"/>
                <a:gd name="T2" fmla="*/ 287 w 791"/>
                <a:gd name="T3" fmla="*/ 0 h 825"/>
                <a:gd name="T4" fmla="*/ 791 w 791"/>
                <a:gd name="T5" fmla="*/ 573 h 825"/>
                <a:gd name="T6" fmla="*/ 505 w 791"/>
                <a:gd name="T7" fmla="*/ 825 h 825"/>
                <a:gd name="T8" fmla="*/ 0 w 791"/>
                <a:gd name="T9" fmla="*/ 252 h 825"/>
              </a:gdLst>
              <a:ahLst/>
              <a:cxnLst>
                <a:cxn ang="0">
                  <a:pos x="T0" y="T1"/>
                </a:cxn>
                <a:cxn ang="0">
                  <a:pos x="T2" y="T3"/>
                </a:cxn>
                <a:cxn ang="0">
                  <a:pos x="T4" y="T5"/>
                </a:cxn>
                <a:cxn ang="0">
                  <a:pos x="T6" y="T7"/>
                </a:cxn>
                <a:cxn ang="0">
                  <a:pos x="T8" y="T9"/>
                </a:cxn>
              </a:cxnLst>
              <a:rect l="0" t="0" r="r" b="b"/>
              <a:pathLst>
                <a:path w="791" h="825">
                  <a:moveTo>
                    <a:pt x="0" y="252"/>
                  </a:moveTo>
                  <a:lnTo>
                    <a:pt x="287" y="0"/>
                  </a:lnTo>
                  <a:lnTo>
                    <a:pt x="791" y="573"/>
                  </a:lnTo>
                  <a:lnTo>
                    <a:pt x="505" y="825"/>
                  </a:lnTo>
                  <a:lnTo>
                    <a:pt x="0" y="252"/>
                  </a:lnTo>
                  <a:close/>
                </a:path>
              </a:pathLst>
            </a:custGeom>
            <a:grpFill/>
            <a:ln w="93663"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69" name="Freeform 52"/>
            <p:cNvSpPr>
              <a:spLocks/>
            </p:cNvSpPr>
            <p:nvPr/>
          </p:nvSpPr>
          <p:spPr bwMode="auto">
            <a:xfrm>
              <a:off x="3057" y="335"/>
              <a:ext cx="483" cy="536"/>
            </a:xfrm>
            <a:custGeom>
              <a:avLst/>
              <a:gdLst>
                <a:gd name="T0" fmla="*/ 0 w 1569"/>
                <a:gd name="T1" fmla="*/ 144 h 1741"/>
                <a:gd name="T2" fmla="*/ 164 w 1569"/>
                <a:gd name="T3" fmla="*/ 0 h 1741"/>
                <a:gd name="T4" fmla="*/ 1569 w 1569"/>
                <a:gd name="T5" fmla="*/ 1596 h 1741"/>
                <a:gd name="T6" fmla="*/ 1406 w 1569"/>
                <a:gd name="T7" fmla="*/ 1741 h 1741"/>
                <a:gd name="T8" fmla="*/ 0 w 1569"/>
                <a:gd name="T9" fmla="*/ 144 h 1741"/>
              </a:gdLst>
              <a:ahLst/>
              <a:cxnLst>
                <a:cxn ang="0">
                  <a:pos x="T0" y="T1"/>
                </a:cxn>
                <a:cxn ang="0">
                  <a:pos x="T2" y="T3"/>
                </a:cxn>
                <a:cxn ang="0">
                  <a:pos x="T4" y="T5"/>
                </a:cxn>
                <a:cxn ang="0">
                  <a:pos x="T6" y="T7"/>
                </a:cxn>
                <a:cxn ang="0">
                  <a:pos x="T8" y="T9"/>
                </a:cxn>
              </a:cxnLst>
              <a:rect l="0" t="0" r="r" b="b"/>
              <a:pathLst>
                <a:path w="1569" h="1741">
                  <a:moveTo>
                    <a:pt x="0" y="144"/>
                  </a:moveTo>
                  <a:lnTo>
                    <a:pt x="164" y="0"/>
                  </a:lnTo>
                  <a:lnTo>
                    <a:pt x="1569" y="1596"/>
                  </a:lnTo>
                  <a:lnTo>
                    <a:pt x="1406" y="1741"/>
                  </a:lnTo>
                  <a:lnTo>
                    <a:pt x="0" y="144"/>
                  </a:lnTo>
                  <a:close/>
                </a:path>
              </a:pathLst>
            </a:custGeom>
            <a:grpFill/>
            <a:ln w="93663"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70" name="Oval 53"/>
            <p:cNvSpPr>
              <a:spLocks noChangeArrowheads="1"/>
            </p:cNvSpPr>
            <p:nvPr/>
          </p:nvSpPr>
          <p:spPr bwMode="auto">
            <a:xfrm>
              <a:off x="3149" y="1751"/>
              <a:ext cx="404" cy="394"/>
            </a:xfrm>
            <a:prstGeom prst="ellipse">
              <a:avLst/>
            </a:prstGeom>
            <a:grpFill/>
            <a:ln w="57150"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71" name="Oval 54"/>
            <p:cNvSpPr>
              <a:spLocks noChangeArrowheads="1"/>
            </p:cNvSpPr>
            <p:nvPr/>
          </p:nvSpPr>
          <p:spPr bwMode="auto">
            <a:xfrm>
              <a:off x="3226" y="1826"/>
              <a:ext cx="251" cy="244"/>
            </a:xfrm>
            <a:prstGeom prst="ellipse">
              <a:avLst/>
            </a:prstGeom>
            <a:grpFill/>
            <a:ln w="34925"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72" name="Freeform 55"/>
            <p:cNvSpPr>
              <a:spLocks/>
            </p:cNvSpPr>
            <p:nvPr/>
          </p:nvSpPr>
          <p:spPr bwMode="auto">
            <a:xfrm>
              <a:off x="1486" y="2102"/>
              <a:ext cx="157" cy="61"/>
            </a:xfrm>
            <a:custGeom>
              <a:avLst/>
              <a:gdLst>
                <a:gd name="T0" fmla="*/ 100 w 512"/>
                <a:gd name="T1" fmla="*/ 0 h 199"/>
                <a:gd name="T2" fmla="*/ 413 w 512"/>
                <a:gd name="T3" fmla="*/ 0 h 199"/>
                <a:gd name="T4" fmla="*/ 512 w 512"/>
                <a:gd name="T5" fmla="*/ 100 h 199"/>
                <a:gd name="T6" fmla="*/ 413 w 512"/>
                <a:gd name="T7" fmla="*/ 199 h 199"/>
                <a:gd name="T8" fmla="*/ 100 w 512"/>
                <a:gd name="T9" fmla="*/ 199 h 199"/>
                <a:gd name="T10" fmla="*/ 0 w 512"/>
                <a:gd name="T11" fmla="*/ 100 h 199"/>
                <a:gd name="T12" fmla="*/ 100 w 512"/>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512" h="199">
                  <a:moveTo>
                    <a:pt x="100" y="0"/>
                  </a:moveTo>
                  <a:lnTo>
                    <a:pt x="413" y="0"/>
                  </a:lnTo>
                  <a:cubicBezTo>
                    <a:pt x="468" y="0"/>
                    <a:pt x="512" y="44"/>
                    <a:pt x="512" y="100"/>
                  </a:cubicBezTo>
                  <a:cubicBezTo>
                    <a:pt x="512" y="155"/>
                    <a:pt x="468" y="199"/>
                    <a:pt x="413" y="199"/>
                  </a:cubicBezTo>
                  <a:lnTo>
                    <a:pt x="100" y="199"/>
                  </a:lnTo>
                  <a:cubicBezTo>
                    <a:pt x="44" y="199"/>
                    <a:pt x="0" y="155"/>
                    <a:pt x="0" y="100"/>
                  </a:cubicBezTo>
                  <a:cubicBezTo>
                    <a:pt x="0" y="44"/>
                    <a:pt x="44" y="0"/>
                    <a:pt x="100" y="0"/>
                  </a:cubicBezTo>
                  <a:close/>
                </a:path>
              </a:pathLst>
            </a:custGeom>
            <a:grpFill/>
            <a:ln w="65088"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74" name="Oval 73">
            <a:extLst>
              <a:ext uri="{FF2B5EF4-FFF2-40B4-BE49-F238E27FC236}">
                <a16:creationId xmlns:a16="http://schemas.microsoft.com/office/drawing/2014/main" id="{FBD7B9C8-ECD4-45E7-8D5A-1B0B3C4E87D7}"/>
              </a:ext>
            </a:extLst>
          </p:cNvPr>
          <p:cNvSpPr>
            <a:spLocks noChangeAspect="1"/>
          </p:cNvSpPr>
          <p:nvPr/>
        </p:nvSpPr>
        <p:spPr>
          <a:xfrm>
            <a:off x="2704840" y="4552637"/>
            <a:ext cx="1085679" cy="1085679"/>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1" i="0" u="none" strike="noStrike" kern="1200" cap="none" spc="0" normalizeH="0" baseline="0" noProof="0" dirty="0">
              <a:ln>
                <a:noFill/>
              </a:ln>
              <a:solidFill>
                <a:prstClr val="black"/>
              </a:solidFill>
              <a:effectLst/>
              <a:uLnTx/>
              <a:uFillTx/>
              <a:latin typeface="Calibri"/>
              <a:ea typeface="+mn-ea"/>
              <a:cs typeface="+mn-cs"/>
            </a:endParaRPr>
          </a:p>
        </p:txBody>
      </p:sp>
      <p:sp>
        <p:nvSpPr>
          <p:cNvPr id="76" name="Construction2" descr="{&quot;Key&quot;:&quot;POWER_USER_SHAPE_ICON&quot;,&quot;Value&quot;:&quot;POWER_USER_SHAPE_ICON_STYLE_1&quot;}">
            <a:extLst>
              <a:ext uri="{FF2B5EF4-FFF2-40B4-BE49-F238E27FC236}">
                <a16:creationId xmlns:a16="http://schemas.microsoft.com/office/drawing/2014/main" id="{5B9712B4-EC0F-437E-AA45-CED6B9B11CED}"/>
              </a:ext>
            </a:extLst>
          </p:cNvPr>
          <p:cNvSpPr>
            <a:spLocks noChangeAspect="1" noEditPoints="1"/>
          </p:cNvSpPr>
          <p:nvPr>
            <p:custDataLst>
              <p:tags r:id="rId5"/>
            </p:custDataLst>
          </p:nvPr>
        </p:nvSpPr>
        <p:spPr bwMode="auto">
          <a:xfrm>
            <a:off x="2897152" y="4830936"/>
            <a:ext cx="721355" cy="484314"/>
          </a:xfrm>
          <a:custGeom>
            <a:avLst/>
            <a:gdLst>
              <a:gd name="T0" fmla="*/ 821 w 1127"/>
              <a:gd name="T1" fmla="*/ 408 h 753"/>
              <a:gd name="T2" fmla="*/ 740 w 1127"/>
              <a:gd name="T3" fmla="*/ 424 h 753"/>
              <a:gd name="T4" fmla="*/ 669 w 1127"/>
              <a:gd name="T5" fmla="*/ 526 h 753"/>
              <a:gd name="T6" fmla="*/ 617 w 1127"/>
              <a:gd name="T7" fmla="*/ 512 h 753"/>
              <a:gd name="T8" fmla="*/ 453 w 1127"/>
              <a:gd name="T9" fmla="*/ 482 h 753"/>
              <a:gd name="T10" fmla="*/ 394 w 1127"/>
              <a:gd name="T11" fmla="*/ 355 h 753"/>
              <a:gd name="T12" fmla="*/ 360 w 1127"/>
              <a:gd name="T13" fmla="*/ 169 h 753"/>
              <a:gd name="T14" fmla="*/ 366 w 1127"/>
              <a:gd name="T15" fmla="*/ 141 h 753"/>
              <a:gd name="T16" fmla="*/ 357 w 1127"/>
              <a:gd name="T17" fmla="*/ 0 h 753"/>
              <a:gd name="T18" fmla="*/ 298 w 1127"/>
              <a:gd name="T19" fmla="*/ 109 h 753"/>
              <a:gd name="T20" fmla="*/ 283 w 1127"/>
              <a:gd name="T21" fmla="*/ 138 h 753"/>
              <a:gd name="T22" fmla="*/ 229 w 1127"/>
              <a:gd name="T23" fmla="*/ 140 h 753"/>
              <a:gd name="T24" fmla="*/ 85 w 1127"/>
              <a:gd name="T25" fmla="*/ 223 h 753"/>
              <a:gd name="T26" fmla="*/ 67 w 1127"/>
              <a:gd name="T27" fmla="*/ 333 h 753"/>
              <a:gd name="T28" fmla="*/ 64 w 1127"/>
              <a:gd name="T29" fmla="*/ 355 h 753"/>
              <a:gd name="T30" fmla="*/ 89 w 1127"/>
              <a:gd name="T31" fmla="*/ 371 h 753"/>
              <a:gd name="T32" fmla="*/ 123 w 1127"/>
              <a:gd name="T33" fmla="*/ 363 h 753"/>
              <a:gd name="T34" fmla="*/ 144 w 1127"/>
              <a:gd name="T35" fmla="*/ 367 h 753"/>
              <a:gd name="T36" fmla="*/ 140 w 1127"/>
              <a:gd name="T37" fmla="*/ 528 h 753"/>
              <a:gd name="T38" fmla="*/ 43 w 1127"/>
              <a:gd name="T39" fmla="*/ 684 h 753"/>
              <a:gd name="T40" fmla="*/ 71 w 1127"/>
              <a:gd name="T41" fmla="*/ 708 h 753"/>
              <a:gd name="T42" fmla="*/ 0 w 1127"/>
              <a:gd name="T43" fmla="*/ 718 h 753"/>
              <a:gd name="T44" fmla="*/ 1127 w 1127"/>
              <a:gd name="T45" fmla="*/ 753 h 753"/>
              <a:gd name="T46" fmla="*/ 128 w 1127"/>
              <a:gd name="T47" fmla="*/ 328 h 753"/>
              <a:gd name="T48" fmla="*/ 198 w 1127"/>
              <a:gd name="T49" fmla="*/ 223 h 753"/>
              <a:gd name="T50" fmla="*/ 193 w 1127"/>
              <a:gd name="T51" fmla="*/ 272 h 753"/>
              <a:gd name="T52" fmla="*/ 128 w 1127"/>
              <a:gd name="T53" fmla="*/ 328 h 753"/>
              <a:gd name="T54" fmla="*/ 142 w 1127"/>
              <a:gd name="T55" fmla="*/ 685 h 753"/>
              <a:gd name="T56" fmla="*/ 143 w 1127"/>
              <a:gd name="T57" fmla="*/ 656 h 753"/>
              <a:gd name="T58" fmla="*/ 223 w 1127"/>
              <a:gd name="T59" fmla="*/ 531 h 753"/>
              <a:gd name="T60" fmla="*/ 235 w 1127"/>
              <a:gd name="T61" fmla="*/ 454 h 753"/>
              <a:gd name="T62" fmla="*/ 300 w 1127"/>
              <a:gd name="T63" fmla="*/ 549 h 753"/>
              <a:gd name="T64" fmla="*/ 160 w 1127"/>
              <a:gd name="T65" fmla="*/ 719 h 753"/>
              <a:gd name="T66" fmla="*/ 303 w 1127"/>
              <a:gd name="T67" fmla="*/ 343 h 753"/>
              <a:gd name="T68" fmla="*/ 335 w 1127"/>
              <a:gd name="T69" fmla="*/ 361 h 753"/>
              <a:gd name="T70" fmla="*/ 367 w 1127"/>
              <a:gd name="T71" fmla="*/ 438 h 753"/>
              <a:gd name="T72" fmla="*/ 297 w 1127"/>
              <a:gd name="T73" fmla="*/ 382 h 753"/>
              <a:gd name="T74" fmla="*/ 535 w 1127"/>
              <a:gd name="T75" fmla="*/ 646 h 753"/>
              <a:gd name="T76" fmla="*/ 495 w 1127"/>
              <a:gd name="T77" fmla="*/ 691 h 753"/>
              <a:gd name="T78" fmla="*/ 461 w 1127"/>
              <a:gd name="T79" fmla="*/ 718 h 753"/>
              <a:gd name="T80" fmla="*/ 382 w 1127"/>
              <a:gd name="T81" fmla="*/ 670 h 753"/>
              <a:gd name="T82" fmla="*/ 375 w 1127"/>
              <a:gd name="T83" fmla="*/ 527 h 753"/>
              <a:gd name="T84" fmla="*/ 342 w 1127"/>
              <a:gd name="T85" fmla="*/ 463 h 753"/>
              <a:gd name="T86" fmla="*/ 552 w 1127"/>
              <a:gd name="T87" fmla="*/ 586 h 753"/>
              <a:gd name="T88" fmla="*/ 583 w 1127"/>
              <a:gd name="T89" fmla="*/ 616 h 753"/>
              <a:gd name="T90" fmla="*/ 548 w 1127"/>
              <a:gd name="T91" fmla="*/ 641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7" h="753">
                <a:moveTo>
                  <a:pt x="871" y="399"/>
                </a:moveTo>
                <a:cubicBezTo>
                  <a:pt x="856" y="377"/>
                  <a:pt x="827" y="404"/>
                  <a:pt x="821" y="408"/>
                </a:cubicBezTo>
                <a:cubicBezTo>
                  <a:pt x="814" y="411"/>
                  <a:pt x="818" y="409"/>
                  <a:pt x="792" y="401"/>
                </a:cubicBezTo>
                <a:cubicBezTo>
                  <a:pt x="765" y="394"/>
                  <a:pt x="746" y="411"/>
                  <a:pt x="740" y="424"/>
                </a:cubicBezTo>
                <a:cubicBezTo>
                  <a:pt x="734" y="437"/>
                  <a:pt x="697" y="511"/>
                  <a:pt x="691" y="523"/>
                </a:cubicBezTo>
                <a:cubicBezTo>
                  <a:pt x="684" y="534"/>
                  <a:pt x="669" y="526"/>
                  <a:pt x="669" y="526"/>
                </a:cubicBezTo>
                <a:cubicBezTo>
                  <a:pt x="669" y="526"/>
                  <a:pt x="643" y="511"/>
                  <a:pt x="634" y="507"/>
                </a:cubicBezTo>
                <a:cubicBezTo>
                  <a:pt x="624" y="504"/>
                  <a:pt x="617" y="512"/>
                  <a:pt x="617" y="512"/>
                </a:cubicBezTo>
                <a:lnTo>
                  <a:pt x="586" y="545"/>
                </a:lnTo>
                <a:cubicBezTo>
                  <a:pt x="586" y="545"/>
                  <a:pt x="466" y="489"/>
                  <a:pt x="453" y="482"/>
                </a:cubicBezTo>
                <a:cubicBezTo>
                  <a:pt x="440" y="474"/>
                  <a:pt x="410" y="398"/>
                  <a:pt x="401" y="382"/>
                </a:cubicBezTo>
                <a:cubicBezTo>
                  <a:pt x="392" y="367"/>
                  <a:pt x="394" y="355"/>
                  <a:pt x="394" y="355"/>
                </a:cubicBezTo>
                <a:cubicBezTo>
                  <a:pt x="394" y="355"/>
                  <a:pt x="392" y="322"/>
                  <a:pt x="391" y="262"/>
                </a:cubicBezTo>
                <a:cubicBezTo>
                  <a:pt x="391" y="203"/>
                  <a:pt x="365" y="177"/>
                  <a:pt x="360" y="169"/>
                </a:cubicBezTo>
                <a:cubicBezTo>
                  <a:pt x="355" y="161"/>
                  <a:pt x="360" y="154"/>
                  <a:pt x="360" y="154"/>
                </a:cubicBezTo>
                <a:lnTo>
                  <a:pt x="366" y="141"/>
                </a:lnTo>
                <a:cubicBezTo>
                  <a:pt x="401" y="136"/>
                  <a:pt x="428" y="107"/>
                  <a:pt x="428" y="70"/>
                </a:cubicBezTo>
                <a:cubicBezTo>
                  <a:pt x="428" y="31"/>
                  <a:pt x="396" y="0"/>
                  <a:pt x="357" y="0"/>
                </a:cubicBezTo>
                <a:cubicBezTo>
                  <a:pt x="318" y="0"/>
                  <a:pt x="287" y="31"/>
                  <a:pt x="287" y="70"/>
                </a:cubicBezTo>
                <a:cubicBezTo>
                  <a:pt x="287" y="85"/>
                  <a:pt x="291" y="98"/>
                  <a:pt x="298" y="109"/>
                </a:cubicBezTo>
                <a:cubicBezTo>
                  <a:pt x="297" y="112"/>
                  <a:pt x="297" y="118"/>
                  <a:pt x="296" y="124"/>
                </a:cubicBezTo>
                <a:cubicBezTo>
                  <a:pt x="296" y="135"/>
                  <a:pt x="283" y="138"/>
                  <a:pt x="283" y="138"/>
                </a:cubicBezTo>
                <a:cubicBezTo>
                  <a:pt x="283" y="138"/>
                  <a:pt x="252" y="137"/>
                  <a:pt x="245" y="137"/>
                </a:cubicBezTo>
                <a:cubicBezTo>
                  <a:pt x="237" y="137"/>
                  <a:pt x="229" y="140"/>
                  <a:pt x="229" y="140"/>
                </a:cubicBezTo>
                <a:cubicBezTo>
                  <a:pt x="229" y="140"/>
                  <a:pt x="110" y="200"/>
                  <a:pt x="97" y="207"/>
                </a:cubicBezTo>
                <a:cubicBezTo>
                  <a:pt x="84" y="213"/>
                  <a:pt x="85" y="223"/>
                  <a:pt x="85" y="223"/>
                </a:cubicBezTo>
                <a:lnTo>
                  <a:pt x="76" y="327"/>
                </a:lnTo>
                <a:cubicBezTo>
                  <a:pt x="76" y="327"/>
                  <a:pt x="70" y="331"/>
                  <a:pt x="67" y="333"/>
                </a:cubicBezTo>
                <a:cubicBezTo>
                  <a:pt x="64" y="335"/>
                  <a:pt x="64" y="339"/>
                  <a:pt x="64" y="339"/>
                </a:cubicBezTo>
                <a:lnTo>
                  <a:pt x="64" y="355"/>
                </a:lnTo>
                <a:cubicBezTo>
                  <a:pt x="64" y="360"/>
                  <a:pt x="71" y="362"/>
                  <a:pt x="71" y="362"/>
                </a:cubicBezTo>
                <a:cubicBezTo>
                  <a:pt x="71" y="362"/>
                  <a:pt x="84" y="368"/>
                  <a:pt x="89" y="371"/>
                </a:cubicBezTo>
                <a:cubicBezTo>
                  <a:pt x="95" y="374"/>
                  <a:pt x="97" y="371"/>
                  <a:pt x="97" y="371"/>
                </a:cubicBezTo>
                <a:cubicBezTo>
                  <a:pt x="97" y="371"/>
                  <a:pt x="118" y="365"/>
                  <a:pt x="123" y="363"/>
                </a:cubicBezTo>
                <a:cubicBezTo>
                  <a:pt x="127" y="360"/>
                  <a:pt x="131" y="360"/>
                  <a:pt x="131" y="360"/>
                </a:cubicBezTo>
                <a:lnTo>
                  <a:pt x="144" y="367"/>
                </a:lnTo>
                <a:cubicBezTo>
                  <a:pt x="144" y="367"/>
                  <a:pt x="147" y="491"/>
                  <a:pt x="147" y="506"/>
                </a:cubicBezTo>
                <a:cubicBezTo>
                  <a:pt x="147" y="520"/>
                  <a:pt x="140" y="528"/>
                  <a:pt x="140" y="528"/>
                </a:cubicBezTo>
                <a:cubicBezTo>
                  <a:pt x="140" y="528"/>
                  <a:pt x="51" y="650"/>
                  <a:pt x="41" y="663"/>
                </a:cubicBezTo>
                <a:cubicBezTo>
                  <a:pt x="32" y="676"/>
                  <a:pt x="43" y="684"/>
                  <a:pt x="43" y="684"/>
                </a:cubicBezTo>
                <a:lnTo>
                  <a:pt x="59" y="694"/>
                </a:lnTo>
                <a:cubicBezTo>
                  <a:pt x="59" y="694"/>
                  <a:pt x="71" y="701"/>
                  <a:pt x="71" y="708"/>
                </a:cubicBezTo>
                <a:cubicBezTo>
                  <a:pt x="71" y="715"/>
                  <a:pt x="61" y="718"/>
                  <a:pt x="61" y="718"/>
                </a:cubicBezTo>
                <a:lnTo>
                  <a:pt x="0" y="718"/>
                </a:lnTo>
                <a:lnTo>
                  <a:pt x="0" y="751"/>
                </a:lnTo>
                <a:lnTo>
                  <a:pt x="1127" y="753"/>
                </a:lnTo>
                <a:lnTo>
                  <a:pt x="871" y="399"/>
                </a:lnTo>
                <a:close/>
                <a:moveTo>
                  <a:pt x="128" y="328"/>
                </a:moveTo>
                <a:cubicBezTo>
                  <a:pt x="127" y="324"/>
                  <a:pt x="134" y="255"/>
                  <a:pt x="134" y="255"/>
                </a:cubicBezTo>
                <a:lnTo>
                  <a:pt x="198" y="223"/>
                </a:lnTo>
                <a:cubicBezTo>
                  <a:pt x="198" y="223"/>
                  <a:pt x="205" y="218"/>
                  <a:pt x="204" y="227"/>
                </a:cubicBezTo>
                <a:cubicBezTo>
                  <a:pt x="204" y="236"/>
                  <a:pt x="193" y="272"/>
                  <a:pt x="193" y="272"/>
                </a:cubicBezTo>
                <a:lnTo>
                  <a:pt x="158" y="343"/>
                </a:lnTo>
                <a:cubicBezTo>
                  <a:pt x="158" y="343"/>
                  <a:pt x="130" y="332"/>
                  <a:pt x="128" y="328"/>
                </a:cubicBezTo>
                <a:close/>
                <a:moveTo>
                  <a:pt x="160" y="719"/>
                </a:moveTo>
                <a:lnTo>
                  <a:pt x="142" y="685"/>
                </a:lnTo>
                <a:cubicBezTo>
                  <a:pt x="142" y="685"/>
                  <a:pt x="139" y="676"/>
                  <a:pt x="139" y="670"/>
                </a:cubicBezTo>
                <a:cubicBezTo>
                  <a:pt x="139" y="665"/>
                  <a:pt x="143" y="656"/>
                  <a:pt x="143" y="656"/>
                </a:cubicBezTo>
                <a:lnTo>
                  <a:pt x="216" y="550"/>
                </a:lnTo>
                <a:cubicBezTo>
                  <a:pt x="216" y="550"/>
                  <a:pt x="221" y="541"/>
                  <a:pt x="223" y="531"/>
                </a:cubicBezTo>
                <a:cubicBezTo>
                  <a:pt x="224" y="521"/>
                  <a:pt x="231" y="453"/>
                  <a:pt x="231" y="453"/>
                </a:cubicBezTo>
                <a:cubicBezTo>
                  <a:pt x="231" y="453"/>
                  <a:pt x="233" y="452"/>
                  <a:pt x="235" y="454"/>
                </a:cubicBezTo>
                <a:cubicBezTo>
                  <a:pt x="238" y="457"/>
                  <a:pt x="295" y="533"/>
                  <a:pt x="295" y="533"/>
                </a:cubicBezTo>
                <a:cubicBezTo>
                  <a:pt x="295" y="533"/>
                  <a:pt x="300" y="543"/>
                  <a:pt x="300" y="549"/>
                </a:cubicBezTo>
                <a:cubicBezTo>
                  <a:pt x="300" y="554"/>
                  <a:pt x="302" y="718"/>
                  <a:pt x="302" y="718"/>
                </a:cubicBezTo>
                <a:lnTo>
                  <a:pt x="160" y="719"/>
                </a:lnTo>
                <a:close/>
                <a:moveTo>
                  <a:pt x="297" y="382"/>
                </a:moveTo>
                <a:cubicBezTo>
                  <a:pt x="297" y="368"/>
                  <a:pt x="296" y="353"/>
                  <a:pt x="303" y="343"/>
                </a:cubicBezTo>
                <a:cubicBezTo>
                  <a:pt x="311" y="333"/>
                  <a:pt x="333" y="308"/>
                  <a:pt x="333" y="308"/>
                </a:cubicBezTo>
                <a:lnTo>
                  <a:pt x="335" y="361"/>
                </a:lnTo>
                <a:cubicBezTo>
                  <a:pt x="335" y="361"/>
                  <a:pt x="335" y="375"/>
                  <a:pt x="340" y="386"/>
                </a:cubicBezTo>
                <a:cubicBezTo>
                  <a:pt x="345" y="396"/>
                  <a:pt x="367" y="438"/>
                  <a:pt x="367" y="438"/>
                </a:cubicBezTo>
                <a:lnTo>
                  <a:pt x="314" y="415"/>
                </a:lnTo>
                <a:cubicBezTo>
                  <a:pt x="314" y="415"/>
                  <a:pt x="297" y="396"/>
                  <a:pt x="297" y="382"/>
                </a:cubicBezTo>
                <a:close/>
                <a:moveTo>
                  <a:pt x="548" y="641"/>
                </a:moveTo>
                <a:cubicBezTo>
                  <a:pt x="548" y="641"/>
                  <a:pt x="540" y="644"/>
                  <a:pt x="535" y="646"/>
                </a:cubicBezTo>
                <a:cubicBezTo>
                  <a:pt x="530" y="648"/>
                  <a:pt x="518" y="650"/>
                  <a:pt x="513" y="665"/>
                </a:cubicBezTo>
                <a:cubicBezTo>
                  <a:pt x="509" y="679"/>
                  <a:pt x="506" y="689"/>
                  <a:pt x="495" y="691"/>
                </a:cubicBezTo>
                <a:cubicBezTo>
                  <a:pt x="485" y="693"/>
                  <a:pt x="483" y="695"/>
                  <a:pt x="476" y="702"/>
                </a:cubicBezTo>
                <a:cubicBezTo>
                  <a:pt x="469" y="709"/>
                  <a:pt x="467" y="717"/>
                  <a:pt x="461" y="718"/>
                </a:cubicBezTo>
                <a:cubicBezTo>
                  <a:pt x="455" y="719"/>
                  <a:pt x="413" y="719"/>
                  <a:pt x="413" y="719"/>
                </a:cubicBezTo>
                <a:lnTo>
                  <a:pt x="382" y="670"/>
                </a:lnTo>
                <a:cubicBezTo>
                  <a:pt x="382" y="670"/>
                  <a:pt x="379" y="663"/>
                  <a:pt x="379" y="656"/>
                </a:cubicBezTo>
                <a:cubicBezTo>
                  <a:pt x="379" y="649"/>
                  <a:pt x="375" y="527"/>
                  <a:pt x="375" y="527"/>
                </a:cubicBezTo>
                <a:cubicBezTo>
                  <a:pt x="375" y="527"/>
                  <a:pt x="374" y="517"/>
                  <a:pt x="369" y="509"/>
                </a:cubicBezTo>
                <a:cubicBezTo>
                  <a:pt x="365" y="502"/>
                  <a:pt x="342" y="463"/>
                  <a:pt x="342" y="463"/>
                </a:cubicBezTo>
                <a:lnTo>
                  <a:pt x="564" y="571"/>
                </a:lnTo>
                <a:lnTo>
                  <a:pt x="552" y="586"/>
                </a:lnTo>
                <a:cubicBezTo>
                  <a:pt x="552" y="586"/>
                  <a:pt x="542" y="598"/>
                  <a:pt x="554" y="603"/>
                </a:cubicBezTo>
                <a:cubicBezTo>
                  <a:pt x="565" y="608"/>
                  <a:pt x="583" y="616"/>
                  <a:pt x="583" y="616"/>
                </a:cubicBezTo>
                <a:lnTo>
                  <a:pt x="584" y="621"/>
                </a:lnTo>
                <a:lnTo>
                  <a:pt x="548" y="641"/>
                </a:lnTo>
                <a:close/>
              </a:path>
            </a:pathLst>
          </a:custGeom>
          <a:solidFill>
            <a:schemeClr val="bg1"/>
          </a:solidFill>
          <a:ln w="0">
            <a:noFill/>
            <a:prstDash val="solid"/>
            <a:round/>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1" i="0" u="none" strike="noStrike" kern="1200" cap="none" spc="0" normalizeH="0" baseline="0" noProof="0" dirty="0">
              <a:ln>
                <a:noFill/>
              </a:ln>
              <a:solidFill>
                <a:prstClr val="black"/>
              </a:solidFill>
              <a:effectLst/>
              <a:uLnTx/>
              <a:uFillTx/>
              <a:latin typeface="Calibri"/>
              <a:ea typeface="+mn-ea"/>
              <a:cs typeface="+mn-cs"/>
            </a:endParaRPr>
          </a:p>
        </p:txBody>
      </p:sp>
      <p:sp>
        <p:nvSpPr>
          <p:cNvPr id="78" name="Oval 77">
            <a:extLst>
              <a:ext uri="{FF2B5EF4-FFF2-40B4-BE49-F238E27FC236}">
                <a16:creationId xmlns:a16="http://schemas.microsoft.com/office/drawing/2014/main" id="{9F8E97BB-1293-459A-8924-96127B7F3BCF}"/>
              </a:ext>
            </a:extLst>
          </p:cNvPr>
          <p:cNvSpPr>
            <a:spLocks noChangeAspect="1"/>
          </p:cNvSpPr>
          <p:nvPr/>
        </p:nvSpPr>
        <p:spPr>
          <a:xfrm>
            <a:off x="4739503" y="4553559"/>
            <a:ext cx="1085679" cy="1085679"/>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80" name="TextBox 79">
            <a:extLst>
              <a:ext uri="{FF2B5EF4-FFF2-40B4-BE49-F238E27FC236}">
                <a16:creationId xmlns:a16="http://schemas.microsoft.com/office/drawing/2014/main" id="{26E97638-EEC9-40A2-805A-709F16A46E9F}"/>
              </a:ext>
            </a:extLst>
          </p:cNvPr>
          <p:cNvSpPr txBox="1"/>
          <p:nvPr/>
        </p:nvSpPr>
        <p:spPr>
          <a:xfrm>
            <a:off x="5239484" y="5347326"/>
            <a:ext cx="1997064" cy="830997"/>
          </a:xfrm>
          <a:prstGeom prst="rect">
            <a:avLst/>
          </a:prstGeom>
          <a:noFill/>
        </p:spPr>
        <p:txBody>
          <a:bodyPr wrap="square" rtlCol="0">
            <a:spAutoFit/>
          </a:bodyPr>
          <a:lstStyle/>
          <a:p>
            <a:pPr marL="0" marR="0" lvl="0" indent="0" algn="ctr" defTabSz="914439" rtl="0" eaLnBrk="1" fontAlgn="base" latinLnBrk="0" hangingPunct="1">
              <a:lnSpc>
                <a:spcPct val="100000"/>
              </a:lnSpc>
              <a:spcBef>
                <a:spcPct val="0"/>
              </a:spcBef>
              <a:spcAft>
                <a:spcPct val="0"/>
              </a:spcAft>
              <a:buClrTx/>
              <a:buSzTx/>
              <a:buFontTx/>
              <a:buNone/>
              <a:tabLst/>
              <a:defRPr/>
            </a:pPr>
            <a:r>
              <a:rPr kumimoji="0" lang="lt-LT" sz="1200" b="1" i="0" u="none" strike="noStrike" kern="1200" cap="none" spc="0" normalizeH="0" baseline="0" noProof="0" dirty="0">
                <a:ln>
                  <a:noFill/>
                </a:ln>
                <a:solidFill>
                  <a:srgbClr val="0091DC"/>
                </a:solidFill>
                <a:effectLst/>
                <a:uLnTx/>
                <a:uFillTx/>
                <a:latin typeface="MetaPlusLF"/>
                <a:ea typeface="+mn-ea"/>
              </a:rPr>
              <a:t>2015</a:t>
            </a:r>
            <a:r>
              <a:rPr kumimoji="0" lang="en-GB" sz="1200" b="1" i="0" u="none" strike="noStrike" kern="1200" cap="none" spc="0" normalizeH="0" baseline="0" noProof="0" dirty="0">
                <a:ln>
                  <a:noFill/>
                </a:ln>
                <a:solidFill>
                  <a:srgbClr val="0091DC"/>
                </a:solidFill>
                <a:effectLst/>
                <a:uLnTx/>
                <a:uFillTx/>
                <a:latin typeface="MetaPlusLF"/>
                <a:ea typeface="+mn-ea"/>
              </a:rPr>
              <a:t> </a:t>
            </a:r>
          </a:p>
          <a:p>
            <a:pPr marL="0" marR="0" lvl="0" indent="0" algn="ctr" defTabSz="914439" rtl="0" eaLnBrk="1" fontAlgn="base" latinLnBrk="0" hangingPunct="1">
              <a:lnSpc>
                <a:spcPct val="100000"/>
              </a:lnSpc>
              <a:spcBef>
                <a:spcPct val="0"/>
              </a:spcBef>
              <a:spcAft>
                <a:spcPct val="0"/>
              </a:spcAft>
              <a:buClrTx/>
              <a:buSzTx/>
              <a:buFontTx/>
              <a:buNone/>
              <a:tabLst/>
              <a:defRPr/>
            </a:pPr>
            <a:r>
              <a:rPr kumimoji="0" lang="lt-LT" sz="1200" b="0" i="0" u="none" strike="noStrike" kern="1200" cap="none" spc="0" normalizeH="0" baseline="0" noProof="0" dirty="0">
                <a:ln>
                  <a:noFill/>
                </a:ln>
                <a:solidFill>
                  <a:srgbClr val="000000"/>
                </a:solidFill>
                <a:effectLst/>
                <a:uLnTx/>
                <a:uFillTx/>
                <a:latin typeface="MetaPlusLF" charset="0"/>
                <a:ea typeface="+mn-ea"/>
              </a:rPr>
              <a:t>HR </a:t>
            </a:r>
            <a:r>
              <a:rPr kumimoji="0" lang="en-US" sz="1200" b="0" i="0" u="none" strike="noStrike" kern="1200" cap="none" spc="0" normalizeH="0" baseline="0" noProof="0" dirty="0">
                <a:ln>
                  <a:noFill/>
                </a:ln>
                <a:solidFill>
                  <a:srgbClr val="000000"/>
                </a:solidFill>
                <a:effectLst/>
                <a:uLnTx/>
                <a:uFillTx/>
                <a:latin typeface="MetaPlusLF" charset="0"/>
                <a:ea typeface="+mn-ea"/>
              </a:rPr>
              <a:t>, Finance, IT/Finance </a:t>
            </a:r>
            <a:r>
              <a:rPr kumimoji="0" lang="lt-LT" sz="1200" b="0" i="0" u="none" strike="noStrike" kern="1200" cap="none" spc="0" normalizeH="0" baseline="0" noProof="0" dirty="0">
                <a:ln>
                  <a:noFill/>
                </a:ln>
                <a:solidFill>
                  <a:srgbClr val="000000"/>
                </a:solidFill>
                <a:effectLst/>
                <a:uLnTx/>
                <a:uFillTx/>
                <a:latin typeface="MetaPlusLF" charset="0"/>
                <a:ea typeface="+mn-ea"/>
              </a:rPr>
              <a:t>funkcijos;</a:t>
            </a:r>
            <a:r>
              <a:rPr kumimoji="0" lang="en-US" sz="1200" b="0" i="0" u="none" strike="noStrike" kern="1200" cap="none" spc="0" normalizeH="0" baseline="0" noProof="0" dirty="0">
                <a:ln>
                  <a:noFill/>
                </a:ln>
                <a:solidFill>
                  <a:srgbClr val="000000"/>
                </a:solidFill>
                <a:effectLst/>
                <a:uLnTx/>
                <a:uFillTx/>
                <a:latin typeface="MetaPlusLF" charset="0"/>
                <a:ea typeface="+mn-ea"/>
              </a:rPr>
              <a:t> CMS Region Americas</a:t>
            </a:r>
          </a:p>
        </p:txBody>
      </p:sp>
      <p:sp>
        <p:nvSpPr>
          <p:cNvPr id="81" name="Construction2" descr="{&quot;Key&quot;:&quot;POWER_USER_SHAPE_ICON&quot;,&quot;Value&quot;:&quot;POWER_USER_SHAPE_ICON_STYLE_1&quot;}">
            <a:extLst>
              <a:ext uri="{FF2B5EF4-FFF2-40B4-BE49-F238E27FC236}">
                <a16:creationId xmlns:a16="http://schemas.microsoft.com/office/drawing/2014/main" id="{F5443023-B3F4-4077-A14F-25022BBB109F}"/>
              </a:ext>
            </a:extLst>
          </p:cNvPr>
          <p:cNvSpPr>
            <a:spLocks noChangeAspect="1" noEditPoints="1"/>
          </p:cNvSpPr>
          <p:nvPr>
            <p:custDataLst>
              <p:tags r:id="rId6"/>
            </p:custDataLst>
          </p:nvPr>
        </p:nvSpPr>
        <p:spPr bwMode="auto">
          <a:xfrm>
            <a:off x="4931815" y="4831858"/>
            <a:ext cx="721355" cy="484314"/>
          </a:xfrm>
          <a:custGeom>
            <a:avLst/>
            <a:gdLst>
              <a:gd name="T0" fmla="*/ 821 w 1127"/>
              <a:gd name="T1" fmla="*/ 408 h 753"/>
              <a:gd name="T2" fmla="*/ 740 w 1127"/>
              <a:gd name="T3" fmla="*/ 424 h 753"/>
              <a:gd name="T4" fmla="*/ 669 w 1127"/>
              <a:gd name="T5" fmla="*/ 526 h 753"/>
              <a:gd name="T6" fmla="*/ 617 w 1127"/>
              <a:gd name="T7" fmla="*/ 512 h 753"/>
              <a:gd name="T8" fmla="*/ 453 w 1127"/>
              <a:gd name="T9" fmla="*/ 482 h 753"/>
              <a:gd name="T10" fmla="*/ 394 w 1127"/>
              <a:gd name="T11" fmla="*/ 355 h 753"/>
              <a:gd name="T12" fmla="*/ 360 w 1127"/>
              <a:gd name="T13" fmla="*/ 169 h 753"/>
              <a:gd name="T14" fmla="*/ 366 w 1127"/>
              <a:gd name="T15" fmla="*/ 141 h 753"/>
              <a:gd name="T16" fmla="*/ 357 w 1127"/>
              <a:gd name="T17" fmla="*/ 0 h 753"/>
              <a:gd name="T18" fmla="*/ 298 w 1127"/>
              <a:gd name="T19" fmla="*/ 109 h 753"/>
              <a:gd name="T20" fmla="*/ 283 w 1127"/>
              <a:gd name="T21" fmla="*/ 138 h 753"/>
              <a:gd name="T22" fmla="*/ 229 w 1127"/>
              <a:gd name="T23" fmla="*/ 140 h 753"/>
              <a:gd name="T24" fmla="*/ 85 w 1127"/>
              <a:gd name="T25" fmla="*/ 223 h 753"/>
              <a:gd name="T26" fmla="*/ 67 w 1127"/>
              <a:gd name="T27" fmla="*/ 333 h 753"/>
              <a:gd name="T28" fmla="*/ 64 w 1127"/>
              <a:gd name="T29" fmla="*/ 355 h 753"/>
              <a:gd name="T30" fmla="*/ 89 w 1127"/>
              <a:gd name="T31" fmla="*/ 371 h 753"/>
              <a:gd name="T32" fmla="*/ 123 w 1127"/>
              <a:gd name="T33" fmla="*/ 363 h 753"/>
              <a:gd name="T34" fmla="*/ 144 w 1127"/>
              <a:gd name="T35" fmla="*/ 367 h 753"/>
              <a:gd name="T36" fmla="*/ 140 w 1127"/>
              <a:gd name="T37" fmla="*/ 528 h 753"/>
              <a:gd name="T38" fmla="*/ 43 w 1127"/>
              <a:gd name="T39" fmla="*/ 684 h 753"/>
              <a:gd name="T40" fmla="*/ 71 w 1127"/>
              <a:gd name="T41" fmla="*/ 708 h 753"/>
              <a:gd name="T42" fmla="*/ 0 w 1127"/>
              <a:gd name="T43" fmla="*/ 718 h 753"/>
              <a:gd name="T44" fmla="*/ 1127 w 1127"/>
              <a:gd name="T45" fmla="*/ 753 h 753"/>
              <a:gd name="T46" fmla="*/ 128 w 1127"/>
              <a:gd name="T47" fmla="*/ 328 h 753"/>
              <a:gd name="T48" fmla="*/ 198 w 1127"/>
              <a:gd name="T49" fmla="*/ 223 h 753"/>
              <a:gd name="T50" fmla="*/ 193 w 1127"/>
              <a:gd name="T51" fmla="*/ 272 h 753"/>
              <a:gd name="T52" fmla="*/ 128 w 1127"/>
              <a:gd name="T53" fmla="*/ 328 h 753"/>
              <a:gd name="T54" fmla="*/ 142 w 1127"/>
              <a:gd name="T55" fmla="*/ 685 h 753"/>
              <a:gd name="T56" fmla="*/ 143 w 1127"/>
              <a:gd name="T57" fmla="*/ 656 h 753"/>
              <a:gd name="T58" fmla="*/ 223 w 1127"/>
              <a:gd name="T59" fmla="*/ 531 h 753"/>
              <a:gd name="T60" fmla="*/ 235 w 1127"/>
              <a:gd name="T61" fmla="*/ 454 h 753"/>
              <a:gd name="T62" fmla="*/ 300 w 1127"/>
              <a:gd name="T63" fmla="*/ 549 h 753"/>
              <a:gd name="T64" fmla="*/ 160 w 1127"/>
              <a:gd name="T65" fmla="*/ 719 h 753"/>
              <a:gd name="T66" fmla="*/ 303 w 1127"/>
              <a:gd name="T67" fmla="*/ 343 h 753"/>
              <a:gd name="T68" fmla="*/ 335 w 1127"/>
              <a:gd name="T69" fmla="*/ 361 h 753"/>
              <a:gd name="T70" fmla="*/ 367 w 1127"/>
              <a:gd name="T71" fmla="*/ 438 h 753"/>
              <a:gd name="T72" fmla="*/ 297 w 1127"/>
              <a:gd name="T73" fmla="*/ 382 h 753"/>
              <a:gd name="T74" fmla="*/ 535 w 1127"/>
              <a:gd name="T75" fmla="*/ 646 h 753"/>
              <a:gd name="T76" fmla="*/ 495 w 1127"/>
              <a:gd name="T77" fmla="*/ 691 h 753"/>
              <a:gd name="T78" fmla="*/ 461 w 1127"/>
              <a:gd name="T79" fmla="*/ 718 h 753"/>
              <a:gd name="T80" fmla="*/ 382 w 1127"/>
              <a:gd name="T81" fmla="*/ 670 h 753"/>
              <a:gd name="T82" fmla="*/ 375 w 1127"/>
              <a:gd name="T83" fmla="*/ 527 h 753"/>
              <a:gd name="T84" fmla="*/ 342 w 1127"/>
              <a:gd name="T85" fmla="*/ 463 h 753"/>
              <a:gd name="T86" fmla="*/ 552 w 1127"/>
              <a:gd name="T87" fmla="*/ 586 h 753"/>
              <a:gd name="T88" fmla="*/ 583 w 1127"/>
              <a:gd name="T89" fmla="*/ 616 h 753"/>
              <a:gd name="T90" fmla="*/ 548 w 1127"/>
              <a:gd name="T91" fmla="*/ 641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7" h="753">
                <a:moveTo>
                  <a:pt x="871" y="399"/>
                </a:moveTo>
                <a:cubicBezTo>
                  <a:pt x="856" y="377"/>
                  <a:pt x="827" y="404"/>
                  <a:pt x="821" y="408"/>
                </a:cubicBezTo>
                <a:cubicBezTo>
                  <a:pt x="814" y="411"/>
                  <a:pt x="818" y="409"/>
                  <a:pt x="792" y="401"/>
                </a:cubicBezTo>
                <a:cubicBezTo>
                  <a:pt x="765" y="394"/>
                  <a:pt x="746" y="411"/>
                  <a:pt x="740" y="424"/>
                </a:cubicBezTo>
                <a:cubicBezTo>
                  <a:pt x="734" y="437"/>
                  <a:pt x="697" y="511"/>
                  <a:pt x="691" y="523"/>
                </a:cubicBezTo>
                <a:cubicBezTo>
                  <a:pt x="684" y="534"/>
                  <a:pt x="669" y="526"/>
                  <a:pt x="669" y="526"/>
                </a:cubicBezTo>
                <a:cubicBezTo>
                  <a:pt x="669" y="526"/>
                  <a:pt x="643" y="511"/>
                  <a:pt x="634" y="507"/>
                </a:cubicBezTo>
                <a:cubicBezTo>
                  <a:pt x="624" y="504"/>
                  <a:pt x="617" y="512"/>
                  <a:pt x="617" y="512"/>
                </a:cubicBezTo>
                <a:lnTo>
                  <a:pt x="586" y="545"/>
                </a:lnTo>
                <a:cubicBezTo>
                  <a:pt x="586" y="545"/>
                  <a:pt x="466" y="489"/>
                  <a:pt x="453" y="482"/>
                </a:cubicBezTo>
                <a:cubicBezTo>
                  <a:pt x="440" y="474"/>
                  <a:pt x="410" y="398"/>
                  <a:pt x="401" y="382"/>
                </a:cubicBezTo>
                <a:cubicBezTo>
                  <a:pt x="392" y="367"/>
                  <a:pt x="394" y="355"/>
                  <a:pt x="394" y="355"/>
                </a:cubicBezTo>
                <a:cubicBezTo>
                  <a:pt x="394" y="355"/>
                  <a:pt x="392" y="322"/>
                  <a:pt x="391" y="262"/>
                </a:cubicBezTo>
                <a:cubicBezTo>
                  <a:pt x="391" y="203"/>
                  <a:pt x="365" y="177"/>
                  <a:pt x="360" y="169"/>
                </a:cubicBezTo>
                <a:cubicBezTo>
                  <a:pt x="355" y="161"/>
                  <a:pt x="360" y="154"/>
                  <a:pt x="360" y="154"/>
                </a:cubicBezTo>
                <a:lnTo>
                  <a:pt x="366" y="141"/>
                </a:lnTo>
                <a:cubicBezTo>
                  <a:pt x="401" y="136"/>
                  <a:pt x="428" y="107"/>
                  <a:pt x="428" y="70"/>
                </a:cubicBezTo>
                <a:cubicBezTo>
                  <a:pt x="428" y="31"/>
                  <a:pt x="396" y="0"/>
                  <a:pt x="357" y="0"/>
                </a:cubicBezTo>
                <a:cubicBezTo>
                  <a:pt x="318" y="0"/>
                  <a:pt x="287" y="31"/>
                  <a:pt x="287" y="70"/>
                </a:cubicBezTo>
                <a:cubicBezTo>
                  <a:pt x="287" y="85"/>
                  <a:pt x="291" y="98"/>
                  <a:pt x="298" y="109"/>
                </a:cubicBezTo>
                <a:cubicBezTo>
                  <a:pt x="297" y="112"/>
                  <a:pt x="297" y="118"/>
                  <a:pt x="296" y="124"/>
                </a:cubicBezTo>
                <a:cubicBezTo>
                  <a:pt x="296" y="135"/>
                  <a:pt x="283" y="138"/>
                  <a:pt x="283" y="138"/>
                </a:cubicBezTo>
                <a:cubicBezTo>
                  <a:pt x="283" y="138"/>
                  <a:pt x="252" y="137"/>
                  <a:pt x="245" y="137"/>
                </a:cubicBezTo>
                <a:cubicBezTo>
                  <a:pt x="237" y="137"/>
                  <a:pt x="229" y="140"/>
                  <a:pt x="229" y="140"/>
                </a:cubicBezTo>
                <a:cubicBezTo>
                  <a:pt x="229" y="140"/>
                  <a:pt x="110" y="200"/>
                  <a:pt x="97" y="207"/>
                </a:cubicBezTo>
                <a:cubicBezTo>
                  <a:pt x="84" y="213"/>
                  <a:pt x="85" y="223"/>
                  <a:pt x="85" y="223"/>
                </a:cubicBezTo>
                <a:lnTo>
                  <a:pt x="76" y="327"/>
                </a:lnTo>
                <a:cubicBezTo>
                  <a:pt x="76" y="327"/>
                  <a:pt x="70" y="331"/>
                  <a:pt x="67" y="333"/>
                </a:cubicBezTo>
                <a:cubicBezTo>
                  <a:pt x="64" y="335"/>
                  <a:pt x="64" y="339"/>
                  <a:pt x="64" y="339"/>
                </a:cubicBezTo>
                <a:lnTo>
                  <a:pt x="64" y="355"/>
                </a:lnTo>
                <a:cubicBezTo>
                  <a:pt x="64" y="360"/>
                  <a:pt x="71" y="362"/>
                  <a:pt x="71" y="362"/>
                </a:cubicBezTo>
                <a:cubicBezTo>
                  <a:pt x="71" y="362"/>
                  <a:pt x="84" y="368"/>
                  <a:pt x="89" y="371"/>
                </a:cubicBezTo>
                <a:cubicBezTo>
                  <a:pt x="95" y="374"/>
                  <a:pt x="97" y="371"/>
                  <a:pt x="97" y="371"/>
                </a:cubicBezTo>
                <a:cubicBezTo>
                  <a:pt x="97" y="371"/>
                  <a:pt x="118" y="365"/>
                  <a:pt x="123" y="363"/>
                </a:cubicBezTo>
                <a:cubicBezTo>
                  <a:pt x="127" y="360"/>
                  <a:pt x="131" y="360"/>
                  <a:pt x="131" y="360"/>
                </a:cubicBezTo>
                <a:lnTo>
                  <a:pt x="144" y="367"/>
                </a:lnTo>
                <a:cubicBezTo>
                  <a:pt x="144" y="367"/>
                  <a:pt x="147" y="491"/>
                  <a:pt x="147" y="506"/>
                </a:cubicBezTo>
                <a:cubicBezTo>
                  <a:pt x="147" y="520"/>
                  <a:pt x="140" y="528"/>
                  <a:pt x="140" y="528"/>
                </a:cubicBezTo>
                <a:cubicBezTo>
                  <a:pt x="140" y="528"/>
                  <a:pt x="51" y="650"/>
                  <a:pt x="41" y="663"/>
                </a:cubicBezTo>
                <a:cubicBezTo>
                  <a:pt x="32" y="676"/>
                  <a:pt x="43" y="684"/>
                  <a:pt x="43" y="684"/>
                </a:cubicBezTo>
                <a:lnTo>
                  <a:pt x="59" y="694"/>
                </a:lnTo>
                <a:cubicBezTo>
                  <a:pt x="59" y="694"/>
                  <a:pt x="71" y="701"/>
                  <a:pt x="71" y="708"/>
                </a:cubicBezTo>
                <a:cubicBezTo>
                  <a:pt x="71" y="715"/>
                  <a:pt x="61" y="718"/>
                  <a:pt x="61" y="718"/>
                </a:cubicBezTo>
                <a:lnTo>
                  <a:pt x="0" y="718"/>
                </a:lnTo>
                <a:lnTo>
                  <a:pt x="0" y="751"/>
                </a:lnTo>
                <a:lnTo>
                  <a:pt x="1127" y="753"/>
                </a:lnTo>
                <a:lnTo>
                  <a:pt x="871" y="399"/>
                </a:lnTo>
                <a:close/>
                <a:moveTo>
                  <a:pt x="128" y="328"/>
                </a:moveTo>
                <a:cubicBezTo>
                  <a:pt x="127" y="324"/>
                  <a:pt x="134" y="255"/>
                  <a:pt x="134" y="255"/>
                </a:cubicBezTo>
                <a:lnTo>
                  <a:pt x="198" y="223"/>
                </a:lnTo>
                <a:cubicBezTo>
                  <a:pt x="198" y="223"/>
                  <a:pt x="205" y="218"/>
                  <a:pt x="204" y="227"/>
                </a:cubicBezTo>
                <a:cubicBezTo>
                  <a:pt x="204" y="236"/>
                  <a:pt x="193" y="272"/>
                  <a:pt x="193" y="272"/>
                </a:cubicBezTo>
                <a:lnTo>
                  <a:pt x="158" y="343"/>
                </a:lnTo>
                <a:cubicBezTo>
                  <a:pt x="158" y="343"/>
                  <a:pt x="130" y="332"/>
                  <a:pt x="128" y="328"/>
                </a:cubicBezTo>
                <a:close/>
                <a:moveTo>
                  <a:pt x="160" y="719"/>
                </a:moveTo>
                <a:lnTo>
                  <a:pt x="142" y="685"/>
                </a:lnTo>
                <a:cubicBezTo>
                  <a:pt x="142" y="685"/>
                  <a:pt x="139" y="676"/>
                  <a:pt x="139" y="670"/>
                </a:cubicBezTo>
                <a:cubicBezTo>
                  <a:pt x="139" y="665"/>
                  <a:pt x="143" y="656"/>
                  <a:pt x="143" y="656"/>
                </a:cubicBezTo>
                <a:lnTo>
                  <a:pt x="216" y="550"/>
                </a:lnTo>
                <a:cubicBezTo>
                  <a:pt x="216" y="550"/>
                  <a:pt x="221" y="541"/>
                  <a:pt x="223" y="531"/>
                </a:cubicBezTo>
                <a:cubicBezTo>
                  <a:pt x="224" y="521"/>
                  <a:pt x="231" y="453"/>
                  <a:pt x="231" y="453"/>
                </a:cubicBezTo>
                <a:cubicBezTo>
                  <a:pt x="231" y="453"/>
                  <a:pt x="233" y="452"/>
                  <a:pt x="235" y="454"/>
                </a:cubicBezTo>
                <a:cubicBezTo>
                  <a:pt x="238" y="457"/>
                  <a:pt x="295" y="533"/>
                  <a:pt x="295" y="533"/>
                </a:cubicBezTo>
                <a:cubicBezTo>
                  <a:pt x="295" y="533"/>
                  <a:pt x="300" y="543"/>
                  <a:pt x="300" y="549"/>
                </a:cubicBezTo>
                <a:cubicBezTo>
                  <a:pt x="300" y="554"/>
                  <a:pt x="302" y="718"/>
                  <a:pt x="302" y="718"/>
                </a:cubicBezTo>
                <a:lnTo>
                  <a:pt x="160" y="719"/>
                </a:lnTo>
                <a:close/>
                <a:moveTo>
                  <a:pt x="297" y="382"/>
                </a:moveTo>
                <a:cubicBezTo>
                  <a:pt x="297" y="368"/>
                  <a:pt x="296" y="353"/>
                  <a:pt x="303" y="343"/>
                </a:cubicBezTo>
                <a:cubicBezTo>
                  <a:pt x="311" y="333"/>
                  <a:pt x="333" y="308"/>
                  <a:pt x="333" y="308"/>
                </a:cubicBezTo>
                <a:lnTo>
                  <a:pt x="335" y="361"/>
                </a:lnTo>
                <a:cubicBezTo>
                  <a:pt x="335" y="361"/>
                  <a:pt x="335" y="375"/>
                  <a:pt x="340" y="386"/>
                </a:cubicBezTo>
                <a:cubicBezTo>
                  <a:pt x="345" y="396"/>
                  <a:pt x="367" y="438"/>
                  <a:pt x="367" y="438"/>
                </a:cubicBezTo>
                <a:lnTo>
                  <a:pt x="314" y="415"/>
                </a:lnTo>
                <a:cubicBezTo>
                  <a:pt x="314" y="415"/>
                  <a:pt x="297" y="396"/>
                  <a:pt x="297" y="382"/>
                </a:cubicBezTo>
                <a:close/>
                <a:moveTo>
                  <a:pt x="548" y="641"/>
                </a:moveTo>
                <a:cubicBezTo>
                  <a:pt x="548" y="641"/>
                  <a:pt x="540" y="644"/>
                  <a:pt x="535" y="646"/>
                </a:cubicBezTo>
                <a:cubicBezTo>
                  <a:pt x="530" y="648"/>
                  <a:pt x="518" y="650"/>
                  <a:pt x="513" y="665"/>
                </a:cubicBezTo>
                <a:cubicBezTo>
                  <a:pt x="509" y="679"/>
                  <a:pt x="506" y="689"/>
                  <a:pt x="495" y="691"/>
                </a:cubicBezTo>
                <a:cubicBezTo>
                  <a:pt x="485" y="693"/>
                  <a:pt x="483" y="695"/>
                  <a:pt x="476" y="702"/>
                </a:cubicBezTo>
                <a:cubicBezTo>
                  <a:pt x="469" y="709"/>
                  <a:pt x="467" y="717"/>
                  <a:pt x="461" y="718"/>
                </a:cubicBezTo>
                <a:cubicBezTo>
                  <a:pt x="455" y="719"/>
                  <a:pt x="413" y="719"/>
                  <a:pt x="413" y="719"/>
                </a:cubicBezTo>
                <a:lnTo>
                  <a:pt x="382" y="670"/>
                </a:lnTo>
                <a:cubicBezTo>
                  <a:pt x="382" y="670"/>
                  <a:pt x="379" y="663"/>
                  <a:pt x="379" y="656"/>
                </a:cubicBezTo>
                <a:cubicBezTo>
                  <a:pt x="379" y="649"/>
                  <a:pt x="375" y="527"/>
                  <a:pt x="375" y="527"/>
                </a:cubicBezTo>
                <a:cubicBezTo>
                  <a:pt x="375" y="527"/>
                  <a:pt x="374" y="517"/>
                  <a:pt x="369" y="509"/>
                </a:cubicBezTo>
                <a:cubicBezTo>
                  <a:pt x="365" y="502"/>
                  <a:pt x="342" y="463"/>
                  <a:pt x="342" y="463"/>
                </a:cubicBezTo>
                <a:lnTo>
                  <a:pt x="564" y="571"/>
                </a:lnTo>
                <a:lnTo>
                  <a:pt x="552" y="586"/>
                </a:lnTo>
                <a:cubicBezTo>
                  <a:pt x="552" y="586"/>
                  <a:pt x="542" y="598"/>
                  <a:pt x="554" y="603"/>
                </a:cubicBezTo>
                <a:cubicBezTo>
                  <a:pt x="565" y="608"/>
                  <a:pt x="583" y="616"/>
                  <a:pt x="583" y="616"/>
                </a:cubicBezTo>
                <a:lnTo>
                  <a:pt x="584" y="621"/>
                </a:lnTo>
                <a:lnTo>
                  <a:pt x="548" y="641"/>
                </a:lnTo>
                <a:close/>
              </a:path>
            </a:pathLst>
          </a:custGeom>
          <a:solidFill>
            <a:schemeClr val="bg1"/>
          </a:solidFill>
          <a:ln w="0">
            <a:noFill/>
            <a:prstDash val="solid"/>
            <a:round/>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83" name="Oval 82">
            <a:extLst>
              <a:ext uri="{FF2B5EF4-FFF2-40B4-BE49-F238E27FC236}">
                <a16:creationId xmlns:a16="http://schemas.microsoft.com/office/drawing/2014/main" id="{2A52C707-324D-4FD8-B052-303A9DDDA7A3}"/>
              </a:ext>
            </a:extLst>
          </p:cNvPr>
          <p:cNvSpPr>
            <a:spLocks noChangeAspect="1"/>
          </p:cNvSpPr>
          <p:nvPr/>
        </p:nvSpPr>
        <p:spPr>
          <a:xfrm>
            <a:off x="6831316" y="4544341"/>
            <a:ext cx="1085679" cy="1085679"/>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85" name="TextBox 84">
            <a:extLst>
              <a:ext uri="{FF2B5EF4-FFF2-40B4-BE49-F238E27FC236}">
                <a16:creationId xmlns:a16="http://schemas.microsoft.com/office/drawing/2014/main" id="{8233A5F6-96DC-407A-9CA2-3BB0E9ED6FA2}"/>
              </a:ext>
            </a:extLst>
          </p:cNvPr>
          <p:cNvSpPr txBox="1"/>
          <p:nvPr/>
        </p:nvSpPr>
        <p:spPr>
          <a:xfrm>
            <a:off x="7411122" y="5366794"/>
            <a:ext cx="1997064" cy="867930"/>
          </a:xfrm>
          <a:prstGeom prst="rect">
            <a:avLst/>
          </a:prstGeom>
          <a:noFill/>
        </p:spPr>
        <p:txBody>
          <a:bodyPr wrap="square" rtlCol="0">
            <a:spAutoFit/>
          </a:bodyPr>
          <a:lstStyle/>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200" b="1" i="0" u="none" strike="noStrike" kern="1200" cap="none" spc="0" normalizeH="0" baseline="0" noProof="0" dirty="0">
                <a:ln>
                  <a:noFill/>
                </a:ln>
                <a:solidFill>
                  <a:srgbClr val="0091DC"/>
                </a:solidFill>
                <a:effectLst/>
                <a:uLnTx/>
                <a:uFillTx/>
                <a:latin typeface="MetaPlusLF"/>
                <a:ea typeface="+mn-ea"/>
              </a:rPr>
              <a:t>2018</a:t>
            </a:r>
            <a:r>
              <a:rPr kumimoji="0" lang="en-GB" sz="1200" b="1" i="0" u="none" strike="noStrike" kern="1200" cap="none" spc="0" normalizeH="0" baseline="0" noProof="0" dirty="0">
                <a:ln>
                  <a:noFill/>
                </a:ln>
                <a:solidFill>
                  <a:srgbClr val="0091DC"/>
                </a:solidFill>
                <a:effectLst/>
                <a:uLnTx/>
                <a:uFillTx/>
                <a:latin typeface="MetaPlusLF"/>
                <a:ea typeface="+mn-ea"/>
              </a:rPr>
              <a:t> </a:t>
            </a:r>
          </a:p>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200" b="0" i="0" u="none" strike="noStrike" kern="1200" cap="none" spc="0" normalizeH="0" baseline="0" noProof="0" dirty="0">
                <a:ln>
                  <a:noFill/>
                </a:ln>
                <a:solidFill>
                  <a:srgbClr val="000000"/>
                </a:solidFill>
                <a:effectLst/>
                <a:uLnTx/>
                <a:uFillTx/>
                <a:latin typeface="MetaPlusLF"/>
                <a:ea typeface="+mn-ea"/>
              </a:rPr>
              <a:t>Persikeliam į naują pastatą Dr. W. Stoll, Dr. U.Stoll and Dr. Melzer</a:t>
            </a:r>
            <a:endParaRPr kumimoji="0" lang="en-GB" sz="1200" b="0" i="0" u="none" strike="noStrike" kern="1200" cap="none" spc="0" normalizeH="0" baseline="0" noProof="0" dirty="0">
              <a:ln>
                <a:noFill/>
              </a:ln>
              <a:solidFill>
                <a:srgbClr val="000000"/>
              </a:solidFill>
              <a:effectLst/>
              <a:uLnTx/>
              <a:uFillTx/>
              <a:latin typeface="MetaPlusLF"/>
              <a:ea typeface="+mn-ea"/>
            </a:endParaRPr>
          </a:p>
        </p:txBody>
      </p:sp>
      <p:sp>
        <p:nvSpPr>
          <p:cNvPr id="86" name="Construction2" descr="{&quot;Key&quot;:&quot;POWER_USER_SHAPE_ICON&quot;,&quot;Value&quot;:&quot;POWER_USER_SHAPE_ICON_STYLE_1&quot;}">
            <a:extLst>
              <a:ext uri="{FF2B5EF4-FFF2-40B4-BE49-F238E27FC236}">
                <a16:creationId xmlns:a16="http://schemas.microsoft.com/office/drawing/2014/main" id="{E489FA72-9625-415D-BE97-C3935CBC303F}"/>
              </a:ext>
            </a:extLst>
          </p:cNvPr>
          <p:cNvSpPr>
            <a:spLocks noChangeAspect="1" noEditPoints="1"/>
          </p:cNvSpPr>
          <p:nvPr>
            <p:custDataLst>
              <p:tags r:id="rId7"/>
            </p:custDataLst>
          </p:nvPr>
        </p:nvSpPr>
        <p:spPr bwMode="auto">
          <a:xfrm>
            <a:off x="7023628" y="4822640"/>
            <a:ext cx="721355" cy="484314"/>
          </a:xfrm>
          <a:custGeom>
            <a:avLst/>
            <a:gdLst>
              <a:gd name="T0" fmla="*/ 821 w 1127"/>
              <a:gd name="T1" fmla="*/ 408 h 753"/>
              <a:gd name="T2" fmla="*/ 740 w 1127"/>
              <a:gd name="T3" fmla="*/ 424 h 753"/>
              <a:gd name="T4" fmla="*/ 669 w 1127"/>
              <a:gd name="T5" fmla="*/ 526 h 753"/>
              <a:gd name="T6" fmla="*/ 617 w 1127"/>
              <a:gd name="T7" fmla="*/ 512 h 753"/>
              <a:gd name="T8" fmla="*/ 453 w 1127"/>
              <a:gd name="T9" fmla="*/ 482 h 753"/>
              <a:gd name="T10" fmla="*/ 394 w 1127"/>
              <a:gd name="T11" fmla="*/ 355 h 753"/>
              <a:gd name="T12" fmla="*/ 360 w 1127"/>
              <a:gd name="T13" fmla="*/ 169 h 753"/>
              <a:gd name="T14" fmla="*/ 366 w 1127"/>
              <a:gd name="T15" fmla="*/ 141 h 753"/>
              <a:gd name="T16" fmla="*/ 357 w 1127"/>
              <a:gd name="T17" fmla="*/ 0 h 753"/>
              <a:gd name="T18" fmla="*/ 298 w 1127"/>
              <a:gd name="T19" fmla="*/ 109 h 753"/>
              <a:gd name="T20" fmla="*/ 283 w 1127"/>
              <a:gd name="T21" fmla="*/ 138 h 753"/>
              <a:gd name="T22" fmla="*/ 229 w 1127"/>
              <a:gd name="T23" fmla="*/ 140 h 753"/>
              <a:gd name="T24" fmla="*/ 85 w 1127"/>
              <a:gd name="T25" fmla="*/ 223 h 753"/>
              <a:gd name="T26" fmla="*/ 67 w 1127"/>
              <a:gd name="T27" fmla="*/ 333 h 753"/>
              <a:gd name="T28" fmla="*/ 64 w 1127"/>
              <a:gd name="T29" fmla="*/ 355 h 753"/>
              <a:gd name="T30" fmla="*/ 89 w 1127"/>
              <a:gd name="T31" fmla="*/ 371 h 753"/>
              <a:gd name="T32" fmla="*/ 123 w 1127"/>
              <a:gd name="T33" fmla="*/ 363 h 753"/>
              <a:gd name="T34" fmla="*/ 144 w 1127"/>
              <a:gd name="T35" fmla="*/ 367 h 753"/>
              <a:gd name="T36" fmla="*/ 140 w 1127"/>
              <a:gd name="T37" fmla="*/ 528 h 753"/>
              <a:gd name="T38" fmla="*/ 43 w 1127"/>
              <a:gd name="T39" fmla="*/ 684 h 753"/>
              <a:gd name="T40" fmla="*/ 71 w 1127"/>
              <a:gd name="T41" fmla="*/ 708 h 753"/>
              <a:gd name="T42" fmla="*/ 0 w 1127"/>
              <a:gd name="T43" fmla="*/ 718 h 753"/>
              <a:gd name="T44" fmla="*/ 1127 w 1127"/>
              <a:gd name="T45" fmla="*/ 753 h 753"/>
              <a:gd name="T46" fmla="*/ 128 w 1127"/>
              <a:gd name="T47" fmla="*/ 328 h 753"/>
              <a:gd name="T48" fmla="*/ 198 w 1127"/>
              <a:gd name="T49" fmla="*/ 223 h 753"/>
              <a:gd name="T50" fmla="*/ 193 w 1127"/>
              <a:gd name="T51" fmla="*/ 272 h 753"/>
              <a:gd name="T52" fmla="*/ 128 w 1127"/>
              <a:gd name="T53" fmla="*/ 328 h 753"/>
              <a:gd name="T54" fmla="*/ 142 w 1127"/>
              <a:gd name="T55" fmla="*/ 685 h 753"/>
              <a:gd name="T56" fmla="*/ 143 w 1127"/>
              <a:gd name="T57" fmla="*/ 656 h 753"/>
              <a:gd name="T58" fmla="*/ 223 w 1127"/>
              <a:gd name="T59" fmla="*/ 531 h 753"/>
              <a:gd name="T60" fmla="*/ 235 w 1127"/>
              <a:gd name="T61" fmla="*/ 454 h 753"/>
              <a:gd name="T62" fmla="*/ 300 w 1127"/>
              <a:gd name="T63" fmla="*/ 549 h 753"/>
              <a:gd name="T64" fmla="*/ 160 w 1127"/>
              <a:gd name="T65" fmla="*/ 719 h 753"/>
              <a:gd name="T66" fmla="*/ 303 w 1127"/>
              <a:gd name="T67" fmla="*/ 343 h 753"/>
              <a:gd name="T68" fmla="*/ 335 w 1127"/>
              <a:gd name="T69" fmla="*/ 361 h 753"/>
              <a:gd name="T70" fmla="*/ 367 w 1127"/>
              <a:gd name="T71" fmla="*/ 438 h 753"/>
              <a:gd name="T72" fmla="*/ 297 w 1127"/>
              <a:gd name="T73" fmla="*/ 382 h 753"/>
              <a:gd name="T74" fmla="*/ 535 w 1127"/>
              <a:gd name="T75" fmla="*/ 646 h 753"/>
              <a:gd name="T76" fmla="*/ 495 w 1127"/>
              <a:gd name="T77" fmla="*/ 691 h 753"/>
              <a:gd name="T78" fmla="*/ 461 w 1127"/>
              <a:gd name="T79" fmla="*/ 718 h 753"/>
              <a:gd name="T80" fmla="*/ 382 w 1127"/>
              <a:gd name="T81" fmla="*/ 670 h 753"/>
              <a:gd name="T82" fmla="*/ 375 w 1127"/>
              <a:gd name="T83" fmla="*/ 527 h 753"/>
              <a:gd name="T84" fmla="*/ 342 w 1127"/>
              <a:gd name="T85" fmla="*/ 463 h 753"/>
              <a:gd name="T86" fmla="*/ 552 w 1127"/>
              <a:gd name="T87" fmla="*/ 586 h 753"/>
              <a:gd name="T88" fmla="*/ 583 w 1127"/>
              <a:gd name="T89" fmla="*/ 616 h 753"/>
              <a:gd name="T90" fmla="*/ 548 w 1127"/>
              <a:gd name="T91" fmla="*/ 641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7" h="753">
                <a:moveTo>
                  <a:pt x="871" y="399"/>
                </a:moveTo>
                <a:cubicBezTo>
                  <a:pt x="856" y="377"/>
                  <a:pt x="827" y="404"/>
                  <a:pt x="821" y="408"/>
                </a:cubicBezTo>
                <a:cubicBezTo>
                  <a:pt x="814" y="411"/>
                  <a:pt x="818" y="409"/>
                  <a:pt x="792" y="401"/>
                </a:cubicBezTo>
                <a:cubicBezTo>
                  <a:pt x="765" y="394"/>
                  <a:pt x="746" y="411"/>
                  <a:pt x="740" y="424"/>
                </a:cubicBezTo>
                <a:cubicBezTo>
                  <a:pt x="734" y="437"/>
                  <a:pt x="697" y="511"/>
                  <a:pt x="691" y="523"/>
                </a:cubicBezTo>
                <a:cubicBezTo>
                  <a:pt x="684" y="534"/>
                  <a:pt x="669" y="526"/>
                  <a:pt x="669" y="526"/>
                </a:cubicBezTo>
                <a:cubicBezTo>
                  <a:pt x="669" y="526"/>
                  <a:pt x="643" y="511"/>
                  <a:pt x="634" y="507"/>
                </a:cubicBezTo>
                <a:cubicBezTo>
                  <a:pt x="624" y="504"/>
                  <a:pt x="617" y="512"/>
                  <a:pt x="617" y="512"/>
                </a:cubicBezTo>
                <a:lnTo>
                  <a:pt x="586" y="545"/>
                </a:lnTo>
                <a:cubicBezTo>
                  <a:pt x="586" y="545"/>
                  <a:pt x="466" y="489"/>
                  <a:pt x="453" y="482"/>
                </a:cubicBezTo>
                <a:cubicBezTo>
                  <a:pt x="440" y="474"/>
                  <a:pt x="410" y="398"/>
                  <a:pt x="401" y="382"/>
                </a:cubicBezTo>
                <a:cubicBezTo>
                  <a:pt x="392" y="367"/>
                  <a:pt x="394" y="355"/>
                  <a:pt x="394" y="355"/>
                </a:cubicBezTo>
                <a:cubicBezTo>
                  <a:pt x="394" y="355"/>
                  <a:pt x="392" y="322"/>
                  <a:pt x="391" y="262"/>
                </a:cubicBezTo>
                <a:cubicBezTo>
                  <a:pt x="391" y="203"/>
                  <a:pt x="365" y="177"/>
                  <a:pt x="360" y="169"/>
                </a:cubicBezTo>
                <a:cubicBezTo>
                  <a:pt x="355" y="161"/>
                  <a:pt x="360" y="154"/>
                  <a:pt x="360" y="154"/>
                </a:cubicBezTo>
                <a:lnTo>
                  <a:pt x="366" y="141"/>
                </a:lnTo>
                <a:cubicBezTo>
                  <a:pt x="401" y="136"/>
                  <a:pt x="428" y="107"/>
                  <a:pt x="428" y="70"/>
                </a:cubicBezTo>
                <a:cubicBezTo>
                  <a:pt x="428" y="31"/>
                  <a:pt x="396" y="0"/>
                  <a:pt x="357" y="0"/>
                </a:cubicBezTo>
                <a:cubicBezTo>
                  <a:pt x="318" y="0"/>
                  <a:pt x="287" y="31"/>
                  <a:pt x="287" y="70"/>
                </a:cubicBezTo>
                <a:cubicBezTo>
                  <a:pt x="287" y="85"/>
                  <a:pt x="291" y="98"/>
                  <a:pt x="298" y="109"/>
                </a:cubicBezTo>
                <a:cubicBezTo>
                  <a:pt x="297" y="112"/>
                  <a:pt x="297" y="118"/>
                  <a:pt x="296" y="124"/>
                </a:cubicBezTo>
                <a:cubicBezTo>
                  <a:pt x="296" y="135"/>
                  <a:pt x="283" y="138"/>
                  <a:pt x="283" y="138"/>
                </a:cubicBezTo>
                <a:cubicBezTo>
                  <a:pt x="283" y="138"/>
                  <a:pt x="252" y="137"/>
                  <a:pt x="245" y="137"/>
                </a:cubicBezTo>
                <a:cubicBezTo>
                  <a:pt x="237" y="137"/>
                  <a:pt x="229" y="140"/>
                  <a:pt x="229" y="140"/>
                </a:cubicBezTo>
                <a:cubicBezTo>
                  <a:pt x="229" y="140"/>
                  <a:pt x="110" y="200"/>
                  <a:pt x="97" y="207"/>
                </a:cubicBezTo>
                <a:cubicBezTo>
                  <a:pt x="84" y="213"/>
                  <a:pt x="85" y="223"/>
                  <a:pt x="85" y="223"/>
                </a:cubicBezTo>
                <a:lnTo>
                  <a:pt x="76" y="327"/>
                </a:lnTo>
                <a:cubicBezTo>
                  <a:pt x="76" y="327"/>
                  <a:pt x="70" y="331"/>
                  <a:pt x="67" y="333"/>
                </a:cubicBezTo>
                <a:cubicBezTo>
                  <a:pt x="64" y="335"/>
                  <a:pt x="64" y="339"/>
                  <a:pt x="64" y="339"/>
                </a:cubicBezTo>
                <a:lnTo>
                  <a:pt x="64" y="355"/>
                </a:lnTo>
                <a:cubicBezTo>
                  <a:pt x="64" y="360"/>
                  <a:pt x="71" y="362"/>
                  <a:pt x="71" y="362"/>
                </a:cubicBezTo>
                <a:cubicBezTo>
                  <a:pt x="71" y="362"/>
                  <a:pt x="84" y="368"/>
                  <a:pt x="89" y="371"/>
                </a:cubicBezTo>
                <a:cubicBezTo>
                  <a:pt x="95" y="374"/>
                  <a:pt x="97" y="371"/>
                  <a:pt x="97" y="371"/>
                </a:cubicBezTo>
                <a:cubicBezTo>
                  <a:pt x="97" y="371"/>
                  <a:pt x="118" y="365"/>
                  <a:pt x="123" y="363"/>
                </a:cubicBezTo>
                <a:cubicBezTo>
                  <a:pt x="127" y="360"/>
                  <a:pt x="131" y="360"/>
                  <a:pt x="131" y="360"/>
                </a:cubicBezTo>
                <a:lnTo>
                  <a:pt x="144" y="367"/>
                </a:lnTo>
                <a:cubicBezTo>
                  <a:pt x="144" y="367"/>
                  <a:pt x="147" y="491"/>
                  <a:pt x="147" y="506"/>
                </a:cubicBezTo>
                <a:cubicBezTo>
                  <a:pt x="147" y="520"/>
                  <a:pt x="140" y="528"/>
                  <a:pt x="140" y="528"/>
                </a:cubicBezTo>
                <a:cubicBezTo>
                  <a:pt x="140" y="528"/>
                  <a:pt x="51" y="650"/>
                  <a:pt x="41" y="663"/>
                </a:cubicBezTo>
                <a:cubicBezTo>
                  <a:pt x="32" y="676"/>
                  <a:pt x="43" y="684"/>
                  <a:pt x="43" y="684"/>
                </a:cubicBezTo>
                <a:lnTo>
                  <a:pt x="59" y="694"/>
                </a:lnTo>
                <a:cubicBezTo>
                  <a:pt x="59" y="694"/>
                  <a:pt x="71" y="701"/>
                  <a:pt x="71" y="708"/>
                </a:cubicBezTo>
                <a:cubicBezTo>
                  <a:pt x="71" y="715"/>
                  <a:pt x="61" y="718"/>
                  <a:pt x="61" y="718"/>
                </a:cubicBezTo>
                <a:lnTo>
                  <a:pt x="0" y="718"/>
                </a:lnTo>
                <a:lnTo>
                  <a:pt x="0" y="751"/>
                </a:lnTo>
                <a:lnTo>
                  <a:pt x="1127" y="753"/>
                </a:lnTo>
                <a:lnTo>
                  <a:pt x="871" y="399"/>
                </a:lnTo>
                <a:close/>
                <a:moveTo>
                  <a:pt x="128" y="328"/>
                </a:moveTo>
                <a:cubicBezTo>
                  <a:pt x="127" y="324"/>
                  <a:pt x="134" y="255"/>
                  <a:pt x="134" y="255"/>
                </a:cubicBezTo>
                <a:lnTo>
                  <a:pt x="198" y="223"/>
                </a:lnTo>
                <a:cubicBezTo>
                  <a:pt x="198" y="223"/>
                  <a:pt x="205" y="218"/>
                  <a:pt x="204" y="227"/>
                </a:cubicBezTo>
                <a:cubicBezTo>
                  <a:pt x="204" y="236"/>
                  <a:pt x="193" y="272"/>
                  <a:pt x="193" y="272"/>
                </a:cubicBezTo>
                <a:lnTo>
                  <a:pt x="158" y="343"/>
                </a:lnTo>
                <a:cubicBezTo>
                  <a:pt x="158" y="343"/>
                  <a:pt x="130" y="332"/>
                  <a:pt x="128" y="328"/>
                </a:cubicBezTo>
                <a:close/>
                <a:moveTo>
                  <a:pt x="160" y="719"/>
                </a:moveTo>
                <a:lnTo>
                  <a:pt x="142" y="685"/>
                </a:lnTo>
                <a:cubicBezTo>
                  <a:pt x="142" y="685"/>
                  <a:pt x="139" y="676"/>
                  <a:pt x="139" y="670"/>
                </a:cubicBezTo>
                <a:cubicBezTo>
                  <a:pt x="139" y="665"/>
                  <a:pt x="143" y="656"/>
                  <a:pt x="143" y="656"/>
                </a:cubicBezTo>
                <a:lnTo>
                  <a:pt x="216" y="550"/>
                </a:lnTo>
                <a:cubicBezTo>
                  <a:pt x="216" y="550"/>
                  <a:pt x="221" y="541"/>
                  <a:pt x="223" y="531"/>
                </a:cubicBezTo>
                <a:cubicBezTo>
                  <a:pt x="224" y="521"/>
                  <a:pt x="231" y="453"/>
                  <a:pt x="231" y="453"/>
                </a:cubicBezTo>
                <a:cubicBezTo>
                  <a:pt x="231" y="453"/>
                  <a:pt x="233" y="452"/>
                  <a:pt x="235" y="454"/>
                </a:cubicBezTo>
                <a:cubicBezTo>
                  <a:pt x="238" y="457"/>
                  <a:pt x="295" y="533"/>
                  <a:pt x="295" y="533"/>
                </a:cubicBezTo>
                <a:cubicBezTo>
                  <a:pt x="295" y="533"/>
                  <a:pt x="300" y="543"/>
                  <a:pt x="300" y="549"/>
                </a:cubicBezTo>
                <a:cubicBezTo>
                  <a:pt x="300" y="554"/>
                  <a:pt x="302" y="718"/>
                  <a:pt x="302" y="718"/>
                </a:cubicBezTo>
                <a:lnTo>
                  <a:pt x="160" y="719"/>
                </a:lnTo>
                <a:close/>
                <a:moveTo>
                  <a:pt x="297" y="382"/>
                </a:moveTo>
                <a:cubicBezTo>
                  <a:pt x="297" y="368"/>
                  <a:pt x="296" y="353"/>
                  <a:pt x="303" y="343"/>
                </a:cubicBezTo>
                <a:cubicBezTo>
                  <a:pt x="311" y="333"/>
                  <a:pt x="333" y="308"/>
                  <a:pt x="333" y="308"/>
                </a:cubicBezTo>
                <a:lnTo>
                  <a:pt x="335" y="361"/>
                </a:lnTo>
                <a:cubicBezTo>
                  <a:pt x="335" y="361"/>
                  <a:pt x="335" y="375"/>
                  <a:pt x="340" y="386"/>
                </a:cubicBezTo>
                <a:cubicBezTo>
                  <a:pt x="345" y="396"/>
                  <a:pt x="367" y="438"/>
                  <a:pt x="367" y="438"/>
                </a:cubicBezTo>
                <a:lnTo>
                  <a:pt x="314" y="415"/>
                </a:lnTo>
                <a:cubicBezTo>
                  <a:pt x="314" y="415"/>
                  <a:pt x="297" y="396"/>
                  <a:pt x="297" y="382"/>
                </a:cubicBezTo>
                <a:close/>
                <a:moveTo>
                  <a:pt x="548" y="641"/>
                </a:moveTo>
                <a:cubicBezTo>
                  <a:pt x="548" y="641"/>
                  <a:pt x="540" y="644"/>
                  <a:pt x="535" y="646"/>
                </a:cubicBezTo>
                <a:cubicBezTo>
                  <a:pt x="530" y="648"/>
                  <a:pt x="518" y="650"/>
                  <a:pt x="513" y="665"/>
                </a:cubicBezTo>
                <a:cubicBezTo>
                  <a:pt x="509" y="679"/>
                  <a:pt x="506" y="689"/>
                  <a:pt x="495" y="691"/>
                </a:cubicBezTo>
                <a:cubicBezTo>
                  <a:pt x="485" y="693"/>
                  <a:pt x="483" y="695"/>
                  <a:pt x="476" y="702"/>
                </a:cubicBezTo>
                <a:cubicBezTo>
                  <a:pt x="469" y="709"/>
                  <a:pt x="467" y="717"/>
                  <a:pt x="461" y="718"/>
                </a:cubicBezTo>
                <a:cubicBezTo>
                  <a:pt x="455" y="719"/>
                  <a:pt x="413" y="719"/>
                  <a:pt x="413" y="719"/>
                </a:cubicBezTo>
                <a:lnTo>
                  <a:pt x="382" y="670"/>
                </a:lnTo>
                <a:cubicBezTo>
                  <a:pt x="382" y="670"/>
                  <a:pt x="379" y="663"/>
                  <a:pt x="379" y="656"/>
                </a:cubicBezTo>
                <a:cubicBezTo>
                  <a:pt x="379" y="649"/>
                  <a:pt x="375" y="527"/>
                  <a:pt x="375" y="527"/>
                </a:cubicBezTo>
                <a:cubicBezTo>
                  <a:pt x="375" y="527"/>
                  <a:pt x="374" y="517"/>
                  <a:pt x="369" y="509"/>
                </a:cubicBezTo>
                <a:cubicBezTo>
                  <a:pt x="365" y="502"/>
                  <a:pt x="342" y="463"/>
                  <a:pt x="342" y="463"/>
                </a:cubicBezTo>
                <a:lnTo>
                  <a:pt x="564" y="571"/>
                </a:lnTo>
                <a:lnTo>
                  <a:pt x="552" y="586"/>
                </a:lnTo>
                <a:cubicBezTo>
                  <a:pt x="552" y="586"/>
                  <a:pt x="542" y="598"/>
                  <a:pt x="554" y="603"/>
                </a:cubicBezTo>
                <a:cubicBezTo>
                  <a:pt x="565" y="608"/>
                  <a:pt x="583" y="616"/>
                  <a:pt x="583" y="616"/>
                </a:cubicBezTo>
                <a:lnTo>
                  <a:pt x="584" y="621"/>
                </a:lnTo>
                <a:lnTo>
                  <a:pt x="548" y="641"/>
                </a:lnTo>
                <a:close/>
              </a:path>
            </a:pathLst>
          </a:custGeom>
          <a:solidFill>
            <a:schemeClr val="bg1"/>
          </a:solidFill>
          <a:ln w="0">
            <a:noFill/>
            <a:prstDash val="solid"/>
            <a:round/>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02BED039-F935-48A7-AE63-C1C00B5A619F}"/>
              </a:ext>
            </a:extLst>
          </p:cNvPr>
          <p:cNvSpPr/>
          <p:nvPr/>
        </p:nvSpPr>
        <p:spPr>
          <a:xfrm>
            <a:off x="3048034" y="5380721"/>
            <a:ext cx="1914932" cy="498598"/>
          </a:xfrm>
          <a:prstGeom prst="rect">
            <a:avLst/>
          </a:prstGeom>
        </p:spPr>
        <p:txBody>
          <a:bodyPr wrap="square">
            <a:spAutoFit/>
          </a:bodyPr>
          <a:lstStyle/>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200" b="1" i="0" u="none" strike="noStrike" kern="1200" cap="none" spc="0" normalizeH="0" baseline="0" noProof="0" dirty="0">
                <a:ln>
                  <a:noFill/>
                </a:ln>
                <a:solidFill>
                  <a:srgbClr val="0091DC"/>
                </a:solidFill>
                <a:effectLst/>
                <a:uLnTx/>
                <a:uFillTx/>
                <a:latin typeface="MetaPlusLF"/>
                <a:ea typeface="+mn-ea"/>
              </a:rPr>
              <a:t>2008</a:t>
            </a:r>
            <a:r>
              <a:rPr kumimoji="0" lang="en-GB" sz="1200" b="1" i="0" u="none" strike="noStrike" kern="1200" cap="none" spc="0" normalizeH="0" baseline="0" noProof="0" dirty="0">
                <a:ln>
                  <a:noFill/>
                </a:ln>
                <a:solidFill>
                  <a:srgbClr val="0091DC"/>
                </a:solidFill>
                <a:effectLst/>
                <a:uLnTx/>
                <a:uFillTx/>
                <a:latin typeface="MetaPlusLF"/>
                <a:ea typeface="+mn-ea"/>
              </a:rPr>
              <a:t> </a:t>
            </a:r>
          </a:p>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200" b="0" i="0" u="none" strike="noStrike" kern="1200" cap="none" spc="0" normalizeH="0" baseline="0" noProof="0" dirty="0">
                <a:ln>
                  <a:noFill/>
                </a:ln>
                <a:solidFill>
                  <a:srgbClr val="000000"/>
                </a:solidFill>
                <a:effectLst/>
                <a:uLnTx/>
                <a:uFillTx/>
                <a:latin typeface="MetaPlusLF"/>
                <a:ea typeface="+mn-ea"/>
              </a:rPr>
              <a:t>FIT (Festo </a:t>
            </a:r>
            <a:r>
              <a:rPr kumimoji="0" lang="lt-LT" sz="1200" b="0" i="0" u="none" strike="noStrike" kern="1200" cap="none" spc="0" normalizeH="0" baseline="0" noProof="0" dirty="0" err="1">
                <a:ln>
                  <a:noFill/>
                </a:ln>
                <a:solidFill>
                  <a:srgbClr val="000000"/>
                </a:solidFill>
                <a:effectLst/>
                <a:uLnTx/>
                <a:uFillTx/>
                <a:latin typeface="MetaPlusLF"/>
                <a:ea typeface="+mn-ea"/>
              </a:rPr>
              <a:t>invoice</a:t>
            </a:r>
            <a:r>
              <a:rPr kumimoji="0" lang="lt-LT" sz="1200" b="0" i="0" u="none" strike="noStrike" kern="1200" cap="none" spc="0" normalizeH="0" baseline="0" noProof="0" dirty="0">
                <a:ln>
                  <a:noFill/>
                </a:ln>
                <a:solidFill>
                  <a:srgbClr val="000000"/>
                </a:solidFill>
                <a:effectLst/>
                <a:uLnTx/>
                <a:uFillTx/>
                <a:latin typeface="MetaPlusLF"/>
                <a:ea typeface="+mn-ea"/>
              </a:rPr>
              <a:t> </a:t>
            </a:r>
            <a:r>
              <a:rPr kumimoji="0" lang="lt-LT" sz="1200" b="0" i="0" u="none" strike="noStrike" kern="1200" cap="none" spc="0" normalizeH="0" baseline="0" noProof="0" dirty="0" err="1">
                <a:ln>
                  <a:noFill/>
                </a:ln>
                <a:solidFill>
                  <a:srgbClr val="000000"/>
                </a:solidFill>
                <a:effectLst/>
                <a:uLnTx/>
                <a:uFillTx/>
                <a:latin typeface="MetaPlusLF"/>
                <a:ea typeface="+mn-ea"/>
              </a:rPr>
              <a:t>tracking</a:t>
            </a:r>
            <a:endParaRPr kumimoji="0" lang="en-GB" sz="1200" b="0" i="0" u="none" strike="noStrike" kern="1200" cap="none" spc="0" normalizeH="0" baseline="0" noProof="0" dirty="0">
              <a:ln>
                <a:noFill/>
              </a:ln>
              <a:solidFill>
                <a:srgbClr val="000000"/>
              </a:solidFill>
              <a:effectLst/>
              <a:uLnTx/>
              <a:uFillTx/>
              <a:latin typeface="MetaPlusLF"/>
              <a:ea typeface="+mn-ea"/>
            </a:endParaRPr>
          </a:p>
        </p:txBody>
      </p:sp>
      <p:sp>
        <p:nvSpPr>
          <p:cNvPr id="88" name="Right Arrow 1">
            <a:extLst>
              <a:ext uri="{FF2B5EF4-FFF2-40B4-BE49-F238E27FC236}">
                <a16:creationId xmlns:a16="http://schemas.microsoft.com/office/drawing/2014/main" id="{DDE73DD7-FBE4-48BF-9FF5-C3D133209981}"/>
              </a:ext>
            </a:extLst>
          </p:cNvPr>
          <p:cNvSpPr/>
          <p:nvPr/>
        </p:nvSpPr>
        <p:spPr>
          <a:xfrm>
            <a:off x="528102" y="3768664"/>
            <a:ext cx="11184205" cy="683394"/>
          </a:xfrm>
          <a:prstGeom prst="rightArrow">
            <a:avLst/>
          </a:prstGeom>
          <a:ln w="127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89" name="Straight Connector 88">
            <a:extLst>
              <a:ext uri="{FF2B5EF4-FFF2-40B4-BE49-F238E27FC236}">
                <a16:creationId xmlns:a16="http://schemas.microsoft.com/office/drawing/2014/main" id="{C11526AB-69AA-4CB3-A4A2-DBBFFD539666}"/>
              </a:ext>
            </a:extLst>
          </p:cNvPr>
          <p:cNvCxnSpPr>
            <a:cxnSpLocks/>
          </p:cNvCxnSpPr>
          <p:nvPr/>
        </p:nvCxnSpPr>
        <p:spPr>
          <a:xfrm>
            <a:off x="1187763" y="4284617"/>
            <a:ext cx="0" cy="224574"/>
          </a:xfrm>
          <a:prstGeom prst="line">
            <a:avLst/>
          </a:prstGeom>
          <a:ln w="12700">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CD3A28F-2BE0-45CE-B59E-A3DA80866D61}"/>
              </a:ext>
            </a:extLst>
          </p:cNvPr>
          <p:cNvCxnSpPr>
            <a:cxnSpLocks/>
          </p:cNvCxnSpPr>
          <p:nvPr/>
        </p:nvCxnSpPr>
        <p:spPr>
          <a:xfrm>
            <a:off x="9408186" y="3676637"/>
            <a:ext cx="0" cy="267064"/>
          </a:xfrm>
          <a:prstGeom prst="line">
            <a:avLst/>
          </a:prstGeom>
          <a:ln w="12700">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sp>
        <p:nvSpPr>
          <p:cNvPr id="98" name="Oval 97">
            <a:extLst>
              <a:ext uri="{FF2B5EF4-FFF2-40B4-BE49-F238E27FC236}">
                <a16:creationId xmlns:a16="http://schemas.microsoft.com/office/drawing/2014/main" id="{E91417E6-23D5-4C78-A164-B16CB9A53489}"/>
              </a:ext>
            </a:extLst>
          </p:cNvPr>
          <p:cNvSpPr>
            <a:spLocks noChangeAspect="1"/>
          </p:cNvSpPr>
          <p:nvPr/>
        </p:nvSpPr>
        <p:spPr>
          <a:xfrm>
            <a:off x="732602" y="2672329"/>
            <a:ext cx="897255" cy="897255"/>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99" name="Workers" descr="{&quot;Key&quot;:&quot;POWER_USER_SHAPE_ICON&quot;,&quot;Value&quot;:&quot;POWER_USER_SHAPE_ICON_STYLE_1&quot;}">
            <a:extLst>
              <a:ext uri="{FF2B5EF4-FFF2-40B4-BE49-F238E27FC236}">
                <a16:creationId xmlns:a16="http://schemas.microsoft.com/office/drawing/2014/main" id="{DAEEBEE5-E9E4-49D4-90B6-CC86881519EE}"/>
              </a:ext>
            </a:extLst>
          </p:cNvPr>
          <p:cNvGrpSpPr>
            <a:grpSpLocks noChangeAspect="1"/>
          </p:cNvGrpSpPr>
          <p:nvPr>
            <p:custDataLst>
              <p:tags r:id="rId8"/>
            </p:custDataLst>
          </p:nvPr>
        </p:nvGrpSpPr>
        <p:grpSpPr>
          <a:xfrm>
            <a:off x="2841522" y="2886766"/>
            <a:ext cx="775437" cy="446369"/>
            <a:chOff x="9701101" y="5898356"/>
            <a:chExt cx="956965" cy="550863"/>
          </a:xfrm>
          <a:solidFill>
            <a:schemeClr val="bg2"/>
          </a:solidFill>
        </p:grpSpPr>
        <p:grpSp>
          <p:nvGrpSpPr>
            <p:cNvPr id="100" name="Group 99">
              <a:extLst>
                <a:ext uri="{FF2B5EF4-FFF2-40B4-BE49-F238E27FC236}">
                  <a16:creationId xmlns:a16="http://schemas.microsoft.com/office/drawing/2014/main" id="{DA8C2DB8-E348-413A-9611-1120EBF41F88}"/>
                </a:ext>
              </a:extLst>
            </p:cNvPr>
            <p:cNvGrpSpPr/>
            <p:nvPr/>
          </p:nvGrpSpPr>
          <p:grpSpPr>
            <a:xfrm>
              <a:off x="9701101" y="5898356"/>
              <a:ext cx="482600" cy="550863"/>
              <a:chOff x="9701101" y="5898356"/>
              <a:chExt cx="482600" cy="550863"/>
            </a:xfrm>
            <a:grpFill/>
          </p:grpSpPr>
          <p:sp>
            <p:nvSpPr>
              <p:cNvPr id="105" name="Oval 113">
                <a:extLst>
                  <a:ext uri="{FF2B5EF4-FFF2-40B4-BE49-F238E27FC236}">
                    <a16:creationId xmlns:a16="http://schemas.microsoft.com/office/drawing/2014/main" id="{76C68CA7-F179-4E2C-AB40-3852D1B64268}"/>
                  </a:ext>
                </a:extLst>
              </p:cNvPr>
              <p:cNvSpPr>
                <a:spLocks noChangeArrowheads="1"/>
              </p:cNvSpPr>
              <p:nvPr/>
            </p:nvSpPr>
            <p:spPr bwMode="auto">
              <a:xfrm>
                <a:off x="9918589" y="6314281"/>
                <a:ext cx="49213" cy="492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Freeform 114">
                <a:extLst>
                  <a:ext uri="{FF2B5EF4-FFF2-40B4-BE49-F238E27FC236}">
                    <a16:creationId xmlns:a16="http://schemas.microsoft.com/office/drawing/2014/main" id="{A1474671-451A-45C8-BF6A-0E316C24F087}"/>
                  </a:ext>
                </a:extLst>
              </p:cNvPr>
              <p:cNvSpPr>
                <a:spLocks noEditPoints="1"/>
              </p:cNvSpPr>
              <p:nvPr/>
            </p:nvSpPr>
            <p:spPr bwMode="auto">
              <a:xfrm>
                <a:off x="9701101" y="6130131"/>
                <a:ext cx="482600" cy="319088"/>
              </a:xfrm>
              <a:custGeom>
                <a:avLst/>
                <a:gdLst>
                  <a:gd name="T0" fmla="*/ 497 w 633"/>
                  <a:gd name="T1" fmla="*/ 388 h 419"/>
                  <a:gd name="T2" fmla="*/ 136 w 633"/>
                  <a:gd name="T3" fmla="*/ 388 h 419"/>
                  <a:gd name="T4" fmla="*/ 136 w 633"/>
                  <a:gd name="T5" fmla="*/ 165 h 419"/>
                  <a:gd name="T6" fmla="*/ 150 w 633"/>
                  <a:gd name="T7" fmla="*/ 151 h 419"/>
                  <a:gd name="T8" fmla="*/ 483 w 633"/>
                  <a:gd name="T9" fmla="*/ 151 h 419"/>
                  <a:gd name="T10" fmla="*/ 497 w 633"/>
                  <a:gd name="T11" fmla="*/ 165 h 419"/>
                  <a:gd name="T12" fmla="*/ 497 w 633"/>
                  <a:gd name="T13" fmla="*/ 388 h 419"/>
                  <a:gd name="T14" fmla="*/ 633 w 633"/>
                  <a:gd name="T15" fmla="*/ 274 h 419"/>
                  <a:gd name="T16" fmla="*/ 633 w 633"/>
                  <a:gd name="T17" fmla="*/ 233 h 419"/>
                  <a:gd name="T18" fmla="*/ 564 w 633"/>
                  <a:gd name="T19" fmla="*/ 233 h 419"/>
                  <a:gd name="T20" fmla="*/ 564 w 633"/>
                  <a:gd name="T21" fmla="*/ 175 h 419"/>
                  <a:gd name="T22" fmla="*/ 395 w 633"/>
                  <a:gd name="T23" fmla="*/ 1 h 419"/>
                  <a:gd name="T24" fmla="*/ 317 w 633"/>
                  <a:gd name="T25" fmla="*/ 62 h 419"/>
                  <a:gd name="T26" fmla="*/ 236 w 633"/>
                  <a:gd name="T27" fmla="*/ 0 h 419"/>
                  <a:gd name="T28" fmla="*/ 70 w 633"/>
                  <a:gd name="T29" fmla="*/ 175 h 419"/>
                  <a:gd name="T30" fmla="*/ 70 w 633"/>
                  <a:gd name="T31" fmla="*/ 233 h 419"/>
                  <a:gd name="T32" fmla="*/ 0 w 633"/>
                  <a:gd name="T33" fmla="*/ 233 h 419"/>
                  <a:gd name="T34" fmla="*/ 0 w 633"/>
                  <a:gd name="T35" fmla="*/ 274 h 419"/>
                  <a:gd name="T36" fmla="*/ 104 w 633"/>
                  <a:gd name="T37" fmla="*/ 274 h 419"/>
                  <a:gd name="T38" fmla="*/ 104 w 633"/>
                  <a:gd name="T39" fmla="*/ 312 h 419"/>
                  <a:gd name="T40" fmla="*/ 87 w 633"/>
                  <a:gd name="T41" fmla="*/ 312 h 419"/>
                  <a:gd name="T42" fmla="*/ 72 w 633"/>
                  <a:gd name="T43" fmla="*/ 319 h 419"/>
                  <a:gd name="T44" fmla="*/ 70 w 633"/>
                  <a:gd name="T45" fmla="*/ 336 h 419"/>
                  <a:gd name="T46" fmla="*/ 96 w 633"/>
                  <a:gd name="T47" fmla="*/ 407 h 419"/>
                  <a:gd name="T48" fmla="*/ 113 w 633"/>
                  <a:gd name="T49" fmla="*/ 419 h 419"/>
                  <a:gd name="T50" fmla="*/ 521 w 633"/>
                  <a:gd name="T51" fmla="*/ 419 h 419"/>
                  <a:gd name="T52" fmla="*/ 537 w 633"/>
                  <a:gd name="T53" fmla="*/ 407 h 419"/>
                  <a:gd name="T54" fmla="*/ 563 w 633"/>
                  <a:gd name="T55" fmla="*/ 336 h 419"/>
                  <a:gd name="T56" fmla="*/ 561 w 633"/>
                  <a:gd name="T57" fmla="*/ 319 h 419"/>
                  <a:gd name="T58" fmla="*/ 547 w 633"/>
                  <a:gd name="T59" fmla="*/ 312 h 419"/>
                  <a:gd name="T60" fmla="*/ 529 w 633"/>
                  <a:gd name="T61" fmla="*/ 312 h 419"/>
                  <a:gd name="T62" fmla="*/ 529 w 633"/>
                  <a:gd name="T63" fmla="*/ 274 h 419"/>
                  <a:gd name="T64" fmla="*/ 633 w 633"/>
                  <a:gd name="T65" fmla="*/ 274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33" h="419">
                    <a:moveTo>
                      <a:pt x="497" y="388"/>
                    </a:moveTo>
                    <a:lnTo>
                      <a:pt x="136" y="388"/>
                    </a:lnTo>
                    <a:lnTo>
                      <a:pt x="136" y="165"/>
                    </a:lnTo>
                    <a:cubicBezTo>
                      <a:pt x="136" y="157"/>
                      <a:pt x="143" y="151"/>
                      <a:pt x="150" y="151"/>
                    </a:cubicBezTo>
                    <a:lnTo>
                      <a:pt x="483" y="151"/>
                    </a:lnTo>
                    <a:cubicBezTo>
                      <a:pt x="491" y="151"/>
                      <a:pt x="497" y="157"/>
                      <a:pt x="497" y="165"/>
                    </a:cubicBezTo>
                    <a:lnTo>
                      <a:pt x="497" y="388"/>
                    </a:lnTo>
                    <a:close/>
                    <a:moveTo>
                      <a:pt x="633" y="274"/>
                    </a:moveTo>
                    <a:lnTo>
                      <a:pt x="633" y="233"/>
                    </a:lnTo>
                    <a:lnTo>
                      <a:pt x="564" y="233"/>
                    </a:lnTo>
                    <a:lnTo>
                      <a:pt x="564" y="175"/>
                    </a:lnTo>
                    <a:cubicBezTo>
                      <a:pt x="564" y="83"/>
                      <a:pt x="493" y="22"/>
                      <a:pt x="395" y="1"/>
                    </a:cubicBezTo>
                    <a:lnTo>
                      <a:pt x="317" y="62"/>
                    </a:lnTo>
                    <a:lnTo>
                      <a:pt x="236" y="0"/>
                    </a:lnTo>
                    <a:cubicBezTo>
                      <a:pt x="139" y="15"/>
                      <a:pt x="70" y="65"/>
                      <a:pt x="70" y="175"/>
                    </a:cubicBezTo>
                    <a:lnTo>
                      <a:pt x="70" y="233"/>
                    </a:lnTo>
                    <a:lnTo>
                      <a:pt x="0" y="233"/>
                    </a:lnTo>
                    <a:lnTo>
                      <a:pt x="0" y="274"/>
                    </a:lnTo>
                    <a:lnTo>
                      <a:pt x="104" y="274"/>
                    </a:lnTo>
                    <a:lnTo>
                      <a:pt x="104" y="312"/>
                    </a:lnTo>
                    <a:lnTo>
                      <a:pt x="87" y="312"/>
                    </a:lnTo>
                    <a:cubicBezTo>
                      <a:pt x="81" y="312"/>
                      <a:pt x="76" y="314"/>
                      <a:pt x="72" y="319"/>
                    </a:cubicBezTo>
                    <a:cubicBezTo>
                      <a:pt x="69" y="324"/>
                      <a:pt x="68" y="330"/>
                      <a:pt x="70" y="336"/>
                    </a:cubicBezTo>
                    <a:lnTo>
                      <a:pt x="96" y="407"/>
                    </a:lnTo>
                    <a:cubicBezTo>
                      <a:pt x="99" y="414"/>
                      <a:pt x="106" y="419"/>
                      <a:pt x="113" y="419"/>
                    </a:cubicBezTo>
                    <a:lnTo>
                      <a:pt x="521" y="419"/>
                    </a:lnTo>
                    <a:cubicBezTo>
                      <a:pt x="528" y="419"/>
                      <a:pt x="535" y="414"/>
                      <a:pt x="537" y="407"/>
                    </a:cubicBezTo>
                    <a:lnTo>
                      <a:pt x="563" y="336"/>
                    </a:lnTo>
                    <a:cubicBezTo>
                      <a:pt x="565" y="330"/>
                      <a:pt x="565" y="324"/>
                      <a:pt x="561" y="319"/>
                    </a:cubicBezTo>
                    <a:cubicBezTo>
                      <a:pt x="558" y="314"/>
                      <a:pt x="552" y="312"/>
                      <a:pt x="547" y="312"/>
                    </a:cubicBezTo>
                    <a:lnTo>
                      <a:pt x="529" y="312"/>
                    </a:lnTo>
                    <a:lnTo>
                      <a:pt x="529" y="274"/>
                    </a:lnTo>
                    <a:lnTo>
                      <a:pt x="633" y="27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Oval 115">
                <a:extLst>
                  <a:ext uri="{FF2B5EF4-FFF2-40B4-BE49-F238E27FC236}">
                    <a16:creationId xmlns:a16="http://schemas.microsoft.com/office/drawing/2014/main" id="{676A47C5-A5A2-4A18-A77F-BB82687BE990}"/>
                  </a:ext>
                </a:extLst>
              </p:cNvPr>
              <p:cNvSpPr>
                <a:spLocks noChangeArrowheads="1"/>
              </p:cNvSpPr>
              <p:nvPr/>
            </p:nvSpPr>
            <p:spPr bwMode="auto">
              <a:xfrm>
                <a:off x="9836039" y="5898356"/>
                <a:ext cx="214313" cy="2143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1" name="Group 100">
              <a:extLst>
                <a:ext uri="{FF2B5EF4-FFF2-40B4-BE49-F238E27FC236}">
                  <a16:creationId xmlns:a16="http://schemas.microsoft.com/office/drawing/2014/main" id="{DBD4CFE4-DA57-497A-8C24-49687BC82AA3}"/>
                </a:ext>
              </a:extLst>
            </p:cNvPr>
            <p:cNvGrpSpPr/>
            <p:nvPr/>
          </p:nvGrpSpPr>
          <p:grpSpPr>
            <a:xfrm>
              <a:off x="10175466" y="5898356"/>
              <a:ext cx="482600" cy="550863"/>
              <a:chOff x="10239264" y="5922962"/>
              <a:chExt cx="482600" cy="550863"/>
            </a:xfrm>
            <a:grpFill/>
          </p:grpSpPr>
          <p:sp>
            <p:nvSpPr>
              <p:cNvPr id="102" name="Oval 113">
                <a:extLst>
                  <a:ext uri="{FF2B5EF4-FFF2-40B4-BE49-F238E27FC236}">
                    <a16:creationId xmlns:a16="http://schemas.microsoft.com/office/drawing/2014/main" id="{8B141193-ED18-4A62-B24E-7823E5D2A5B7}"/>
                  </a:ext>
                </a:extLst>
              </p:cNvPr>
              <p:cNvSpPr>
                <a:spLocks noChangeArrowheads="1"/>
              </p:cNvSpPr>
              <p:nvPr/>
            </p:nvSpPr>
            <p:spPr bwMode="auto">
              <a:xfrm>
                <a:off x="10456752" y="6338887"/>
                <a:ext cx="49213" cy="492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Freeform 114">
                <a:extLst>
                  <a:ext uri="{FF2B5EF4-FFF2-40B4-BE49-F238E27FC236}">
                    <a16:creationId xmlns:a16="http://schemas.microsoft.com/office/drawing/2014/main" id="{BBA5D40B-0661-4E8F-800C-7899F0C0F461}"/>
                  </a:ext>
                </a:extLst>
              </p:cNvPr>
              <p:cNvSpPr>
                <a:spLocks noEditPoints="1"/>
              </p:cNvSpPr>
              <p:nvPr/>
            </p:nvSpPr>
            <p:spPr bwMode="auto">
              <a:xfrm>
                <a:off x="10239264" y="6154737"/>
                <a:ext cx="482600" cy="319088"/>
              </a:xfrm>
              <a:custGeom>
                <a:avLst/>
                <a:gdLst>
                  <a:gd name="T0" fmla="*/ 497 w 633"/>
                  <a:gd name="T1" fmla="*/ 388 h 419"/>
                  <a:gd name="T2" fmla="*/ 136 w 633"/>
                  <a:gd name="T3" fmla="*/ 388 h 419"/>
                  <a:gd name="T4" fmla="*/ 136 w 633"/>
                  <a:gd name="T5" fmla="*/ 165 h 419"/>
                  <a:gd name="T6" fmla="*/ 150 w 633"/>
                  <a:gd name="T7" fmla="*/ 151 h 419"/>
                  <a:gd name="T8" fmla="*/ 483 w 633"/>
                  <a:gd name="T9" fmla="*/ 151 h 419"/>
                  <a:gd name="T10" fmla="*/ 497 w 633"/>
                  <a:gd name="T11" fmla="*/ 165 h 419"/>
                  <a:gd name="T12" fmla="*/ 497 w 633"/>
                  <a:gd name="T13" fmla="*/ 388 h 419"/>
                  <a:gd name="T14" fmla="*/ 633 w 633"/>
                  <a:gd name="T15" fmla="*/ 274 h 419"/>
                  <a:gd name="T16" fmla="*/ 633 w 633"/>
                  <a:gd name="T17" fmla="*/ 233 h 419"/>
                  <a:gd name="T18" fmla="*/ 564 w 633"/>
                  <a:gd name="T19" fmla="*/ 233 h 419"/>
                  <a:gd name="T20" fmla="*/ 564 w 633"/>
                  <a:gd name="T21" fmla="*/ 175 h 419"/>
                  <a:gd name="T22" fmla="*/ 395 w 633"/>
                  <a:gd name="T23" fmla="*/ 1 h 419"/>
                  <a:gd name="T24" fmla="*/ 317 w 633"/>
                  <a:gd name="T25" fmla="*/ 62 h 419"/>
                  <a:gd name="T26" fmla="*/ 236 w 633"/>
                  <a:gd name="T27" fmla="*/ 0 h 419"/>
                  <a:gd name="T28" fmla="*/ 70 w 633"/>
                  <a:gd name="T29" fmla="*/ 175 h 419"/>
                  <a:gd name="T30" fmla="*/ 70 w 633"/>
                  <a:gd name="T31" fmla="*/ 233 h 419"/>
                  <a:gd name="T32" fmla="*/ 0 w 633"/>
                  <a:gd name="T33" fmla="*/ 233 h 419"/>
                  <a:gd name="T34" fmla="*/ 0 w 633"/>
                  <a:gd name="T35" fmla="*/ 274 h 419"/>
                  <a:gd name="T36" fmla="*/ 104 w 633"/>
                  <a:gd name="T37" fmla="*/ 274 h 419"/>
                  <a:gd name="T38" fmla="*/ 104 w 633"/>
                  <a:gd name="T39" fmla="*/ 312 h 419"/>
                  <a:gd name="T40" fmla="*/ 87 w 633"/>
                  <a:gd name="T41" fmla="*/ 312 h 419"/>
                  <a:gd name="T42" fmla="*/ 72 w 633"/>
                  <a:gd name="T43" fmla="*/ 319 h 419"/>
                  <a:gd name="T44" fmla="*/ 70 w 633"/>
                  <a:gd name="T45" fmla="*/ 336 h 419"/>
                  <a:gd name="T46" fmla="*/ 96 w 633"/>
                  <a:gd name="T47" fmla="*/ 407 h 419"/>
                  <a:gd name="T48" fmla="*/ 113 w 633"/>
                  <a:gd name="T49" fmla="*/ 419 h 419"/>
                  <a:gd name="T50" fmla="*/ 521 w 633"/>
                  <a:gd name="T51" fmla="*/ 419 h 419"/>
                  <a:gd name="T52" fmla="*/ 537 w 633"/>
                  <a:gd name="T53" fmla="*/ 407 h 419"/>
                  <a:gd name="T54" fmla="*/ 563 w 633"/>
                  <a:gd name="T55" fmla="*/ 336 h 419"/>
                  <a:gd name="T56" fmla="*/ 561 w 633"/>
                  <a:gd name="T57" fmla="*/ 319 h 419"/>
                  <a:gd name="T58" fmla="*/ 547 w 633"/>
                  <a:gd name="T59" fmla="*/ 312 h 419"/>
                  <a:gd name="T60" fmla="*/ 529 w 633"/>
                  <a:gd name="T61" fmla="*/ 312 h 419"/>
                  <a:gd name="T62" fmla="*/ 529 w 633"/>
                  <a:gd name="T63" fmla="*/ 274 h 419"/>
                  <a:gd name="T64" fmla="*/ 633 w 633"/>
                  <a:gd name="T65" fmla="*/ 274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33" h="419">
                    <a:moveTo>
                      <a:pt x="497" y="388"/>
                    </a:moveTo>
                    <a:lnTo>
                      <a:pt x="136" y="388"/>
                    </a:lnTo>
                    <a:lnTo>
                      <a:pt x="136" y="165"/>
                    </a:lnTo>
                    <a:cubicBezTo>
                      <a:pt x="136" y="157"/>
                      <a:pt x="143" y="151"/>
                      <a:pt x="150" y="151"/>
                    </a:cubicBezTo>
                    <a:lnTo>
                      <a:pt x="483" y="151"/>
                    </a:lnTo>
                    <a:cubicBezTo>
                      <a:pt x="491" y="151"/>
                      <a:pt x="497" y="157"/>
                      <a:pt x="497" y="165"/>
                    </a:cubicBezTo>
                    <a:lnTo>
                      <a:pt x="497" y="388"/>
                    </a:lnTo>
                    <a:close/>
                    <a:moveTo>
                      <a:pt x="633" y="274"/>
                    </a:moveTo>
                    <a:lnTo>
                      <a:pt x="633" y="233"/>
                    </a:lnTo>
                    <a:lnTo>
                      <a:pt x="564" y="233"/>
                    </a:lnTo>
                    <a:lnTo>
                      <a:pt x="564" y="175"/>
                    </a:lnTo>
                    <a:cubicBezTo>
                      <a:pt x="564" y="83"/>
                      <a:pt x="493" y="22"/>
                      <a:pt x="395" y="1"/>
                    </a:cubicBezTo>
                    <a:lnTo>
                      <a:pt x="317" y="62"/>
                    </a:lnTo>
                    <a:lnTo>
                      <a:pt x="236" y="0"/>
                    </a:lnTo>
                    <a:cubicBezTo>
                      <a:pt x="139" y="15"/>
                      <a:pt x="70" y="65"/>
                      <a:pt x="70" y="175"/>
                    </a:cubicBezTo>
                    <a:lnTo>
                      <a:pt x="70" y="233"/>
                    </a:lnTo>
                    <a:lnTo>
                      <a:pt x="0" y="233"/>
                    </a:lnTo>
                    <a:lnTo>
                      <a:pt x="0" y="274"/>
                    </a:lnTo>
                    <a:lnTo>
                      <a:pt x="104" y="274"/>
                    </a:lnTo>
                    <a:lnTo>
                      <a:pt x="104" y="312"/>
                    </a:lnTo>
                    <a:lnTo>
                      <a:pt x="87" y="312"/>
                    </a:lnTo>
                    <a:cubicBezTo>
                      <a:pt x="81" y="312"/>
                      <a:pt x="76" y="314"/>
                      <a:pt x="72" y="319"/>
                    </a:cubicBezTo>
                    <a:cubicBezTo>
                      <a:pt x="69" y="324"/>
                      <a:pt x="68" y="330"/>
                      <a:pt x="70" y="336"/>
                    </a:cubicBezTo>
                    <a:lnTo>
                      <a:pt x="96" y="407"/>
                    </a:lnTo>
                    <a:cubicBezTo>
                      <a:pt x="99" y="414"/>
                      <a:pt x="106" y="419"/>
                      <a:pt x="113" y="419"/>
                    </a:cubicBezTo>
                    <a:lnTo>
                      <a:pt x="521" y="419"/>
                    </a:lnTo>
                    <a:cubicBezTo>
                      <a:pt x="528" y="419"/>
                      <a:pt x="535" y="414"/>
                      <a:pt x="537" y="407"/>
                    </a:cubicBezTo>
                    <a:lnTo>
                      <a:pt x="563" y="336"/>
                    </a:lnTo>
                    <a:cubicBezTo>
                      <a:pt x="565" y="330"/>
                      <a:pt x="565" y="324"/>
                      <a:pt x="561" y="319"/>
                    </a:cubicBezTo>
                    <a:cubicBezTo>
                      <a:pt x="558" y="314"/>
                      <a:pt x="552" y="312"/>
                      <a:pt x="547" y="312"/>
                    </a:cubicBezTo>
                    <a:lnTo>
                      <a:pt x="529" y="312"/>
                    </a:lnTo>
                    <a:lnTo>
                      <a:pt x="529" y="274"/>
                    </a:lnTo>
                    <a:lnTo>
                      <a:pt x="633" y="27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Oval 115">
                <a:extLst>
                  <a:ext uri="{FF2B5EF4-FFF2-40B4-BE49-F238E27FC236}">
                    <a16:creationId xmlns:a16="http://schemas.microsoft.com/office/drawing/2014/main" id="{07C8EFFF-6A55-410F-8343-9C4356F18A68}"/>
                  </a:ext>
                </a:extLst>
              </p:cNvPr>
              <p:cNvSpPr>
                <a:spLocks noChangeArrowheads="1"/>
              </p:cNvSpPr>
              <p:nvPr/>
            </p:nvSpPr>
            <p:spPr bwMode="auto">
              <a:xfrm>
                <a:off x="10374202" y="5922962"/>
                <a:ext cx="214313" cy="2143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11" name="Climbing2" descr="{&quot;Key&quot;:&quot;POWER_USER_SHAPE_ICON&quot;,&quot;Value&quot;:&quot;POWER_USER_SHAPE_ICON_STYLE_1&quot;}">
            <a:extLst>
              <a:ext uri="{FF2B5EF4-FFF2-40B4-BE49-F238E27FC236}">
                <a16:creationId xmlns:a16="http://schemas.microsoft.com/office/drawing/2014/main" id="{B9242C15-80EA-4F5E-9586-ED8A18EB528C}"/>
              </a:ext>
            </a:extLst>
          </p:cNvPr>
          <p:cNvGrpSpPr>
            <a:grpSpLocks noChangeAspect="1"/>
          </p:cNvGrpSpPr>
          <p:nvPr>
            <p:custDataLst>
              <p:tags r:id="rId9"/>
            </p:custDataLst>
          </p:nvPr>
        </p:nvGrpSpPr>
        <p:grpSpPr>
          <a:xfrm>
            <a:off x="5083277" y="2837605"/>
            <a:ext cx="440892" cy="542925"/>
            <a:chOff x="5856288" y="-142875"/>
            <a:chExt cx="1303337" cy="1604963"/>
          </a:xfrm>
          <a:solidFill>
            <a:schemeClr val="bg1"/>
          </a:solidFill>
        </p:grpSpPr>
        <p:sp>
          <p:nvSpPr>
            <p:cNvPr id="112" name="Freeform 342">
              <a:extLst>
                <a:ext uri="{FF2B5EF4-FFF2-40B4-BE49-F238E27FC236}">
                  <a16:creationId xmlns:a16="http://schemas.microsoft.com/office/drawing/2014/main" id="{40A48C76-9DFD-4758-BBB3-FBC59AD1197E}"/>
                </a:ext>
              </a:extLst>
            </p:cNvPr>
            <p:cNvSpPr>
              <a:spLocks/>
            </p:cNvSpPr>
            <p:nvPr/>
          </p:nvSpPr>
          <p:spPr bwMode="auto">
            <a:xfrm>
              <a:off x="6743700" y="550863"/>
              <a:ext cx="415925" cy="331788"/>
            </a:xfrm>
            <a:custGeom>
              <a:avLst/>
              <a:gdLst>
                <a:gd name="T0" fmla="*/ 89 w 547"/>
                <a:gd name="T1" fmla="*/ 401 h 435"/>
                <a:gd name="T2" fmla="*/ 0 w 547"/>
                <a:gd name="T3" fmla="*/ 230 h 435"/>
                <a:gd name="T4" fmla="*/ 224 w 547"/>
                <a:gd name="T5" fmla="*/ 251 h 435"/>
                <a:gd name="T6" fmla="*/ 333 w 547"/>
                <a:gd name="T7" fmla="*/ 195 h 435"/>
                <a:gd name="T8" fmla="*/ 446 w 547"/>
                <a:gd name="T9" fmla="*/ 0 h 435"/>
                <a:gd name="T10" fmla="*/ 534 w 547"/>
                <a:gd name="T11" fmla="*/ 170 h 435"/>
                <a:gd name="T12" fmla="*/ 513 w 547"/>
                <a:gd name="T13" fmla="*/ 238 h 435"/>
                <a:gd name="T14" fmla="*/ 156 w 547"/>
                <a:gd name="T15" fmla="*/ 422 h 435"/>
                <a:gd name="T16" fmla="*/ 89 w 547"/>
                <a:gd name="T17" fmla="*/ 401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435">
                  <a:moveTo>
                    <a:pt x="89" y="401"/>
                  </a:moveTo>
                  <a:cubicBezTo>
                    <a:pt x="67" y="358"/>
                    <a:pt x="33" y="294"/>
                    <a:pt x="0" y="230"/>
                  </a:cubicBezTo>
                  <a:cubicBezTo>
                    <a:pt x="86" y="238"/>
                    <a:pt x="165" y="246"/>
                    <a:pt x="224" y="251"/>
                  </a:cubicBezTo>
                  <a:cubicBezTo>
                    <a:pt x="264" y="255"/>
                    <a:pt x="313" y="229"/>
                    <a:pt x="333" y="195"/>
                  </a:cubicBezTo>
                  <a:cubicBezTo>
                    <a:pt x="363" y="143"/>
                    <a:pt x="403" y="74"/>
                    <a:pt x="446" y="0"/>
                  </a:cubicBezTo>
                  <a:cubicBezTo>
                    <a:pt x="479" y="64"/>
                    <a:pt x="512" y="128"/>
                    <a:pt x="534" y="170"/>
                  </a:cubicBezTo>
                  <a:cubicBezTo>
                    <a:pt x="547" y="195"/>
                    <a:pt x="537" y="225"/>
                    <a:pt x="513" y="238"/>
                  </a:cubicBezTo>
                  <a:cubicBezTo>
                    <a:pt x="430" y="280"/>
                    <a:pt x="239" y="379"/>
                    <a:pt x="156" y="422"/>
                  </a:cubicBezTo>
                  <a:cubicBezTo>
                    <a:pt x="131" y="435"/>
                    <a:pt x="101" y="425"/>
                    <a:pt x="89" y="401"/>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Freeform 343">
              <a:extLst>
                <a:ext uri="{FF2B5EF4-FFF2-40B4-BE49-F238E27FC236}">
                  <a16:creationId xmlns:a16="http://schemas.microsoft.com/office/drawing/2014/main" id="{C0CCF65B-D335-496A-8DD0-65642443E647}"/>
                </a:ext>
              </a:extLst>
            </p:cNvPr>
            <p:cNvSpPr>
              <a:spLocks noEditPoints="1"/>
            </p:cNvSpPr>
            <p:nvPr/>
          </p:nvSpPr>
          <p:spPr bwMode="auto">
            <a:xfrm>
              <a:off x="6702425" y="471488"/>
              <a:ext cx="374650" cy="249238"/>
            </a:xfrm>
            <a:custGeom>
              <a:avLst/>
              <a:gdLst>
                <a:gd name="T0" fmla="*/ 163 w 491"/>
                <a:gd name="T1" fmla="*/ 142 h 327"/>
                <a:gd name="T2" fmla="*/ 204 w 491"/>
                <a:gd name="T3" fmla="*/ 79 h 327"/>
                <a:gd name="T4" fmla="*/ 280 w 491"/>
                <a:gd name="T5" fmla="*/ 82 h 327"/>
                <a:gd name="T6" fmla="*/ 163 w 491"/>
                <a:gd name="T7" fmla="*/ 142 h 327"/>
                <a:gd name="T8" fmla="*/ 12 w 491"/>
                <a:gd name="T9" fmla="*/ 278 h 327"/>
                <a:gd name="T10" fmla="*/ 25 w 491"/>
                <a:gd name="T11" fmla="*/ 303 h 327"/>
                <a:gd name="T12" fmla="*/ 271 w 491"/>
                <a:gd name="T13" fmla="*/ 326 h 327"/>
                <a:gd name="T14" fmla="*/ 325 w 491"/>
                <a:gd name="T15" fmla="*/ 314 h 327"/>
                <a:gd name="T16" fmla="*/ 367 w 491"/>
                <a:gd name="T17" fmla="*/ 276 h 327"/>
                <a:gd name="T18" fmla="*/ 491 w 491"/>
                <a:gd name="T19" fmla="*/ 62 h 327"/>
                <a:gd name="T20" fmla="*/ 478 w 491"/>
                <a:gd name="T21" fmla="*/ 37 h 327"/>
                <a:gd name="T22" fmla="*/ 409 w 491"/>
                <a:gd name="T23" fmla="*/ 15 h 327"/>
                <a:gd name="T24" fmla="*/ 323 w 491"/>
                <a:gd name="T25" fmla="*/ 59 h 327"/>
                <a:gd name="T26" fmla="*/ 308 w 491"/>
                <a:gd name="T27" fmla="*/ 53 h 327"/>
                <a:gd name="T28" fmla="*/ 186 w 491"/>
                <a:gd name="T29" fmla="*/ 43 h 327"/>
                <a:gd name="T30" fmla="*/ 123 w 491"/>
                <a:gd name="T31" fmla="*/ 148 h 327"/>
                <a:gd name="T32" fmla="*/ 119 w 491"/>
                <a:gd name="T33" fmla="*/ 165 h 327"/>
                <a:gd name="T34" fmla="*/ 33 w 491"/>
                <a:gd name="T35" fmla="*/ 209 h 327"/>
                <a:gd name="T36" fmla="*/ 12 w 491"/>
                <a:gd name="T37" fmla="*/ 278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1" h="327">
                  <a:moveTo>
                    <a:pt x="163" y="142"/>
                  </a:moveTo>
                  <a:cubicBezTo>
                    <a:pt x="164" y="120"/>
                    <a:pt x="169" y="97"/>
                    <a:pt x="204" y="79"/>
                  </a:cubicBezTo>
                  <a:cubicBezTo>
                    <a:pt x="240" y="60"/>
                    <a:pt x="261" y="70"/>
                    <a:pt x="280" y="82"/>
                  </a:cubicBezTo>
                  <a:cubicBezTo>
                    <a:pt x="242" y="101"/>
                    <a:pt x="201" y="122"/>
                    <a:pt x="163" y="142"/>
                  </a:cubicBezTo>
                  <a:close/>
                  <a:moveTo>
                    <a:pt x="12" y="278"/>
                  </a:moveTo>
                  <a:cubicBezTo>
                    <a:pt x="17" y="288"/>
                    <a:pt x="25" y="303"/>
                    <a:pt x="25" y="303"/>
                  </a:cubicBezTo>
                  <a:lnTo>
                    <a:pt x="271" y="326"/>
                  </a:lnTo>
                  <a:cubicBezTo>
                    <a:pt x="288" y="327"/>
                    <a:pt x="307" y="323"/>
                    <a:pt x="325" y="314"/>
                  </a:cubicBezTo>
                  <a:cubicBezTo>
                    <a:pt x="343" y="304"/>
                    <a:pt x="359" y="291"/>
                    <a:pt x="367" y="276"/>
                  </a:cubicBezTo>
                  <a:lnTo>
                    <a:pt x="491" y="62"/>
                  </a:lnTo>
                  <a:cubicBezTo>
                    <a:pt x="491" y="62"/>
                    <a:pt x="483" y="47"/>
                    <a:pt x="478" y="37"/>
                  </a:cubicBezTo>
                  <a:cubicBezTo>
                    <a:pt x="466" y="15"/>
                    <a:pt x="438" y="0"/>
                    <a:pt x="409" y="15"/>
                  </a:cubicBezTo>
                  <a:cubicBezTo>
                    <a:pt x="397" y="21"/>
                    <a:pt x="354" y="43"/>
                    <a:pt x="323" y="59"/>
                  </a:cubicBezTo>
                  <a:cubicBezTo>
                    <a:pt x="319" y="61"/>
                    <a:pt x="312" y="55"/>
                    <a:pt x="308" y="53"/>
                  </a:cubicBezTo>
                  <a:cubicBezTo>
                    <a:pt x="286" y="38"/>
                    <a:pt x="246" y="12"/>
                    <a:pt x="186" y="43"/>
                  </a:cubicBezTo>
                  <a:cubicBezTo>
                    <a:pt x="125" y="75"/>
                    <a:pt x="124" y="123"/>
                    <a:pt x="123" y="148"/>
                  </a:cubicBezTo>
                  <a:cubicBezTo>
                    <a:pt x="122" y="153"/>
                    <a:pt x="123" y="163"/>
                    <a:pt x="119" y="165"/>
                  </a:cubicBezTo>
                  <a:cubicBezTo>
                    <a:pt x="81" y="184"/>
                    <a:pt x="45" y="203"/>
                    <a:pt x="33" y="209"/>
                  </a:cubicBezTo>
                  <a:cubicBezTo>
                    <a:pt x="5" y="224"/>
                    <a:pt x="0" y="256"/>
                    <a:pt x="12" y="278"/>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 name="Freeform 344">
              <a:extLst>
                <a:ext uri="{FF2B5EF4-FFF2-40B4-BE49-F238E27FC236}">
                  <a16:creationId xmlns:a16="http://schemas.microsoft.com/office/drawing/2014/main" id="{CF614CB5-1DBC-4350-B6DA-A662FC1F263B}"/>
                </a:ext>
              </a:extLst>
            </p:cNvPr>
            <p:cNvSpPr>
              <a:spLocks noEditPoints="1"/>
            </p:cNvSpPr>
            <p:nvPr/>
          </p:nvSpPr>
          <p:spPr bwMode="auto">
            <a:xfrm>
              <a:off x="6015038" y="138113"/>
              <a:ext cx="846138" cy="1042988"/>
            </a:xfrm>
            <a:custGeom>
              <a:avLst/>
              <a:gdLst>
                <a:gd name="T0" fmla="*/ 491 w 1111"/>
                <a:gd name="T1" fmla="*/ 131 h 1370"/>
                <a:gd name="T2" fmla="*/ 504 w 1111"/>
                <a:gd name="T3" fmla="*/ 92 h 1370"/>
                <a:gd name="T4" fmla="*/ 525 w 1111"/>
                <a:gd name="T5" fmla="*/ 80 h 1370"/>
                <a:gd name="T6" fmla="*/ 550 w 1111"/>
                <a:gd name="T7" fmla="*/ 83 h 1370"/>
                <a:gd name="T8" fmla="*/ 577 w 1111"/>
                <a:gd name="T9" fmla="*/ 113 h 1370"/>
                <a:gd name="T10" fmla="*/ 576 w 1111"/>
                <a:gd name="T11" fmla="*/ 140 h 1370"/>
                <a:gd name="T12" fmla="*/ 565 w 1111"/>
                <a:gd name="T13" fmla="*/ 182 h 1370"/>
                <a:gd name="T14" fmla="*/ 673 w 1111"/>
                <a:gd name="T15" fmla="*/ 415 h 1370"/>
                <a:gd name="T16" fmla="*/ 617 w 1111"/>
                <a:gd name="T17" fmla="*/ 515 h 1370"/>
                <a:gd name="T18" fmla="*/ 525 w 1111"/>
                <a:gd name="T19" fmla="*/ 446 h 1370"/>
                <a:gd name="T20" fmla="*/ 531 w 1111"/>
                <a:gd name="T21" fmla="*/ 190 h 1370"/>
                <a:gd name="T22" fmla="*/ 503 w 1111"/>
                <a:gd name="T23" fmla="*/ 155 h 1370"/>
                <a:gd name="T24" fmla="*/ 491 w 1111"/>
                <a:gd name="T25" fmla="*/ 131 h 1370"/>
                <a:gd name="T26" fmla="*/ 374 w 1111"/>
                <a:gd name="T27" fmla="*/ 302 h 1370"/>
                <a:gd name="T28" fmla="*/ 442 w 1111"/>
                <a:gd name="T29" fmla="*/ 621 h 1370"/>
                <a:gd name="T30" fmla="*/ 303 w 1111"/>
                <a:gd name="T31" fmla="*/ 656 h 1370"/>
                <a:gd name="T32" fmla="*/ 266 w 1111"/>
                <a:gd name="T33" fmla="*/ 764 h 1370"/>
                <a:gd name="T34" fmla="*/ 357 w 1111"/>
                <a:gd name="T35" fmla="*/ 1000 h 1370"/>
                <a:gd name="T36" fmla="*/ 305 w 1111"/>
                <a:gd name="T37" fmla="*/ 1023 h 1370"/>
                <a:gd name="T38" fmla="*/ 315 w 1111"/>
                <a:gd name="T39" fmla="*/ 1080 h 1370"/>
                <a:gd name="T40" fmla="*/ 458 w 1111"/>
                <a:gd name="T41" fmla="*/ 1080 h 1370"/>
                <a:gd name="T42" fmla="*/ 495 w 1111"/>
                <a:gd name="T43" fmla="*/ 1020 h 1370"/>
                <a:gd name="T44" fmla="*/ 442 w 1111"/>
                <a:gd name="T45" fmla="*/ 800 h 1370"/>
                <a:gd name="T46" fmla="*/ 674 w 1111"/>
                <a:gd name="T47" fmla="*/ 787 h 1370"/>
                <a:gd name="T48" fmla="*/ 788 w 1111"/>
                <a:gd name="T49" fmla="*/ 1283 h 1370"/>
                <a:gd name="T50" fmla="*/ 739 w 1111"/>
                <a:gd name="T51" fmla="*/ 1311 h 1370"/>
                <a:gd name="T52" fmla="*/ 751 w 1111"/>
                <a:gd name="T53" fmla="*/ 1370 h 1370"/>
                <a:gd name="T54" fmla="*/ 894 w 1111"/>
                <a:gd name="T55" fmla="*/ 1370 h 1370"/>
                <a:gd name="T56" fmla="*/ 930 w 1111"/>
                <a:gd name="T57" fmla="*/ 1314 h 1370"/>
                <a:gd name="T58" fmla="*/ 753 w 1111"/>
                <a:gd name="T59" fmla="*/ 222 h 1370"/>
                <a:gd name="T60" fmla="*/ 903 w 1111"/>
                <a:gd name="T61" fmla="*/ 286 h 1370"/>
                <a:gd name="T62" fmla="*/ 992 w 1111"/>
                <a:gd name="T63" fmla="*/ 436 h 1370"/>
                <a:gd name="T64" fmla="*/ 1046 w 1111"/>
                <a:gd name="T65" fmla="*/ 458 h 1370"/>
                <a:gd name="T66" fmla="*/ 1093 w 1111"/>
                <a:gd name="T67" fmla="*/ 433 h 1370"/>
                <a:gd name="T68" fmla="*/ 1094 w 1111"/>
                <a:gd name="T69" fmla="*/ 371 h 1370"/>
                <a:gd name="T70" fmla="*/ 1027 w 1111"/>
                <a:gd name="T71" fmla="*/ 236 h 1370"/>
                <a:gd name="T72" fmla="*/ 941 w 1111"/>
                <a:gd name="T73" fmla="*/ 142 h 1370"/>
                <a:gd name="T74" fmla="*/ 793 w 1111"/>
                <a:gd name="T75" fmla="*/ 48 h 1370"/>
                <a:gd name="T76" fmla="*/ 669 w 1111"/>
                <a:gd name="T77" fmla="*/ 9 h 1370"/>
                <a:gd name="T78" fmla="*/ 517 w 1111"/>
                <a:gd name="T79" fmla="*/ 40 h 1370"/>
                <a:gd name="T80" fmla="*/ 365 w 1111"/>
                <a:gd name="T81" fmla="*/ 72 h 1370"/>
                <a:gd name="T82" fmla="*/ 259 w 1111"/>
                <a:gd name="T83" fmla="*/ 175 h 1370"/>
                <a:gd name="T84" fmla="*/ 204 w 1111"/>
                <a:gd name="T85" fmla="*/ 272 h 1370"/>
                <a:gd name="T86" fmla="*/ 117 w 1111"/>
                <a:gd name="T87" fmla="*/ 177 h 1370"/>
                <a:gd name="T88" fmla="*/ 59 w 1111"/>
                <a:gd name="T89" fmla="*/ 154 h 1370"/>
                <a:gd name="T90" fmla="*/ 18 w 1111"/>
                <a:gd name="T91" fmla="*/ 189 h 1370"/>
                <a:gd name="T92" fmla="*/ 19 w 1111"/>
                <a:gd name="T93" fmla="*/ 247 h 1370"/>
                <a:gd name="T94" fmla="*/ 158 w 1111"/>
                <a:gd name="T95" fmla="*/ 420 h 1370"/>
                <a:gd name="T96" fmla="*/ 286 w 1111"/>
                <a:gd name="T97" fmla="*/ 414 h 1370"/>
                <a:gd name="T98" fmla="*/ 374 w 1111"/>
                <a:gd name="T99" fmla="*/ 302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11" h="1370">
                  <a:moveTo>
                    <a:pt x="491" y="131"/>
                  </a:moveTo>
                  <a:cubicBezTo>
                    <a:pt x="495" y="121"/>
                    <a:pt x="499" y="107"/>
                    <a:pt x="504" y="92"/>
                  </a:cubicBezTo>
                  <a:cubicBezTo>
                    <a:pt x="506" y="86"/>
                    <a:pt x="515" y="82"/>
                    <a:pt x="525" y="80"/>
                  </a:cubicBezTo>
                  <a:cubicBezTo>
                    <a:pt x="536" y="78"/>
                    <a:pt x="545" y="78"/>
                    <a:pt x="550" y="83"/>
                  </a:cubicBezTo>
                  <a:cubicBezTo>
                    <a:pt x="561" y="94"/>
                    <a:pt x="570" y="105"/>
                    <a:pt x="577" y="113"/>
                  </a:cubicBezTo>
                  <a:cubicBezTo>
                    <a:pt x="586" y="123"/>
                    <a:pt x="583" y="131"/>
                    <a:pt x="576" y="140"/>
                  </a:cubicBezTo>
                  <a:cubicBezTo>
                    <a:pt x="563" y="157"/>
                    <a:pt x="557" y="165"/>
                    <a:pt x="565" y="182"/>
                  </a:cubicBezTo>
                  <a:cubicBezTo>
                    <a:pt x="578" y="214"/>
                    <a:pt x="662" y="390"/>
                    <a:pt x="673" y="415"/>
                  </a:cubicBezTo>
                  <a:cubicBezTo>
                    <a:pt x="666" y="440"/>
                    <a:pt x="628" y="512"/>
                    <a:pt x="617" y="515"/>
                  </a:cubicBezTo>
                  <a:cubicBezTo>
                    <a:pt x="605" y="517"/>
                    <a:pt x="542" y="466"/>
                    <a:pt x="525" y="446"/>
                  </a:cubicBezTo>
                  <a:cubicBezTo>
                    <a:pt x="525" y="419"/>
                    <a:pt x="532" y="224"/>
                    <a:pt x="531" y="190"/>
                  </a:cubicBezTo>
                  <a:cubicBezTo>
                    <a:pt x="530" y="170"/>
                    <a:pt x="522" y="165"/>
                    <a:pt x="503" y="155"/>
                  </a:cubicBezTo>
                  <a:cubicBezTo>
                    <a:pt x="494" y="150"/>
                    <a:pt x="487" y="143"/>
                    <a:pt x="491" y="131"/>
                  </a:cubicBezTo>
                  <a:close/>
                  <a:moveTo>
                    <a:pt x="374" y="302"/>
                  </a:moveTo>
                  <a:cubicBezTo>
                    <a:pt x="381" y="337"/>
                    <a:pt x="411" y="476"/>
                    <a:pt x="442" y="621"/>
                  </a:cubicBezTo>
                  <a:cubicBezTo>
                    <a:pt x="395" y="633"/>
                    <a:pt x="336" y="648"/>
                    <a:pt x="303" y="656"/>
                  </a:cubicBezTo>
                  <a:cubicBezTo>
                    <a:pt x="262" y="667"/>
                    <a:pt x="250" y="722"/>
                    <a:pt x="266" y="764"/>
                  </a:cubicBezTo>
                  <a:cubicBezTo>
                    <a:pt x="315" y="895"/>
                    <a:pt x="335" y="944"/>
                    <a:pt x="357" y="1000"/>
                  </a:cubicBezTo>
                  <a:cubicBezTo>
                    <a:pt x="357" y="1010"/>
                    <a:pt x="333" y="1014"/>
                    <a:pt x="305" y="1023"/>
                  </a:cubicBezTo>
                  <a:cubicBezTo>
                    <a:pt x="277" y="1032"/>
                    <a:pt x="295" y="1080"/>
                    <a:pt x="315" y="1080"/>
                  </a:cubicBezTo>
                  <a:lnTo>
                    <a:pt x="458" y="1080"/>
                  </a:lnTo>
                  <a:cubicBezTo>
                    <a:pt x="476" y="1080"/>
                    <a:pt x="499" y="1064"/>
                    <a:pt x="495" y="1020"/>
                  </a:cubicBezTo>
                  <a:cubicBezTo>
                    <a:pt x="492" y="974"/>
                    <a:pt x="472" y="900"/>
                    <a:pt x="442" y="800"/>
                  </a:cubicBezTo>
                  <a:cubicBezTo>
                    <a:pt x="474" y="797"/>
                    <a:pt x="595" y="795"/>
                    <a:pt x="674" y="787"/>
                  </a:cubicBezTo>
                  <a:cubicBezTo>
                    <a:pt x="722" y="979"/>
                    <a:pt x="776" y="1201"/>
                    <a:pt x="788" y="1283"/>
                  </a:cubicBezTo>
                  <a:cubicBezTo>
                    <a:pt x="789" y="1293"/>
                    <a:pt x="764" y="1301"/>
                    <a:pt x="739" y="1311"/>
                  </a:cubicBezTo>
                  <a:cubicBezTo>
                    <a:pt x="699" y="1327"/>
                    <a:pt x="733" y="1370"/>
                    <a:pt x="751" y="1370"/>
                  </a:cubicBezTo>
                  <a:lnTo>
                    <a:pt x="894" y="1370"/>
                  </a:lnTo>
                  <a:cubicBezTo>
                    <a:pt x="913" y="1370"/>
                    <a:pt x="930" y="1362"/>
                    <a:pt x="930" y="1314"/>
                  </a:cubicBezTo>
                  <a:cubicBezTo>
                    <a:pt x="930" y="1212"/>
                    <a:pt x="775" y="323"/>
                    <a:pt x="753" y="222"/>
                  </a:cubicBezTo>
                  <a:cubicBezTo>
                    <a:pt x="808" y="244"/>
                    <a:pt x="849" y="259"/>
                    <a:pt x="903" y="286"/>
                  </a:cubicBezTo>
                  <a:cubicBezTo>
                    <a:pt x="935" y="338"/>
                    <a:pt x="965" y="390"/>
                    <a:pt x="992" y="436"/>
                  </a:cubicBezTo>
                  <a:cubicBezTo>
                    <a:pt x="1007" y="461"/>
                    <a:pt x="1024" y="469"/>
                    <a:pt x="1046" y="458"/>
                  </a:cubicBezTo>
                  <a:cubicBezTo>
                    <a:pt x="1064" y="450"/>
                    <a:pt x="1076" y="443"/>
                    <a:pt x="1093" y="433"/>
                  </a:cubicBezTo>
                  <a:cubicBezTo>
                    <a:pt x="1105" y="427"/>
                    <a:pt x="1111" y="406"/>
                    <a:pt x="1094" y="371"/>
                  </a:cubicBezTo>
                  <a:cubicBezTo>
                    <a:pt x="1070" y="323"/>
                    <a:pt x="1048" y="279"/>
                    <a:pt x="1027" y="236"/>
                  </a:cubicBezTo>
                  <a:cubicBezTo>
                    <a:pt x="1001" y="182"/>
                    <a:pt x="968" y="160"/>
                    <a:pt x="941" y="142"/>
                  </a:cubicBezTo>
                  <a:cubicBezTo>
                    <a:pt x="893" y="111"/>
                    <a:pt x="845" y="80"/>
                    <a:pt x="793" y="48"/>
                  </a:cubicBezTo>
                  <a:cubicBezTo>
                    <a:pt x="733" y="11"/>
                    <a:pt x="714" y="0"/>
                    <a:pt x="669" y="9"/>
                  </a:cubicBezTo>
                  <a:cubicBezTo>
                    <a:pt x="643" y="13"/>
                    <a:pt x="583" y="27"/>
                    <a:pt x="517" y="40"/>
                  </a:cubicBezTo>
                  <a:cubicBezTo>
                    <a:pt x="452" y="54"/>
                    <a:pt x="391" y="67"/>
                    <a:pt x="365" y="72"/>
                  </a:cubicBezTo>
                  <a:cubicBezTo>
                    <a:pt x="315" y="83"/>
                    <a:pt x="294" y="114"/>
                    <a:pt x="259" y="175"/>
                  </a:cubicBezTo>
                  <a:cubicBezTo>
                    <a:pt x="240" y="208"/>
                    <a:pt x="222" y="241"/>
                    <a:pt x="204" y="272"/>
                  </a:cubicBezTo>
                  <a:cubicBezTo>
                    <a:pt x="179" y="247"/>
                    <a:pt x="193" y="262"/>
                    <a:pt x="117" y="177"/>
                  </a:cubicBezTo>
                  <a:cubicBezTo>
                    <a:pt x="91" y="147"/>
                    <a:pt x="69" y="145"/>
                    <a:pt x="59" y="154"/>
                  </a:cubicBezTo>
                  <a:cubicBezTo>
                    <a:pt x="44" y="167"/>
                    <a:pt x="33" y="175"/>
                    <a:pt x="18" y="189"/>
                  </a:cubicBezTo>
                  <a:cubicBezTo>
                    <a:pt x="0" y="205"/>
                    <a:pt x="1" y="224"/>
                    <a:pt x="19" y="247"/>
                  </a:cubicBezTo>
                  <a:cubicBezTo>
                    <a:pt x="42" y="276"/>
                    <a:pt x="131" y="389"/>
                    <a:pt x="158" y="420"/>
                  </a:cubicBezTo>
                  <a:cubicBezTo>
                    <a:pt x="189" y="455"/>
                    <a:pt x="245" y="460"/>
                    <a:pt x="286" y="414"/>
                  </a:cubicBezTo>
                  <a:cubicBezTo>
                    <a:pt x="305" y="392"/>
                    <a:pt x="350" y="334"/>
                    <a:pt x="374" y="302"/>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Freeform 345">
              <a:extLst>
                <a:ext uri="{FF2B5EF4-FFF2-40B4-BE49-F238E27FC236}">
                  <a16:creationId xmlns:a16="http://schemas.microsoft.com/office/drawing/2014/main" id="{F544FB60-2675-4C29-A137-6F1C9DEDCB70}"/>
                </a:ext>
              </a:extLst>
            </p:cNvPr>
            <p:cNvSpPr>
              <a:spLocks/>
            </p:cNvSpPr>
            <p:nvPr/>
          </p:nvSpPr>
          <p:spPr bwMode="auto">
            <a:xfrm>
              <a:off x="6253163" y="-142875"/>
              <a:ext cx="239713" cy="282575"/>
            </a:xfrm>
            <a:custGeom>
              <a:avLst/>
              <a:gdLst>
                <a:gd name="T0" fmla="*/ 193 w 314"/>
                <a:gd name="T1" fmla="*/ 355 h 371"/>
                <a:gd name="T2" fmla="*/ 20 w 314"/>
                <a:gd name="T3" fmla="*/ 214 h 371"/>
                <a:gd name="T4" fmla="*/ 121 w 314"/>
                <a:gd name="T5" fmla="*/ 16 h 371"/>
                <a:gd name="T6" fmla="*/ 294 w 314"/>
                <a:gd name="T7" fmla="*/ 156 h 371"/>
                <a:gd name="T8" fmla="*/ 193 w 314"/>
                <a:gd name="T9" fmla="*/ 355 h 371"/>
              </a:gdLst>
              <a:ahLst/>
              <a:cxnLst>
                <a:cxn ang="0">
                  <a:pos x="T0" y="T1"/>
                </a:cxn>
                <a:cxn ang="0">
                  <a:pos x="T2" y="T3"/>
                </a:cxn>
                <a:cxn ang="0">
                  <a:pos x="T4" y="T5"/>
                </a:cxn>
                <a:cxn ang="0">
                  <a:pos x="T6" y="T7"/>
                </a:cxn>
                <a:cxn ang="0">
                  <a:pos x="T8" y="T9"/>
                </a:cxn>
              </a:cxnLst>
              <a:rect l="0" t="0" r="r" b="b"/>
              <a:pathLst>
                <a:path w="314" h="371">
                  <a:moveTo>
                    <a:pt x="193" y="355"/>
                  </a:moveTo>
                  <a:cubicBezTo>
                    <a:pt x="117" y="371"/>
                    <a:pt x="39" y="308"/>
                    <a:pt x="20" y="214"/>
                  </a:cubicBezTo>
                  <a:cubicBezTo>
                    <a:pt x="0" y="121"/>
                    <a:pt x="46" y="32"/>
                    <a:pt x="121" y="16"/>
                  </a:cubicBezTo>
                  <a:cubicBezTo>
                    <a:pt x="197" y="0"/>
                    <a:pt x="275" y="63"/>
                    <a:pt x="294" y="156"/>
                  </a:cubicBezTo>
                  <a:cubicBezTo>
                    <a:pt x="314" y="250"/>
                    <a:pt x="269" y="339"/>
                    <a:pt x="193" y="355"/>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Freeform 346">
              <a:extLst>
                <a:ext uri="{FF2B5EF4-FFF2-40B4-BE49-F238E27FC236}">
                  <a16:creationId xmlns:a16="http://schemas.microsoft.com/office/drawing/2014/main" id="{D022E2B9-55AC-4892-AEF7-2220EE4882DF}"/>
                </a:ext>
              </a:extLst>
            </p:cNvPr>
            <p:cNvSpPr>
              <a:spLocks/>
            </p:cNvSpPr>
            <p:nvPr/>
          </p:nvSpPr>
          <p:spPr bwMode="auto">
            <a:xfrm>
              <a:off x="5856288" y="765175"/>
              <a:ext cx="1203325" cy="696913"/>
            </a:xfrm>
            <a:custGeom>
              <a:avLst/>
              <a:gdLst>
                <a:gd name="T0" fmla="*/ 1131 w 1580"/>
                <a:gd name="T1" fmla="*/ 883 h 914"/>
                <a:gd name="T2" fmla="*/ 1131 w 1580"/>
                <a:gd name="T3" fmla="*/ 629 h 914"/>
                <a:gd name="T4" fmla="*/ 774 w 1580"/>
                <a:gd name="T5" fmla="*/ 629 h 914"/>
                <a:gd name="T6" fmla="*/ 743 w 1580"/>
                <a:gd name="T7" fmla="*/ 599 h 914"/>
                <a:gd name="T8" fmla="*/ 743 w 1580"/>
                <a:gd name="T9" fmla="*/ 345 h 914"/>
                <a:gd name="T10" fmla="*/ 386 w 1580"/>
                <a:gd name="T11" fmla="*/ 345 h 914"/>
                <a:gd name="T12" fmla="*/ 386 w 1580"/>
                <a:gd name="T13" fmla="*/ 345 h 914"/>
                <a:gd name="T14" fmla="*/ 355 w 1580"/>
                <a:gd name="T15" fmla="*/ 315 h 914"/>
                <a:gd name="T16" fmla="*/ 355 w 1580"/>
                <a:gd name="T17" fmla="*/ 61 h 914"/>
                <a:gd name="T18" fmla="*/ 31 w 1580"/>
                <a:gd name="T19" fmla="*/ 61 h 914"/>
                <a:gd name="T20" fmla="*/ 0 w 1580"/>
                <a:gd name="T21" fmla="*/ 30 h 914"/>
                <a:gd name="T22" fmla="*/ 31 w 1580"/>
                <a:gd name="T23" fmla="*/ 0 h 914"/>
                <a:gd name="T24" fmla="*/ 386 w 1580"/>
                <a:gd name="T25" fmla="*/ 0 h 914"/>
                <a:gd name="T26" fmla="*/ 416 w 1580"/>
                <a:gd name="T27" fmla="*/ 30 h 914"/>
                <a:gd name="T28" fmla="*/ 416 w 1580"/>
                <a:gd name="T29" fmla="*/ 284 h 914"/>
                <a:gd name="T30" fmla="*/ 774 w 1580"/>
                <a:gd name="T31" fmla="*/ 284 h 914"/>
                <a:gd name="T32" fmla="*/ 804 w 1580"/>
                <a:gd name="T33" fmla="*/ 315 h 914"/>
                <a:gd name="T34" fmla="*/ 804 w 1580"/>
                <a:gd name="T35" fmla="*/ 568 h 914"/>
                <a:gd name="T36" fmla="*/ 1162 w 1580"/>
                <a:gd name="T37" fmla="*/ 568 h 914"/>
                <a:gd name="T38" fmla="*/ 1192 w 1580"/>
                <a:gd name="T39" fmla="*/ 599 h 914"/>
                <a:gd name="T40" fmla="*/ 1192 w 1580"/>
                <a:gd name="T41" fmla="*/ 853 h 914"/>
                <a:gd name="T42" fmla="*/ 1550 w 1580"/>
                <a:gd name="T43" fmla="*/ 853 h 914"/>
                <a:gd name="T44" fmla="*/ 1580 w 1580"/>
                <a:gd name="T45" fmla="*/ 883 h 914"/>
                <a:gd name="T46" fmla="*/ 1544 w 1580"/>
                <a:gd name="T47" fmla="*/ 914 h 914"/>
                <a:gd name="T48" fmla="*/ 1162 w 1580"/>
                <a:gd name="T49" fmla="*/ 914 h 914"/>
                <a:gd name="T50" fmla="*/ 1131 w 1580"/>
                <a:gd name="T51" fmla="*/ 883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0" h="914">
                  <a:moveTo>
                    <a:pt x="1131" y="883"/>
                  </a:moveTo>
                  <a:lnTo>
                    <a:pt x="1131" y="629"/>
                  </a:lnTo>
                  <a:lnTo>
                    <a:pt x="774" y="629"/>
                  </a:lnTo>
                  <a:cubicBezTo>
                    <a:pt x="757" y="629"/>
                    <a:pt x="743" y="616"/>
                    <a:pt x="743" y="599"/>
                  </a:cubicBezTo>
                  <a:lnTo>
                    <a:pt x="743" y="345"/>
                  </a:lnTo>
                  <a:lnTo>
                    <a:pt x="386" y="345"/>
                  </a:lnTo>
                  <a:lnTo>
                    <a:pt x="386" y="345"/>
                  </a:lnTo>
                  <a:cubicBezTo>
                    <a:pt x="369" y="345"/>
                    <a:pt x="355" y="331"/>
                    <a:pt x="355" y="315"/>
                  </a:cubicBezTo>
                  <a:lnTo>
                    <a:pt x="355" y="61"/>
                  </a:lnTo>
                  <a:lnTo>
                    <a:pt x="31" y="61"/>
                  </a:lnTo>
                  <a:cubicBezTo>
                    <a:pt x="14" y="61"/>
                    <a:pt x="0" y="47"/>
                    <a:pt x="0" y="30"/>
                  </a:cubicBezTo>
                  <a:cubicBezTo>
                    <a:pt x="0" y="13"/>
                    <a:pt x="14" y="0"/>
                    <a:pt x="31" y="0"/>
                  </a:cubicBezTo>
                  <a:lnTo>
                    <a:pt x="386" y="0"/>
                  </a:lnTo>
                  <a:cubicBezTo>
                    <a:pt x="402" y="0"/>
                    <a:pt x="416" y="13"/>
                    <a:pt x="416" y="30"/>
                  </a:cubicBezTo>
                  <a:lnTo>
                    <a:pt x="416" y="284"/>
                  </a:lnTo>
                  <a:lnTo>
                    <a:pt x="774" y="284"/>
                  </a:lnTo>
                  <a:cubicBezTo>
                    <a:pt x="790" y="284"/>
                    <a:pt x="804" y="298"/>
                    <a:pt x="804" y="315"/>
                  </a:cubicBezTo>
                  <a:lnTo>
                    <a:pt x="804" y="568"/>
                  </a:lnTo>
                  <a:lnTo>
                    <a:pt x="1162" y="568"/>
                  </a:lnTo>
                  <a:cubicBezTo>
                    <a:pt x="1179" y="568"/>
                    <a:pt x="1192" y="582"/>
                    <a:pt x="1192" y="599"/>
                  </a:cubicBezTo>
                  <a:lnTo>
                    <a:pt x="1192" y="853"/>
                  </a:lnTo>
                  <a:lnTo>
                    <a:pt x="1550" y="853"/>
                  </a:lnTo>
                  <a:cubicBezTo>
                    <a:pt x="1567" y="853"/>
                    <a:pt x="1580" y="866"/>
                    <a:pt x="1580" y="883"/>
                  </a:cubicBezTo>
                  <a:cubicBezTo>
                    <a:pt x="1580" y="899"/>
                    <a:pt x="1568" y="914"/>
                    <a:pt x="1544" y="914"/>
                  </a:cubicBezTo>
                  <a:lnTo>
                    <a:pt x="1162" y="914"/>
                  </a:lnTo>
                  <a:cubicBezTo>
                    <a:pt x="1145" y="914"/>
                    <a:pt x="1131" y="900"/>
                    <a:pt x="1131" y="883"/>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17" name="Making_money" descr="{&quot;Key&quot;:&quot;POWER_USER_SHAPE_ICON&quot;,&quot;Value&quot;:&quot;POWER_USER_SHAPE_ICON_STYLE_1&quot;}">
            <a:extLst>
              <a:ext uri="{FF2B5EF4-FFF2-40B4-BE49-F238E27FC236}">
                <a16:creationId xmlns:a16="http://schemas.microsoft.com/office/drawing/2014/main" id="{E118A964-A7C1-4AE6-890A-7BDA3C0CABCF}"/>
              </a:ext>
            </a:extLst>
          </p:cNvPr>
          <p:cNvGrpSpPr>
            <a:grpSpLocks noChangeAspect="1"/>
          </p:cNvGrpSpPr>
          <p:nvPr>
            <p:custDataLst>
              <p:tags r:id="rId10"/>
            </p:custDataLst>
          </p:nvPr>
        </p:nvGrpSpPr>
        <p:grpSpPr>
          <a:xfrm>
            <a:off x="7000568" y="2857270"/>
            <a:ext cx="642101" cy="542925"/>
            <a:chOff x="7386638" y="2532063"/>
            <a:chExt cx="801688" cy="677863"/>
          </a:xfrm>
          <a:solidFill>
            <a:schemeClr val="bg2"/>
          </a:solidFill>
        </p:grpSpPr>
        <p:sp>
          <p:nvSpPr>
            <p:cNvPr id="118" name="Freeform 241">
              <a:extLst>
                <a:ext uri="{FF2B5EF4-FFF2-40B4-BE49-F238E27FC236}">
                  <a16:creationId xmlns:a16="http://schemas.microsoft.com/office/drawing/2014/main" id="{E77A851C-BA76-44AE-ACED-CF1780EEF1E0}"/>
                </a:ext>
              </a:extLst>
            </p:cNvPr>
            <p:cNvSpPr>
              <a:spLocks noEditPoints="1"/>
            </p:cNvSpPr>
            <p:nvPr/>
          </p:nvSpPr>
          <p:spPr bwMode="auto">
            <a:xfrm>
              <a:off x="7812088" y="2833688"/>
              <a:ext cx="376238" cy="376238"/>
            </a:xfrm>
            <a:custGeom>
              <a:avLst/>
              <a:gdLst>
                <a:gd name="T0" fmla="*/ 247 w 494"/>
                <a:gd name="T1" fmla="*/ 333 h 494"/>
                <a:gd name="T2" fmla="*/ 160 w 494"/>
                <a:gd name="T3" fmla="*/ 247 h 494"/>
                <a:gd name="T4" fmla="*/ 247 w 494"/>
                <a:gd name="T5" fmla="*/ 160 h 494"/>
                <a:gd name="T6" fmla="*/ 333 w 494"/>
                <a:gd name="T7" fmla="*/ 247 h 494"/>
                <a:gd name="T8" fmla="*/ 247 w 494"/>
                <a:gd name="T9" fmla="*/ 333 h 494"/>
                <a:gd name="T10" fmla="*/ 492 w 494"/>
                <a:gd name="T11" fmla="*/ 272 h 494"/>
                <a:gd name="T12" fmla="*/ 494 w 494"/>
                <a:gd name="T13" fmla="*/ 247 h 494"/>
                <a:gd name="T14" fmla="*/ 492 w 494"/>
                <a:gd name="T15" fmla="*/ 221 h 494"/>
                <a:gd name="T16" fmla="*/ 427 w 494"/>
                <a:gd name="T17" fmla="*/ 198 h 494"/>
                <a:gd name="T18" fmla="*/ 408 w 494"/>
                <a:gd name="T19" fmla="*/ 153 h 494"/>
                <a:gd name="T20" fmla="*/ 438 w 494"/>
                <a:gd name="T21" fmla="*/ 91 h 494"/>
                <a:gd name="T22" fmla="*/ 402 w 494"/>
                <a:gd name="T23" fmla="*/ 55 h 494"/>
                <a:gd name="T24" fmla="*/ 340 w 494"/>
                <a:gd name="T25" fmla="*/ 85 h 494"/>
                <a:gd name="T26" fmla="*/ 295 w 494"/>
                <a:gd name="T27" fmla="*/ 66 h 494"/>
                <a:gd name="T28" fmla="*/ 272 w 494"/>
                <a:gd name="T29" fmla="*/ 1 h 494"/>
                <a:gd name="T30" fmla="*/ 247 w 494"/>
                <a:gd name="T31" fmla="*/ 0 h 494"/>
                <a:gd name="T32" fmla="*/ 222 w 494"/>
                <a:gd name="T33" fmla="*/ 1 h 494"/>
                <a:gd name="T34" fmla="*/ 198 w 494"/>
                <a:gd name="T35" fmla="*/ 66 h 494"/>
                <a:gd name="T36" fmla="*/ 154 w 494"/>
                <a:gd name="T37" fmla="*/ 85 h 494"/>
                <a:gd name="T38" fmla="*/ 91 w 494"/>
                <a:gd name="T39" fmla="*/ 55 h 494"/>
                <a:gd name="T40" fmla="*/ 55 w 494"/>
                <a:gd name="T41" fmla="*/ 91 h 494"/>
                <a:gd name="T42" fmla="*/ 85 w 494"/>
                <a:gd name="T43" fmla="*/ 153 h 494"/>
                <a:gd name="T44" fmla="*/ 66 w 494"/>
                <a:gd name="T45" fmla="*/ 198 h 494"/>
                <a:gd name="T46" fmla="*/ 1 w 494"/>
                <a:gd name="T47" fmla="*/ 221 h 494"/>
                <a:gd name="T48" fmla="*/ 0 w 494"/>
                <a:gd name="T49" fmla="*/ 247 h 494"/>
                <a:gd name="T50" fmla="*/ 1 w 494"/>
                <a:gd name="T51" fmla="*/ 272 h 494"/>
                <a:gd name="T52" fmla="*/ 66 w 494"/>
                <a:gd name="T53" fmla="*/ 295 h 494"/>
                <a:gd name="T54" fmla="*/ 85 w 494"/>
                <a:gd name="T55" fmla="*/ 340 h 494"/>
                <a:gd name="T56" fmla="*/ 55 w 494"/>
                <a:gd name="T57" fmla="*/ 403 h 494"/>
                <a:gd name="T58" fmla="*/ 91 w 494"/>
                <a:gd name="T59" fmla="*/ 439 h 494"/>
                <a:gd name="T60" fmla="*/ 154 w 494"/>
                <a:gd name="T61" fmla="*/ 409 h 494"/>
                <a:gd name="T62" fmla="*/ 198 w 494"/>
                <a:gd name="T63" fmla="*/ 427 h 494"/>
                <a:gd name="T64" fmla="*/ 222 w 494"/>
                <a:gd name="T65" fmla="*/ 492 h 494"/>
                <a:gd name="T66" fmla="*/ 247 w 494"/>
                <a:gd name="T67" fmla="*/ 494 h 494"/>
                <a:gd name="T68" fmla="*/ 272 w 494"/>
                <a:gd name="T69" fmla="*/ 492 h 494"/>
                <a:gd name="T70" fmla="*/ 295 w 494"/>
                <a:gd name="T71" fmla="*/ 427 h 494"/>
                <a:gd name="T72" fmla="*/ 340 w 494"/>
                <a:gd name="T73" fmla="*/ 409 h 494"/>
                <a:gd name="T74" fmla="*/ 402 w 494"/>
                <a:gd name="T75" fmla="*/ 439 h 494"/>
                <a:gd name="T76" fmla="*/ 438 w 494"/>
                <a:gd name="T77" fmla="*/ 403 h 494"/>
                <a:gd name="T78" fmla="*/ 408 w 494"/>
                <a:gd name="T79" fmla="*/ 340 h 494"/>
                <a:gd name="T80" fmla="*/ 427 w 494"/>
                <a:gd name="T81" fmla="*/ 295 h 494"/>
                <a:gd name="T82" fmla="*/ 492 w 494"/>
                <a:gd name="T83" fmla="*/ 27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4" h="494">
                  <a:moveTo>
                    <a:pt x="247" y="333"/>
                  </a:moveTo>
                  <a:cubicBezTo>
                    <a:pt x="199" y="333"/>
                    <a:pt x="160" y="294"/>
                    <a:pt x="160" y="247"/>
                  </a:cubicBezTo>
                  <a:cubicBezTo>
                    <a:pt x="160" y="199"/>
                    <a:pt x="199" y="160"/>
                    <a:pt x="247" y="160"/>
                  </a:cubicBezTo>
                  <a:cubicBezTo>
                    <a:pt x="294" y="160"/>
                    <a:pt x="333" y="199"/>
                    <a:pt x="333" y="247"/>
                  </a:cubicBezTo>
                  <a:cubicBezTo>
                    <a:pt x="333" y="294"/>
                    <a:pt x="294" y="333"/>
                    <a:pt x="247" y="333"/>
                  </a:cubicBezTo>
                  <a:close/>
                  <a:moveTo>
                    <a:pt x="492" y="272"/>
                  </a:moveTo>
                  <a:cubicBezTo>
                    <a:pt x="493" y="264"/>
                    <a:pt x="494" y="255"/>
                    <a:pt x="494" y="247"/>
                  </a:cubicBezTo>
                  <a:cubicBezTo>
                    <a:pt x="494" y="238"/>
                    <a:pt x="493" y="230"/>
                    <a:pt x="492" y="221"/>
                  </a:cubicBezTo>
                  <a:lnTo>
                    <a:pt x="427" y="198"/>
                  </a:lnTo>
                  <a:cubicBezTo>
                    <a:pt x="423" y="182"/>
                    <a:pt x="416" y="167"/>
                    <a:pt x="408" y="153"/>
                  </a:cubicBezTo>
                  <a:lnTo>
                    <a:pt x="438" y="91"/>
                  </a:lnTo>
                  <a:cubicBezTo>
                    <a:pt x="427" y="77"/>
                    <a:pt x="415" y="65"/>
                    <a:pt x="402" y="55"/>
                  </a:cubicBezTo>
                  <a:lnTo>
                    <a:pt x="340" y="85"/>
                  </a:lnTo>
                  <a:cubicBezTo>
                    <a:pt x="326" y="77"/>
                    <a:pt x="311" y="70"/>
                    <a:pt x="295" y="66"/>
                  </a:cubicBezTo>
                  <a:lnTo>
                    <a:pt x="272" y="1"/>
                  </a:lnTo>
                  <a:cubicBezTo>
                    <a:pt x="263" y="0"/>
                    <a:pt x="255" y="0"/>
                    <a:pt x="247" y="0"/>
                  </a:cubicBezTo>
                  <a:cubicBezTo>
                    <a:pt x="238" y="0"/>
                    <a:pt x="230" y="0"/>
                    <a:pt x="222" y="1"/>
                  </a:cubicBezTo>
                  <a:lnTo>
                    <a:pt x="198" y="66"/>
                  </a:lnTo>
                  <a:cubicBezTo>
                    <a:pt x="183" y="70"/>
                    <a:pt x="168" y="77"/>
                    <a:pt x="154" y="85"/>
                  </a:cubicBezTo>
                  <a:lnTo>
                    <a:pt x="91" y="55"/>
                  </a:lnTo>
                  <a:cubicBezTo>
                    <a:pt x="78" y="65"/>
                    <a:pt x="66" y="77"/>
                    <a:pt x="55" y="91"/>
                  </a:cubicBezTo>
                  <a:lnTo>
                    <a:pt x="85" y="153"/>
                  </a:lnTo>
                  <a:cubicBezTo>
                    <a:pt x="77" y="167"/>
                    <a:pt x="71" y="182"/>
                    <a:pt x="66" y="198"/>
                  </a:cubicBezTo>
                  <a:lnTo>
                    <a:pt x="1" y="221"/>
                  </a:lnTo>
                  <a:cubicBezTo>
                    <a:pt x="0" y="230"/>
                    <a:pt x="0" y="238"/>
                    <a:pt x="0" y="247"/>
                  </a:cubicBezTo>
                  <a:cubicBezTo>
                    <a:pt x="0" y="255"/>
                    <a:pt x="0" y="264"/>
                    <a:pt x="1" y="272"/>
                  </a:cubicBezTo>
                  <a:lnTo>
                    <a:pt x="66" y="295"/>
                  </a:lnTo>
                  <a:cubicBezTo>
                    <a:pt x="71" y="311"/>
                    <a:pt x="77" y="326"/>
                    <a:pt x="85" y="340"/>
                  </a:cubicBezTo>
                  <a:lnTo>
                    <a:pt x="55" y="403"/>
                  </a:lnTo>
                  <a:cubicBezTo>
                    <a:pt x="66" y="416"/>
                    <a:pt x="78" y="428"/>
                    <a:pt x="91" y="439"/>
                  </a:cubicBezTo>
                  <a:lnTo>
                    <a:pt x="154" y="409"/>
                  </a:lnTo>
                  <a:cubicBezTo>
                    <a:pt x="168" y="417"/>
                    <a:pt x="183" y="423"/>
                    <a:pt x="198" y="427"/>
                  </a:cubicBezTo>
                  <a:lnTo>
                    <a:pt x="222" y="492"/>
                  </a:lnTo>
                  <a:cubicBezTo>
                    <a:pt x="230" y="493"/>
                    <a:pt x="238" y="494"/>
                    <a:pt x="247" y="494"/>
                  </a:cubicBezTo>
                  <a:cubicBezTo>
                    <a:pt x="255" y="494"/>
                    <a:pt x="263" y="493"/>
                    <a:pt x="272" y="492"/>
                  </a:cubicBezTo>
                  <a:lnTo>
                    <a:pt x="295" y="427"/>
                  </a:lnTo>
                  <a:cubicBezTo>
                    <a:pt x="311" y="423"/>
                    <a:pt x="326" y="417"/>
                    <a:pt x="340" y="409"/>
                  </a:cubicBezTo>
                  <a:lnTo>
                    <a:pt x="402" y="439"/>
                  </a:lnTo>
                  <a:cubicBezTo>
                    <a:pt x="415" y="428"/>
                    <a:pt x="427" y="416"/>
                    <a:pt x="438" y="403"/>
                  </a:cubicBezTo>
                  <a:lnTo>
                    <a:pt x="408" y="340"/>
                  </a:lnTo>
                  <a:cubicBezTo>
                    <a:pt x="416" y="326"/>
                    <a:pt x="423" y="311"/>
                    <a:pt x="427" y="295"/>
                  </a:cubicBezTo>
                  <a:lnTo>
                    <a:pt x="492" y="2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Freeform 242">
              <a:extLst>
                <a:ext uri="{FF2B5EF4-FFF2-40B4-BE49-F238E27FC236}">
                  <a16:creationId xmlns:a16="http://schemas.microsoft.com/office/drawing/2014/main" id="{66451B6A-0D6B-4882-B003-377C6D555E04}"/>
                </a:ext>
              </a:extLst>
            </p:cNvPr>
            <p:cNvSpPr>
              <a:spLocks/>
            </p:cNvSpPr>
            <p:nvPr/>
          </p:nvSpPr>
          <p:spPr bwMode="auto">
            <a:xfrm>
              <a:off x="7585075" y="2689225"/>
              <a:ext cx="101600" cy="182563"/>
            </a:xfrm>
            <a:custGeom>
              <a:avLst/>
              <a:gdLst>
                <a:gd name="T0" fmla="*/ 67 w 134"/>
                <a:gd name="T1" fmla="*/ 103 h 240"/>
                <a:gd name="T2" fmla="*/ 35 w 134"/>
                <a:gd name="T3" fmla="*/ 79 h 240"/>
                <a:gd name="T4" fmla="*/ 67 w 134"/>
                <a:gd name="T5" fmla="*/ 54 h 240"/>
                <a:gd name="T6" fmla="*/ 99 w 134"/>
                <a:gd name="T7" fmla="*/ 79 h 240"/>
                <a:gd name="T8" fmla="*/ 134 w 134"/>
                <a:gd name="T9" fmla="*/ 79 h 240"/>
                <a:gd name="T10" fmla="*/ 84 w 134"/>
                <a:gd name="T11" fmla="*/ 22 h 240"/>
                <a:gd name="T12" fmla="*/ 84 w 134"/>
                <a:gd name="T13" fmla="*/ 0 h 240"/>
                <a:gd name="T14" fmla="*/ 50 w 134"/>
                <a:gd name="T15" fmla="*/ 0 h 240"/>
                <a:gd name="T16" fmla="*/ 50 w 134"/>
                <a:gd name="T17" fmla="*/ 22 h 240"/>
                <a:gd name="T18" fmla="*/ 0 w 134"/>
                <a:gd name="T19" fmla="*/ 79 h 240"/>
                <a:gd name="T20" fmla="*/ 67 w 134"/>
                <a:gd name="T21" fmla="*/ 137 h 240"/>
                <a:gd name="T22" fmla="*/ 99 w 134"/>
                <a:gd name="T23" fmla="*/ 162 h 240"/>
                <a:gd name="T24" fmla="*/ 67 w 134"/>
                <a:gd name="T25" fmla="*/ 186 h 240"/>
                <a:gd name="T26" fmla="*/ 35 w 134"/>
                <a:gd name="T27" fmla="*/ 162 h 240"/>
                <a:gd name="T28" fmla="*/ 0 w 134"/>
                <a:gd name="T29" fmla="*/ 162 h 240"/>
                <a:gd name="T30" fmla="*/ 50 w 134"/>
                <a:gd name="T31" fmla="*/ 218 h 240"/>
                <a:gd name="T32" fmla="*/ 50 w 134"/>
                <a:gd name="T33" fmla="*/ 240 h 240"/>
                <a:gd name="T34" fmla="*/ 84 w 134"/>
                <a:gd name="T35" fmla="*/ 240 h 240"/>
                <a:gd name="T36" fmla="*/ 84 w 134"/>
                <a:gd name="T37" fmla="*/ 218 h 240"/>
                <a:gd name="T38" fmla="*/ 134 w 134"/>
                <a:gd name="T39" fmla="*/ 162 h 240"/>
                <a:gd name="T40" fmla="*/ 67 w 134"/>
                <a:gd name="T41" fmla="*/ 10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4" h="240">
                  <a:moveTo>
                    <a:pt x="67" y="103"/>
                  </a:moveTo>
                  <a:cubicBezTo>
                    <a:pt x="55" y="103"/>
                    <a:pt x="35" y="100"/>
                    <a:pt x="35" y="79"/>
                  </a:cubicBezTo>
                  <a:cubicBezTo>
                    <a:pt x="35" y="65"/>
                    <a:pt x="49" y="54"/>
                    <a:pt x="67" y="54"/>
                  </a:cubicBezTo>
                  <a:cubicBezTo>
                    <a:pt x="84" y="54"/>
                    <a:pt x="99" y="65"/>
                    <a:pt x="99" y="79"/>
                  </a:cubicBezTo>
                  <a:lnTo>
                    <a:pt x="134" y="79"/>
                  </a:lnTo>
                  <a:cubicBezTo>
                    <a:pt x="134" y="51"/>
                    <a:pt x="113" y="29"/>
                    <a:pt x="84" y="22"/>
                  </a:cubicBezTo>
                  <a:lnTo>
                    <a:pt x="84" y="0"/>
                  </a:lnTo>
                  <a:lnTo>
                    <a:pt x="50" y="0"/>
                  </a:lnTo>
                  <a:lnTo>
                    <a:pt x="50" y="22"/>
                  </a:lnTo>
                  <a:cubicBezTo>
                    <a:pt x="21" y="29"/>
                    <a:pt x="0" y="51"/>
                    <a:pt x="0" y="79"/>
                  </a:cubicBezTo>
                  <a:cubicBezTo>
                    <a:pt x="0" y="108"/>
                    <a:pt x="21" y="137"/>
                    <a:pt x="67" y="137"/>
                  </a:cubicBezTo>
                  <a:cubicBezTo>
                    <a:pt x="87" y="137"/>
                    <a:pt x="99" y="146"/>
                    <a:pt x="99" y="162"/>
                  </a:cubicBezTo>
                  <a:cubicBezTo>
                    <a:pt x="99" y="175"/>
                    <a:pt x="84" y="186"/>
                    <a:pt x="67" y="186"/>
                  </a:cubicBezTo>
                  <a:cubicBezTo>
                    <a:pt x="49" y="186"/>
                    <a:pt x="35" y="175"/>
                    <a:pt x="35" y="162"/>
                  </a:cubicBezTo>
                  <a:lnTo>
                    <a:pt x="0" y="162"/>
                  </a:lnTo>
                  <a:cubicBezTo>
                    <a:pt x="0" y="189"/>
                    <a:pt x="21" y="211"/>
                    <a:pt x="50" y="218"/>
                  </a:cubicBezTo>
                  <a:lnTo>
                    <a:pt x="50" y="240"/>
                  </a:lnTo>
                  <a:lnTo>
                    <a:pt x="84" y="240"/>
                  </a:lnTo>
                  <a:lnTo>
                    <a:pt x="84" y="218"/>
                  </a:lnTo>
                  <a:cubicBezTo>
                    <a:pt x="113" y="211"/>
                    <a:pt x="134" y="189"/>
                    <a:pt x="134" y="162"/>
                  </a:cubicBezTo>
                  <a:cubicBezTo>
                    <a:pt x="134" y="127"/>
                    <a:pt x="106" y="103"/>
                    <a:pt x="67" y="10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 name="Freeform 243">
              <a:extLst>
                <a:ext uri="{FF2B5EF4-FFF2-40B4-BE49-F238E27FC236}">
                  <a16:creationId xmlns:a16="http://schemas.microsoft.com/office/drawing/2014/main" id="{895C62BB-D489-449D-9B06-ABD4BE1DB314}"/>
                </a:ext>
              </a:extLst>
            </p:cNvPr>
            <p:cNvSpPr>
              <a:spLocks noEditPoints="1"/>
            </p:cNvSpPr>
            <p:nvPr/>
          </p:nvSpPr>
          <p:spPr bwMode="auto">
            <a:xfrm>
              <a:off x="7386638" y="2532063"/>
              <a:ext cx="498475" cy="498475"/>
            </a:xfrm>
            <a:custGeom>
              <a:avLst/>
              <a:gdLst>
                <a:gd name="T0" fmla="*/ 327 w 654"/>
                <a:gd name="T1" fmla="*/ 483 h 654"/>
                <a:gd name="T2" fmla="*/ 171 w 654"/>
                <a:gd name="T3" fmla="*/ 327 h 654"/>
                <a:gd name="T4" fmla="*/ 327 w 654"/>
                <a:gd name="T5" fmla="*/ 171 h 654"/>
                <a:gd name="T6" fmla="*/ 483 w 654"/>
                <a:gd name="T7" fmla="*/ 327 h 654"/>
                <a:gd name="T8" fmla="*/ 327 w 654"/>
                <a:gd name="T9" fmla="*/ 483 h 654"/>
                <a:gd name="T10" fmla="*/ 652 w 654"/>
                <a:gd name="T11" fmla="*/ 361 h 654"/>
                <a:gd name="T12" fmla="*/ 654 w 654"/>
                <a:gd name="T13" fmla="*/ 327 h 654"/>
                <a:gd name="T14" fmla="*/ 652 w 654"/>
                <a:gd name="T15" fmla="*/ 294 h 654"/>
                <a:gd name="T16" fmla="*/ 565 w 654"/>
                <a:gd name="T17" fmla="*/ 263 h 654"/>
                <a:gd name="T18" fmla="*/ 541 w 654"/>
                <a:gd name="T19" fmla="*/ 203 h 654"/>
                <a:gd name="T20" fmla="*/ 580 w 654"/>
                <a:gd name="T21" fmla="*/ 121 h 654"/>
                <a:gd name="T22" fmla="*/ 533 w 654"/>
                <a:gd name="T23" fmla="*/ 73 h 654"/>
                <a:gd name="T24" fmla="*/ 450 w 654"/>
                <a:gd name="T25" fmla="*/ 113 h 654"/>
                <a:gd name="T26" fmla="*/ 391 w 654"/>
                <a:gd name="T27" fmla="*/ 88 h 654"/>
                <a:gd name="T28" fmla="*/ 360 w 654"/>
                <a:gd name="T29" fmla="*/ 2 h 654"/>
                <a:gd name="T30" fmla="*/ 327 w 654"/>
                <a:gd name="T31" fmla="*/ 0 h 654"/>
                <a:gd name="T32" fmla="*/ 294 w 654"/>
                <a:gd name="T33" fmla="*/ 2 h 654"/>
                <a:gd name="T34" fmla="*/ 263 w 654"/>
                <a:gd name="T35" fmla="*/ 88 h 654"/>
                <a:gd name="T36" fmla="*/ 204 w 654"/>
                <a:gd name="T37" fmla="*/ 113 h 654"/>
                <a:gd name="T38" fmla="*/ 121 w 654"/>
                <a:gd name="T39" fmla="*/ 73 h 654"/>
                <a:gd name="T40" fmla="*/ 74 w 654"/>
                <a:gd name="T41" fmla="*/ 121 h 654"/>
                <a:gd name="T42" fmla="*/ 113 w 654"/>
                <a:gd name="T43" fmla="*/ 203 h 654"/>
                <a:gd name="T44" fmla="*/ 88 w 654"/>
                <a:gd name="T45" fmla="*/ 263 h 654"/>
                <a:gd name="T46" fmla="*/ 2 w 654"/>
                <a:gd name="T47" fmla="*/ 294 h 654"/>
                <a:gd name="T48" fmla="*/ 0 w 654"/>
                <a:gd name="T49" fmla="*/ 327 h 654"/>
                <a:gd name="T50" fmla="*/ 2 w 654"/>
                <a:gd name="T51" fmla="*/ 361 h 654"/>
                <a:gd name="T52" fmla="*/ 88 w 654"/>
                <a:gd name="T53" fmla="*/ 391 h 654"/>
                <a:gd name="T54" fmla="*/ 113 w 654"/>
                <a:gd name="T55" fmla="*/ 451 h 654"/>
                <a:gd name="T56" fmla="*/ 74 w 654"/>
                <a:gd name="T57" fmla="*/ 533 h 654"/>
                <a:gd name="T58" fmla="*/ 121 w 654"/>
                <a:gd name="T59" fmla="*/ 581 h 654"/>
                <a:gd name="T60" fmla="*/ 204 w 654"/>
                <a:gd name="T61" fmla="*/ 541 h 654"/>
                <a:gd name="T62" fmla="*/ 263 w 654"/>
                <a:gd name="T63" fmla="*/ 566 h 654"/>
                <a:gd name="T64" fmla="*/ 294 w 654"/>
                <a:gd name="T65" fmla="*/ 652 h 654"/>
                <a:gd name="T66" fmla="*/ 327 w 654"/>
                <a:gd name="T67" fmla="*/ 654 h 654"/>
                <a:gd name="T68" fmla="*/ 360 w 654"/>
                <a:gd name="T69" fmla="*/ 652 h 654"/>
                <a:gd name="T70" fmla="*/ 391 w 654"/>
                <a:gd name="T71" fmla="*/ 566 h 654"/>
                <a:gd name="T72" fmla="*/ 450 w 654"/>
                <a:gd name="T73" fmla="*/ 541 h 654"/>
                <a:gd name="T74" fmla="*/ 533 w 654"/>
                <a:gd name="T75" fmla="*/ 581 h 654"/>
                <a:gd name="T76" fmla="*/ 580 w 654"/>
                <a:gd name="T77" fmla="*/ 533 h 654"/>
                <a:gd name="T78" fmla="*/ 541 w 654"/>
                <a:gd name="T79" fmla="*/ 451 h 654"/>
                <a:gd name="T80" fmla="*/ 565 w 654"/>
                <a:gd name="T81" fmla="*/ 391 h 654"/>
                <a:gd name="T82" fmla="*/ 652 w 654"/>
                <a:gd name="T83" fmla="*/ 361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54" h="654">
                  <a:moveTo>
                    <a:pt x="327" y="483"/>
                  </a:moveTo>
                  <a:cubicBezTo>
                    <a:pt x="241" y="483"/>
                    <a:pt x="171" y="413"/>
                    <a:pt x="171" y="327"/>
                  </a:cubicBezTo>
                  <a:cubicBezTo>
                    <a:pt x="171" y="241"/>
                    <a:pt x="241" y="171"/>
                    <a:pt x="327" y="171"/>
                  </a:cubicBezTo>
                  <a:cubicBezTo>
                    <a:pt x="413" y="171"/>
                    <a:pt x="483" y="241"/>
                    <a:pt x="483" y="327"/>
                  </a:cubicBezTo>
                  <a:cubicBezTo>
                    <a:pt x="483" y="413"/>
                    <a:pt x="413" y="483"/>
                    <a:pt x="327" y="483"/>
                  </a:cubicBezTo>
                  <a:close/>
                  <a:moveTo>
                    <a:pt x="652" y="361"/>
                  </a:moveTo>
                  <a:cubicBezTo>
                    <a:pt x="653" y="350"/>
                    <a:pt x="654" y="338"/>
                    <a:pt x="654" y="327"/>
                  </a:cubicBezTo>
                  <a:cubicBezTo>
                    <a:pt x="654" y="316"/>
                    <a:pt x="653" y="305"/>
                    <a:pt x="652" y="294"/>
                  </a:cubicBezTo>
                  <a:lnTo>
                    <a:pt x="565" y="263"/>
                  </a:lnTo>
                  <a:cubicBezTo>
                    <a:pt x="560" y="242"/>
                    <a:pt x="551" y="222"/>
                    <a:pt x="541" y="203"/>
                  </a:cubicBezTo>
                  <a:lnTo>
                    <a:pt x="580" y="121"/>
                  </a:lnTo>
                  <a:cubicBezTo>
                    <a:pt x="566" y="103"/>
                    <a:pt x="550" y="87"/>
                    <a:pt x="533" y="73"/>
                  </a:cubicBezTo>
                  <a:lnTo>
                    <a:pt x="450" y="113"/>
                  </a:lnTo>
                  <a:cubicBezTo>
                    <a:pt x="431" y="102"/>
                    <a:pt x="412" y="94"/>
                    <a:pt x="391" y="88"/>
                  </a:cubicBezTo>
                  <a:lnTo>
                    <a:pt x="360" y="2"/>
                  </a:lnTo>
                  <a:cubicBezTo>
                    <a:pt x="349" y="1"/>
                    <a:pt x="338" y="0"/>
                    <a:pt x="327" y="0"/>
                  </a:cubicBezTo>
                  <a:cubicBezTo>
                    <a:pt x="316" y="0"/>
                    <a:pt x="305" y="1"/>
                    <a:pt x="294" y="2"/>
                  </a:cubicBezTo>
                  <a:lnTo>
                    <a:pt x="263" y="88"/>
                  </a:lnTo>
                  <a:cubicBezTo>
                    <a:pt x="242" y="94"/>
                    <a:pt x="222" y="102"/>
                    <a:pt x="204" y="113"/>
                  </a:cubicBezTo>
                  <a:lnTo>
                    <a:pt x="121" y="73"/>
                  </a:lnTo>
                  <a:cubicBezTo>
                    <a:pt x="104" y="87"/>
                    <a:pt x="88" y="103"/>
                    <a:pt x="74" y="121"/>
                  </a:cubicBezTo>
                  <a:lnTo>
                    <a:pt x="113" y="203"/>
                  </a:lnTo>
                  <a:cubicBezTo>
                    <a:pt x="102" y="222"/>
                    <a:pt x="94" y="242"/>
                    <a:pt x="88" y="263"/>
                  </a:cubicBezTo>
                  <a:lnTo>
                    <a:pt x="2" y="294"/>
                  </a:lnTo>
                  <a:cubicBezTo>
                    <a:pt x="1" y="305"/>
                    <a:pt x="0" y="316"/>
                    <a:pt x="0" y="327"/>
                  </a:cubicBezTo>
                  <a:cubicBezTo>
                    <a:pt x="0" y="338"/>
                    <a:pt x="1" y="350"/>
                    <a:pt x="2" y="361"/>
                  </a:cubicBezTo>
                  <a:lnTo>
                    <a:pt x="88" y="391"/>
                  </a:lnTo>
                  <a:cubicBezTo>
                    <a:pt x="94" y="412"/>
                    <a:pt x="102" y="432"/>
                    <a:pt x="113" y="451"/>
                  </a:cubicBezTo>
                  <a:lnTo>
                    <a:pt x="74" y="533"/>
                  </a:lnTo>
                  <a:cubicBezTo>
                    <a:pt x="88" y="551"/>
                    <a:pt x="104" y="567"/>
                    <a:pt x="121" y="581"/>
                  </a:cubicBezTo>
                  <a:lnTo>
                    <a:pt x="204" y="541"/>
                  </a:lnTo>
                  <a:cubicBezTo>
                    <a:pt x="222" y="552"/>
                    <a:pt x="242" y="560"/>
                    <a:pt x="263" y="566"/>
                  </a:cubicBezTo>
                  <a:lnTo>
                    <a:pt x="294" y="652"/>
                  </a:lnTo>
                  <a:cubicBezTo>
                    <a:pt x="305" y="653"/>
                    <a:pt x="316" y="654"/>
                    <a:pt x="327" y="654"/>
                  </a:cubicBezTo>
                  <a:cubicBezTo>
                    <a:pt x="338" y="654"/>
                    <a:pt x="349" y="653"/>
                    <a:pt x="360" y="652"/>
                  </a:cubicBezTo>
                  <a:lnTo>
                    <a:pt x="391" y="566"/>
                  </a:lnTo>
                  <a:cubicBezTo>
                    <a:pt x="412" y="560"/>
                    <a:pt x="431" y="552"/>
                    <a:pt x="450" y="541"/>
                  </a:cubicBezTo>
                  <a:lnTo>
                    <a:pt x="533" y="581"/>
                  </a:lnTo>
                  <a:cubicBezTo>
                    <a:pt x="550" y="567"/>
                    <a:pt x="566" y="551"/>
                    <a:pt x="580" y="533"/>
                  </a:cubicBezTo>
                  <a:lnTo>
                    <a:pt x="541" y="451"/>
                  </a:lnTo>
                  <a:cubicBezTo>
                    <a:pt x="551" y="432"/>
                    <a:pt x="560" y="412"/>
                    <a:pt x="565" y="391"/>
                  </a:cubicBezTo>
                  <a:lnTo>
                    <a:pt x="652" y="36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1" name="Freeform 244">
              <a:extLst>
                <a:ext uri="{FF2B5EF4-FFF2-40B4-BE49-F238E27FC236}">
                  <a16:creationId xmlns:a16="http://schemas.microsoft.com/office/drawing/2014/main" id="{6ACE5F79-8F01-4AE5-B93E-3DF282077716}"/>
                </a:ext>
              </a:extLst>
            </p:cNvPr>
            <p:cNvSpPr>
              <a:spLocks/>
            </p:cNvSpPr>
            <p:nvPr/>
          </p:nvSpPr>
          <p:spPr bwMode="auto">
            <a:xfrm>
              <a:off x="7853363" y="2541588"/>
              <a:ext cx="257175" cy="269875"/>
            </a:xfrm>
            <a:custGeom>
              <a:avLst/>
              <a:gdLst>
                <a:gd name="T0" fmla="*/ 337 w 338"/>
                <a:gd name="T1" fmla="*/ 231 h 353"/>
                <a:gd name="T2" fmla="*/ 268 w 338"/>
                <a:gd name="T3" fmla="*/ 207 h 353"/>
                <a:gd name="T4" fmla="*/ 249 w 338"/>
                <a:gd name="T5" fmla="*/ 160 h 353"/>
                <a:gd name="T6" fmla="*/ 280 w 338"/>
                <a:gd name="T7" fmla="*/ 95 h 353"/>
                <a:gd name="T8" fmla="*/ 243 w 338"/>
                <a:gd name="T9" fmla="*/ 58 h 353"/>
                <a:gd name="T10" fmla="*/ 177 w 338"/>
                <a:gd name="T11" fmla="*/ 89 h 353"/>
                <a:gd name="T12" fmla="*/ 131 w 338"/>
                <a:gd name="T13" fmla="*/ 70 h 353"/>
                <a:gd name="T14" fmla="*/ 107 w 338"/>
                <a:gd name="T15" fmla="*/ 2 h 353"/>
                <a:gd name="T16" fmla="*/ 81 w 338"/>
                <a:gd name="T17" fmla="*/ 0 h 353"/>
                <a:gd name="T18" fmla="*/ 55 w 338"/>
                <a:gd name="T19" fmla="*/ 2 h 353"/>
                <a:gd name="T20" fmla="*/ 31 w 338"/>
                <a:gd name="T21" fmla="*/ 70 h 353"/>
                <a:gd name="T22" fmla="*/ 0 w 338"/>
                <a:gd name="T23" fmla="*/ 81 h 353"/>
                <a:gd name="T24" fmla="*/ 40 w 338"/>
                <a:gd name="T25" fmla="*/ 177 h 353"/>
                <a:gd name="T26" fmla="*/ 81 w 338"/>
                <a:gd name="T27" fmla="*/ 168 h 353"/>
                <a:gd name="T28" fmla="*/ 170 w 338"/>
                <a:gd name="T29" fmla="*/ 257 h 353"/>
                <a:gd name="T30" fmla="*/ 157 w 338"/>
                <a:gd name="T31" fmla="*/ 304 h 353"/>
                <a:gd name="T32" fmla="*/ 250 w 338"/>
                <a:gd name="T33" fmla="*/ 353 h 353"/>
                <a:gd name="T34" fmla="*/ 268 w 338"/>
                <a:gd name="T35" fmla="*/ 308 h 353"/>
                <a:gd name="T36" fmla="*/ 337 w 338"/>
                <a:gd name="T37" fmla="*/ 284 h 353"/>
                <a:gd name="T38" fmla="*/ 338 w 338"/>
                <a:gd name="T39" fmla="*/ 257 h 353"/>
                <a:gd name="T40" fmla="*/ 337 w 338"/>
                <a:gd name="T41" fmla="*/ 231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8" h="353">
                  <a:moveTo>
                    <a:pt x="337" y="231"/>
                  </a:moveTo>
                  <a:lnTo>
                    <a:pt x="268" y="207"/>
                  </a:lnTo>
                  <a:cubicBezTo>
                    <a:pt x="264" y="190"/>
                    <a:pt x="257" y="175"/>
                    <a:pt x="249" y="160"/>
                  </a:cubicBezTo>
                  <a:lnTo>
                    <a:pt x="280" y="95"/>
                  </a:lnTo>
                  <a:cubicBezTo>
                    <a:pt x="269" y="81"/>
                    <a:pt x="256" y="69"/>
                    <a:pt x="243" y="58"/>
                  </a:cubicBezTo>
                  <a:lnTo>
                    <a:pt x="177" y="89"/>
                  </a:lnTo>
                  <a:cubicBezTo>
                    <a:pt x="163" y="81"/>
                    <a:pt x="147" y="74"/>
                    <a:pt x="131" y="70"/>
                  </a:cubicBezTo>
                  <a:lnTo>
                    <a:pt x="107" y="2"/>
                  </a:lnTo>
                  <a:cubicBezTo>
                    <a:pt x="98" y="1"/>
                    <a:pt x="90" y="0"/>
                    <a:pt x="81" y="0"/>
                  </a:cubicBezTo>
                  <a:cubicBezTo>
                    <a:pt x="72" y="0"/>
                    <a:pt x="63" y="1"/>
                    <a:pt x="55" y="2"/>
                  </a:cubicBezTo>
                  <a:lnTo>
                    <a:pt x="31" y="70"/>
                  </a:lnTo>
                  <a:cubicBezTo>
                    <a:pt x="20" y="73"/>
                    <a:pt x="10" y="77"/>
                    <a:pt x="0" y="81"/>
                  </a:cubicBezTo>
                  <a:lnTo>
                    <a:pt x="40" y="177"/>
                  </a:lnTo>
                  <a:cubicBezTo>
                    <a:pt x="52" y="171"/>
                    <a:pt x="66" y="168"/>
                    <a:pt x="81" y="168"/>
                  </a:cubicBezTo>
                  <a:cubicBezTo>
                    <a:pt x="130" y="168"/>
                    <a:pt x="170" y="208"/>
                    <a:pt x="170" y="257"/>
                  </a:cubicBezTo>
                  <a:cubicBezTo>
                    <a:pt x="170" y="275"/>
                    <a:pt x="165" y="291"/>
                    <a:pt x="157" y="304"/>
                  </a:cubicBezTo>
                  <a:lnTo>
                    <a:pt x="250" y="353"/>
                  </a:lnTo>
                  <a:cubicBezTo>
                    <a:pt x="258" y="339"/>
                    <a:pt x="264" y="324"/>
                    <a:pt x="268" y="308"/>
                  </a:cubicBezTo>
                  <a:lnTo>
                    <a:pt x="337" y="284"/>
                  </a:lnTo>
                  <a:cubicBezTo>
                    <a:pt x="337" y="275"/>
                    <a:pt x="338" y="266"/>
                    <a:pt x="338" y="257"/>
                  </a:cubicBezTo>
                  <a:cubicBezTo>
                    <a:pt x="338" y="249"/>
                    <a:pt x="337" y="240"/>
                    <a:pt x="337" y="23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25" name="Team5" descr="{&quot;Key&quot;:&quot;POWER_USER_SHAPE_ICON&quot;,&quot;Value&quot;:&quot;POWER_USER_SHAPE_ICON_STYLE_1&quot;}">
            <a:extLst>
              <a:ext uri="{FF2B5EF4-FFF2-40B4-BE49-F238E27FC236}">
                <a16:creationId xmlns:a16="http://schemas.microsoft.com/office/drawing/2014/main" id="{1A53CBDC-00CD-45D1-81D9-EAD5B3F672EE}"/>
              </a:ext>
            </a:extLst>
          </p:cNvPr>
          <p:cNvGrpSpPr>
            <a:grpSpLocks noChangeAspect="1"/>
          </p:cNvGrpSpPr>
          <p:nvPr>
            <p:custDataLst>
              <p:tags r:id="rId11"/>
            </p:custDataLst>
          </p:nvPr>
        </p:nvGrpSpPr>
        <p:grpSpPr>
          <a:xfrm>
            <a:off x="9114503" y="2827773"/>
            <a:ext cx="596992" cy="542925"/>
            <a:chOff x="2362200" y="2994025"/>
            <a:chExt cx="841375" cy="765175"/>
          </a:xfrm>
          <a:solidFill>
            <a:schemeClr val="bg1"/>
          </a:solidFill>
        </p:grpSpPr>
        <p:sp>
          <p:nvSpPr>
            <p:cNvPr id="126" name="Oval 43">
              <a:extLst>
                <a:ext uri="{FF2B5EF4-FFF2-40B4-BE49-F238E27FC236}">
                  <a16:creationId xmlns:a16="http://schemas.microsoft.com/office/drawing/2014/main" id="{D3832457-09B6-4A90-991F-7017161E4CB8}"/>
                </a:ext>
              </a:extLst>
            </p:cNvPr>
            <p:cNvSpPr>
              <a:spLocks noChangeArrowheads="1"/>
            </p:cNvSpPr>
            <p:nvPr/>
          </p:nvSpPr>
          <p:spPr bwMode="auto">
            <a:xfrm>
              <a:off x="2828925" y="2994025"/>
              <a:ext cx="168275" cy="1682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Freeform 44">
              <a:extLst>
                <a:ext uri="{FF2B5EF4-FFF2-40B4-BE49-F238E27FC236}">
                  <a16:creationId xmlns:a16="http://schemas.microsoft.com/office/drawing/2014/main" id="{24125967-3303-4974-BF72-E77044118395}"/>
                </a:ext>
              </a:extLst>
            </p:cNvPr>
            <p:cNvSpPr>
              <a:spLocks/>
            </p:cNvSpPr>
            <p:nvPr/>
          </p:nvSpPr>
          <p:spPr bwMode="auto">
            <a:xfrm>
              <a:off x="2865438" y="3187700"/>
              <a:ext cx="92075" cy="165100"/>
            </a:xfrm>
            <a:custGeom>
              <a:avLst/>
              <a:gdLst>
                <a:gd name="T0" fmla="*/ 89 w 121"/>
                <a:gd name="T1" fmla="*/ 217 h 217"/>
                <a:gd name="T2" fmla="*/ 121 w 121"/>
                <a:gd name="T3" fmla="*/ 207 h 217"/>
                <a:gd name="T4" fmla="*/ 79 w 121"/>
                <a:gd name="T5" fmla="*/ 103 h 217"/>
                <a:gd name="T6" fmla="*/ 120 w 121"/>
                <a:gd name="T7" fmla="*/ 0 h 217"/>
                <a:gd name="T8" fmla="*/ 18 w 121"/>
                <a:gd name="T9" fmla="*/ 0 h 217"/>
                <a:gd name="T10" fmla="*/ 40 w 121"/>
                <a:gd name="T11" fmla="*/ 77 h 217"/>
                <a:gd name="T12" fmla="*/ 0 w 121"/>
                <a:gd name="T13" fmla="*/ 179 h 217"/>
                <a:gd name="T14" fmla="*/ 83 w 121"/>
                <a:gd name="T15" fmla="*/ 212 h 217"/>
                <a:gd name="T16" fmla="*/ 89 w 121"/>
                <a:gd name="T17" fmla="*/ 21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217">
                  <a:moveTo>
                    <a:pt x="89" y="217"/>
                  </a:moveTo>
                  <a:cubicBezTo>
                    <a:pt x="99" y="213"/>
                    <a:pt x="110" y="210"/>
                    <a:pt x="121" y="207"/>
                  </a:cubicBezTo>
                  <a:cubicBezTo>
                    <a:pt x="95" y="180"/>
                    <a:pt x="79" y="144"/>
                    <a:pt x="79" y="103"/>
                  </a:cubicBezTo>
                  <a:cubicBezTo>
                    <a:pt x="79" y="64"/>
                    <a:pt x="94" y="27"/>
                    <a:pt x="120" y="0"/>
                  </a:cubicBezTo>
                  <a:lnTo>
                    <a:pt x="18" y="0"/>
                  </a:lnTo>
                  <a:cubicBezTo>
                    <a:pt x="32" y="23"/>
                    <a:pt x="40" y="49"/>
                    <a:pt x="40" y="77"/>
                  </a:cubicBezTo>
                  <a:cubicBezTo>
                    <a:pt x="40" y="117"/>
                    <a:pt x="24" y="152"/>
                    <a:pt x="0" y="179"/>
                  </a:cubicBezTo>
                  <a:cubicBezTo>
                    <a:pt x="30" y="183"/>
                    <a:pt x="59" y="192"/>
                    <a:pt x="83" y="212"/>
                  </a:cubicBezTo>
                  <a:lnTo>
                    <a:pt x="89" y="21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Oval 45">
              <a:extLst>
                <a:ext uri="{FF2B5EF4-FFF2-40B4-BE49-F238E27FC236}">
                  <a16:creationId xmlns:a16="http://schemas.microsoft.com/office/drawing/2014/main" id="{60ED02E6-8120-4668-B5E8-5442B6937BC4}"/>
                </a:ext>
              </a:extLst>
            </p:cNvPr>
            <p:cNvSpPr>
              <a:spLocks noChangeArrowheads="1"/>
            </p:cNvSpPr>
            <p:nvPr/>
          </p:nvSpPr>
          <p:spPr bwMode="auto">
            <a:xfrm>
              <a:off x="2560638" y="2994025"/>
              <a:ext cx="168275" cy="1682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Freeform 46">
              <a:extLst>
                <a:ext uri="{FF2B5EF4-FFF2-40B4-BE49-F238E27FC236}">
                  <a16:creationId xmlns:a16="http://schemas.microsoft.com/office/drawing/2014/main" id="{DA772FDD-0A5A-4C40-8134-56360C9F70C2}"/>
                </a:ext>
              </a:extLst>
            </p:cNvPr>
            <p:cNvSpPr>
              <a:spLocks/>
            </p:cNvSpPr>
            <p:nvPr/>
          </p:nvSpPr>
          <p:spPr bwMode="auto">
            <a:xfrm>
              <a:off x="2606675" y="3187700"/>
              <a:ext cx="92075" cy="165100"/>
            </a:xfrm>
            <a:custGeom>
              <a:avLst/>
              <a:gdLst>
                <a:gd name="T0" fmla="*/ 3 w 120"/>
                <a:gd name="T1" fmla="*/ 0 h 217"/>
                <a:gd name="T2" fmla="*/ 1 w 120"/>
                <a:gd name="T3" fmla="*/ 0 h 217"/>
                <a:gd name="T4" fmla="*/ 42 w 120"/>
                <a:gd name="T5" fmla="*/ 103 h 217"/>
                <a:gd name="T6" fmla="*/ 0 w 120"/>
                <a:gd name="T7" fmla="*/ 207 h 217"/>
                <a:gd name="T8" fmla="*/ 31 w 120"/>
                <a:gd name="T9" fmla="*/ 217 h 217"/>
                <a:gd name="T10" fmla="*/ 36 w 120"/>
                <a:gd name="T11" fmla="*/ 212 h 217"/>
                <a:gd name="T12" fmla="*/ 120 w 120"/>
                <a:gd name="T13" fmla="*/ 179 h 217"/>
                <a:gd name="T14" fmla="*/ 80 w 120"/>
                <a:gd name="T15" fmla="*/ 77 h 217"/>
                <a:gd name="T16" fmla="*/ 101 w 120"/>
                <a:gd name="T17" fmla="*/ 0 h 217"/>
                <a:gd name="T18" fmla="*/ 3 w 120"/>
                <a:gd name="T1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217">
                  <a:moveTo>
                    <a:pt x="3" y="0"/>
                  </a:moveTo>
                  <a:cubicBezTo>
                    <a:pt x="2" y="0"/>
                    <a:pt x="2" y="0"/>
                    <a:pt x="1" y="0"/>
                  </a:cubicBezTo>
                  <a:cubicBezTo>
                    <a:pt x="27" y="27"/>
                    <a:pt x="42" y="64"/>
                    <a:pt x="42" y="103"/>
                  </a:cubicBezTo>
                  <a:cubicBezTo>
                    <a:pt x="42" y="144"/>
                    <a:pt x="26" y="180"/>
                    <a:pt x="0" y="207"/>
                  </a:cubicBezTo>
                  <a:cubicBezTo>
                    <a:pt x="11" y="210"/>
                    <a:pt x="21" y="212"/>
                    <a:pt x="31" y="217"/>
                  </a:cubicBezTo>
                  <a:lnTo>
                    <a:pt x="36" y="212"/>
                  </a:lnTo>
                  <a:cubicBezTo>
                    <a:pt x="60" y="192"/>
                    <a:pt x="90" y="183"/>
                    <a:pt x="120" y="179"/>
                  </a:cubicBezTo>
                  <a:cubicBezTo>
                    <a:pt x="95" y="152"/>
                    <a:pt x="80" y="117"/>
                    <a:pt x="80" y="77"/>
                  </a:cubicBezTo>
                  <a:cubicBezTo>
                    <a:pt x="80" y="49"/>
                    <a:pt x="88" y="23"/>
                    <a:pt x="101" y="0"/>
                  </a:cubicBezTo>
                  <a:lnTo>
                    <a:pt x="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Freeform 47">
              <a:extLst>
                <a:ext uri="{FF2B5EF4-FFF2-40B4-BE49-F238E27FC236}">
                  <a16:creationId xmlns:a16="http://schemas.microsoft.com/office/drawing/2014/main" id="{85B46DB4-9158-4817-873D-8444545ED249}"/>
                </a:ext>
              </a:extLst>
            </p:cNvPr>
            <p:cNvSpPr>
              <a:spLocks/>
            </p:cNvSpPr>
            <p:nvPr/>
          </p:nvSpPr>
          <p:spPr bwMode="auto">
            <a:xfrm>
              <a:off x="3108325" y="3346450"/>
              <a:ext cx="95250" cy="84138"/>
            </a:xfrm>
            <a:custGeom>
              <a:avLst/>
              <a:gdLst>
                <a:gd name="T0" fmla="*/ 78 w 126"/>
                <a:gd name="T1" fmla="*/ 14 h 110"/>
                <a:gd name="T2" fmla="*/ 36 w 126"/>
                <a:gd name="T3" fmla="*/ 0 h 110"/>
                <a:gd name="T4" fmla="*/ 9 w 126"/>
                <a:gd name="T5" fmla="*/ 28 h 110"/>
                <a:gd name="T6" fmla="*/ 36 w 126"/>
                <a:gd name="T7" fmla="*/ 105 h 110"/>
                <a:gd name="T8" fmla="*/ 62 w 126"/>
                <a:gd name="T9" fmla="*/ 110 h 110"/>
                <a:gd name="T10" fmla="*/ 107 w 126"/>
                <a:gd name="T11" fmla="*/ 88 h 110"/>
                <a:gd name="T12" fmla="*/ 116 w 126"/>
                <a:gd name="T13" fmla="*/ 69 h 110"/>
                <a:gd name="T14" fmla="*/ 78 w 126"/>
                <a:gd name="T15" fmla="*/ 14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110">
                  <a:moveTo>
                    <a:pt x="78" y="14"/>
                  </a:moveTo>
                  <a:cubicBezTo>
                    <a:pt x="63" y="6"/>
                    <a:pt x="48" y="0"/>
                    <a:pt x="36" y="0"/>
                  </a:cubicBezTo>
                  <a:cubicBezTo>
                    <a:pt x="21" y="0"/>
                    <a:pt x="15" y="9"/>
                    <a:pt x="9" y="28"/>
                  </a:cubicBezTo>
                  <a:cubicBezTo>
                    <a:pt x="0" y="58"/>
                    <a:pt x="7" y="92"/>
                    <a:pt x="36" y="105"/>
                  </a:cubicBezTo>
                  <a:cubicBezTo>
                    <a:pt x="45" y="109"/>
                    <a:pt x="54" y="110"/>
                    <a:pt x="62" y="110"/>
                  </a:cubicBezTo>
                  <a:cubicBezTo>
                    <a:pt x="80" y="110"/>
                    <a:pt x="97" y="102"/>
                    <a:pt x="107" y="88"/>
                  </a:cubicBezTo>
                  <a:cubicBezTo>
                    <a:pt x="113" y="81"/>
                    <a:pt x="114" y="73"/>
                    <a:pt x="116" y="69"/>
                  </a:cubicBezTo>
                  <a:cubicBezTo>
                    <a:pt x="126" y="35"/>
                    <a:pt x="107" y="27"/>
                    <a:pt x="78" y="1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Freeform 48">
              <a:extLst>
                <a:ext uri="{FF2B5EF4-FFF2-40B4-BE49-F238E27FC236}">
                  <a16:creationId xmlns:a16="http://schemas.microsoft.com/office/drawing/2014/main" id="{E5A5C1F2-AE15-4B1A-96BF-D17BE199549B}"/>
                </a:ext>
              </a:extLst>
            </p:cNvPr>
            <p:cNvSpPr>
              <a:spLocks/>
            </p:cNvSpPr>
            <p:nvPr/>
          </p:nvSpPr>
          <p:spPr bwMode="auto">
            <a:xfrm>
              <a:off x="2362200" y="3346450"/>
              <a:ext cx="95250" cy="84138"/>
            </a:xfrm>
            <a:custGeom>
              <a:avLst/>
              <a:gdLst>
                <a:gd name="T0" fmla="*/ 10 w 126"/>
                <a:gd name="T1" fmla="*/ 69 h 110"/>
                <a:gd name="T2" fmla="*/ 19 w 126"/>
                <a:gd name="T3" fmla="*/ 88 h 110"/>
                <a:gd name="T4" fmla="*/ 64 w 126"/>
                <a:gd name="T5" fmla="*/ 110 h 110"/>
                <a:gd name="T6" fmla="*/ 90 w 126"/>
                <a:gd name="T7" fmla="*/ 105 h 110"/>
                <a:gd name="T8" fmla="*/ 117 w 126"/>
                <a:gd name="T9" fmla="*/ 28 h 110"/>
                <a:gd name="T10" fmla="*/ 90 w 126"/>
                <a:gd name="T11" fmla="*/ 0 h 110"/>
                <a:gd name="T12" fmla="*/ 48 w 126"/>
                <a:gd name="T13" fmla="*/ 14 h 110"/>
                <a:gd name="T14" fmla="*/ 10 w 126"/>
                <a:gd name="T15" fmla="*/ 69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110">
                  <a:moveTo>
                    <a:pt x="10" y="69"/>
                  </a:moveTo>
                  <a:cubicBezTo>
                    <a:pt x="12" y="73"/>
                    <a:pt x="13" y="81"/>
                    <a:pt x="19" y="88"/>
                  </a:cubicBezTo>
                  <a:cubicBezTo>
                    <a:pt x="29" y="102"/>
                    <a:pt x="46" y="110"/>
                    <a:pt x="64" y="110"/>
                  </a:cubicBezTo>
                  <a:cubicBezTo>
                    <a:pt x="72" y="110"/>
                    <a:pt x="81" y="109"/>
                    <a:pt x="90" y="105"/>
                  </a:cubicBezTo>
                  <a:cubicBezTo>
                    <a:pt x="119" y="92"/>
                    <a:pt x="126" y="58"/>
                    <a:pt x="117" y="28"/>
                  </a:cubicBezTo>
                  <a:cubicBezTo>
                    <a:pt x="111" y="9"/>
                    <a:pt x="105" y="0"/>
                    <a:pt x="90" y="0"/>
                  </a:cubicBezTo>
                  <a:cubicBezTo>
                    <a:pt x="78" y="0"/>
                    <a:pt x="63" y="6"/>
                    <a:pt x="48" y="14"/>
                  </a:cubicBezTo>
                  <a:cubicBezTo>
                    <a:pt x="19" y="27"/>
                    <a:pt x="0" y="35"/>
                    <a:pt x="10" y="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Freeform 49">
              <a:extLst>
                <a:ext uri="{FF2B5EF4-FFF2-40B4-BE49-F238E27FC236}">
                  <a16:creationId xmlns:a16="http://schemas.microsoft.com/office/drawing/2014/main" id="{B3AD6F28-C132-42D8-AB28-267901C01EDD}"/>
                </a:ext>
              </a:extLst>
            </p:cNvPr>
            <p:cNvSpPr>
              <a:spLocks/>
            </p:cNvSpPr>
            <p:nvPr/>
          </p:nvSpPr>
          <p:spPr bwMode="auto">
            <a:xfrm>
              <a:off x="2905125" y="3371850"/>
              <a:ext cx="284163" cy="387350"/>
            </a:xfrm>
            <a:custGeom>
              <a:avLst/>
              <a:gdLst>
                <a:gd name="T0" fmla="*/ 308 w 374"/>
                <a:gd name="T1" fmla="*/ 417 h 508"/>
                <a:gd name="T2" fmla="*/ 373 w 374"/>
                <a:gd name="T3" fmla="*/ 359 h 508"/>
                <a:gd name="T4" fmla="*/ 374 w 374"/>
                <a:gd name="T5" fmla="*/ 145 h 508"/>
                <a:gd name="T6" fmla="*/ 368 w 374"/>
                <a:gd name="T7" fmla="*/ 97 h 508"/>
                <a:gd name="T8" fmla="*/ 328 w 374"/>
                <a:gd name="T9" fmla="*/ 106 h 508"/>
                <a:gd name="T10" fmla="*/ 291 w 374"/>
                <a:gd name="T11" fmla="*/ 98 h 508"/>
                <a:gd name="T12" fmla="*/ 243 w 374"/>
                <a:gd name="T13" fmla="*/ 0 h 508"/>
                <a:gd name="T14" fmla="*/ 239 w 374"/>
                <a:gd name="T15" fmla="*/ 0 h 508"/>
                <a:gd name="T16" fmla="*/ 178 w 374"/>
                <a:gd name="T17" fmla="*/ 61 h 508"/>
                <a:gd name="T18" fmla="*/ 117 w 374"/>
                <a:gd name="T19" fmla="*/ 0 h 508"/>
                <a:gd name="T20" fmla="*/ 36 w 374"/>
                <a:gd name="T21" fmla="*/ 22 h 508"/>
                <a:gd name="T22" fmla="*/ 0 w 374"/>
                <a:gd name="T23" fmla="*/ 116 h 508"/>
                <a:gd name="T24" fmla="*/ 0 w 374"/>
                <a:gd name="T25" fmla="*/ 195 h 508"/>
                <a:gd name="T26" fmla="*/ 57 w 374"/>
                <a:gd name="T27" fmla="*/ 179 h 508"/>
                <a:gd name="T28" fmla="*/ 58 w 374"/>
                <a:gd name="T29" fmla="*/ 508 h 508"/>
                <a:gd name="T30" fmla="*/ 308 w 374"/>
                <a:gd name="T31" fmla="*/ 508 h 508"/>
                <a:gd name="T32" fmla="*/ 308 w 374"/>
                <a:gd name="T33" fmla="*/ 417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 h="508">
                  <a:moveTo>
                    <a:pt x="308" y="417"/>
                  </a:moveTo>
                  <a:cubicBezTo>
                    <a:pt x="349" y="417"/>
                    <a:pt x="373" y="392"/>
                    <a:pt x="373" y="359"/>
                  </a:cubicBezTo>
                  <a:cubicBezTo>
                    <a:pt x="373" y="359"/>
                    <a:pt x="374" y="145"/>
                    <a:pt x="374" y="145"/>
                  </a:cubicBezTo>
                  <a:cubicBezTo>
                    <a:pt x="374" y="127"/>
                    <a:pt x="372" y="111"/>
                    <a:pt x="368" y="97"/>
                  </a:cubicBezTo>
                  <a:cubicBezTo>
                    <a:pt x="356" y="103"/>
                    <a:pt x="342" y="106"/>
                    <a:pt x="328" y="106"/>
                  </a:cubicBezTo>
                  <a:cubicBezTo>
                    <a:pt x="315" y="106"/>
                    <a:pt x="303" y="103"/>
                    <a:pt x="291" y="98"/>
                  </a:cubicBezTo>
                  <a:cubicBezTo>
                    <a:pt x="254" y="82"/>
                    <a:pt x="236" y="43"/>
                    <a:pt x="243" y="0"/>
                  </a:cubicBezTo>
                  <a:cubicBezTo>
                    <a:pt x="242" y="0"/>
                    <a:pt x="240" y="0"/>
                    <a:pt x="239" y="0"/>
                  </a:cubicBezTo>
                  <a:lnTo>
                    <a:pt x="178" y="61"/>
                  </a:lnTo>
                  <a:lnTo>
                    <a:pt x="117" y="0"/>
                  </a:lnTo>
                  <a:cubicBezTo>
                    <a:pt x="84" y="1"/>
                    <a:pt x="56" y="6"/>
                    <a:pt x="36" y="22"/>
                  </a:cubicBezTo>
                  <a:cubicBezTo>
                    <a:pt x="6" y="45"/>
                    <a:pt x="0" y="96"/>
                    <a:pt x="0" y="116"/>
                  </a:cubicBezTo>
                  <a:cubicBezTo>
                    <a:pt x="0" y="137"/>
                    <a:pt x="0" y="164"/>
                    <a:pt x="0" y="195"/>
                  </a:cubicBezTo>
                  <a:cubicBezTo>
                    <a:pt x="18" y="190"/>
                    <a:pt x="38" y="185"/>
                    <a:pt x="57" y="179"/>
                  </a:cubicBezTo>
                  <a:lnTo>
                    <a:pt x="58" y="508"/>
                  </a:lnTo>
                  <a:lnTo>
                    <a:pt x="308" y="508"/>
                  </a:lnTo>
                  <a:lnTo>
                    <a:pt x="308" y="41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Oval 50">
              <a:extLst>
                <a:ext uri="{FF2B5EF4-FFF2-40B4-BE49-F238E27FC236}">
                  <a16:creationId xmlns:a16="http://schemas.microsoft.com/office/drawing/2014/main" id="{9D36D3A1-EB80-4EFD-9567-647370E430DF}"/>
                </a:ext>
              </a:extLst>
            </p:cNvPr>
            <p:cNvSpPr>
              <a:spLocks noChangeArrowheads="1"/>
            </p:cNvSpPr>
            <p:nvPr/>
          </p:nvSpPr>
          <p:spPr bwMode="auto">
            <a:xfrm>
              <a:off x="2441575" y="3182938"/>
              <a:ext cx="168275" cy="1682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Oval 51">
              <a:extLst>
                <a:ext uri="{FF2B5EF4-FFF2-40B4-BE49-F238E27FC236}">
                  <a16:creationId xmlns:a16="http://schemas.microsoft.com/office/drawing/2014/main" id="{1B6E144F-EC8E-44A9-B443-2DBC12720858}"/>
                </a:ext>
              </a:extLst>
            </p:cNvPr>
            <p:cNvSpPr>
              <a:spLocks noChangeArrowheads="1"/>
            </p:cNvSpPr>
            <p:nvPr/>
          </p:nvSpPr>
          <p:spPr bwMode="auto">
            <a:xfrm>
              <a:off x="2955925" y="3182938"/>
              <a:ext cx="168275" cy="1682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52">
              <a:extLst>
                <a:ext uri="{FF2B5EF4-FFF2-40B4-BE49-F238E27FC236}">
                  <a16:creationId xmlns:a16="http://schemas.microsoft.com/office/drawing/2014/main" id="{50D5AFDB-C874-4AEC-AD84-F554806C7B0C}"/>
                </a:ext>
              </a:extLst>
            </p:cNvPr>
            <p:cNvSpPr>
              <a:spLocks/>
            </p:cNvSpPr>
            <p:nvPr/>
          </p:nvSpPr>
          <p:spPr bwMode="auto">
            <a:xfrm>
              <a:off x="2654300" y="3352800"/>
              <a:ext cx="255588" cy="406400"/>
            </a:xfrm>
            <a:custGeom>
              <a:avLst/>
              <a:gdLst>
                <a:gd name="T0" fmla="*/ 229 w 335"/>
                <a:gd name="T1" fmla="*/ 0 h 534"/>
                <a:gd name="T2" fmla="*/ 168 w 335"/>
                <a:gd name="T3" fmla="*/ 61 h 534"/>
                <a:gd name="T4" fmla="*/ 107 w 335"/>
                <a:gd name="T5" fmla="*/ 0 h 534"/>
                <a:gd name="T6" fmla="*/ 0 w 335"/>
                <a:gd name="T7" fmla="*/ 26 h 534"/>
                <a:gd name="T8" fmla="*/ 42 w 335"/>
                <a:gd name="T9" fmla="*/ 142 h 534"/>
                <a:gd name="T10" fmla="*/ 42 w 335"/>
                <a:gd name="T11" fmla="*/ 534 h 534"/>
                <a:gd name="T12" fmla="*/ 293 w 335"/>
                <a:gd name="T13" fmla="*/ 534 h 534"/>
                <a:gd name="T14" fmla="*/ 293 w 335"/>
                <a:gd name="T15" fmla="*/ 142 h 534"/>
                <a:gd name="T16" fmla="*/ 335 w 335"/>
                <a:gd name="T17" fmla="*/ 26 h 534"/>
                <a:gd name="T18" fmla="*/ 229 w 335"/>
                <a:gd name="T19" fmla="*/ 0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5" h="534">
                  <a:moveTo>
                    <a:pt x="229" y="0"/>
                  </a:moveTo>
                  <a:lnTo>
                    <a:pt x="168" y="61"/>
                  </a:lnTo>
                  <a:lnTo>
                    <a:pt x="107" y="0"/>
                  </a:lnTo>
                  <a:cubicBezTo>
                    <a:pt x="60" y="1"/>
                    <a:pt x="25" y="5"/>
                    <a:pt x="0" y="26"/>
                  </a:cubicBezTo>
                  <a:cubicBezTo>
                    <a:pt x="0" y="26"/>
                    <a:pt x="42" y="70"/>
                    <a:pt x="42" y="142"/>
                  </a:cubicBezTo>
                  <a:cubicBezTo>
                    <a:pt x="42" y="224"/>
                    <a:pt x="42" y="397"/>
                    <a:pt x="42" y="534"/>
                  </a:cubicBezTo>
                  <a:lnTo>
                    <a:pt x="293" y="534"/>
                  </a:lnTo>
                  <a:lnTo>
                    <a:pt x="293" y="142"/>
                  </a:lnTo>
                  <a:cubicBezTo>
                    <a:pt x="293" y="82"/>
                    <a:pt x="320" y="47"/>
                    <a:pt x="335" y="26"/>
                  </a:cubicBezTo>
                  <a:cubicBezTo>
                    <a:pt x="311" y="5"/>
                    <a:pt x="275" y="1"/>
                    <a:pt x="229"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Oval 53">
              <a:extLst>
                <a:ext uri="{FF2B5EF4-FFF2-40B4-BE49-F238E27FC236}">
                  <a16:creationId xmlns:a16="http://schemas.microsoft.com/office/drawing/2014/main" id="{CEFE17A5-E43B-4A11-B3EB-25BE7116BD6E}"/>
                </a:ext>
              </a:extLst>
            </p:cNvPr>
            <p:cNvSpPr>
              <a:spLocks noChangeArrowheads="1"/>
            </p:cNvSpPr>
            <p:nvPr/>
          </p:nvSpPr>
          <p:spPr bwMode="auto">
            <a:xfrm>
              <a:off x="2697163" y="3162300"/>
              <a:ext cx="168275" cy="1682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54">
              <a:extLst>
                <a:ext uri="{FF2B5EF4-FFF2-40B4-BE49-F238E27FC236}">
                  <a16:creationId xmlns:a16="http://schemas.microsoft.com/office/drawing/2014/main" id="{908FCDCE-E571-4B96-A395-B925EB07839A}"/>
                </a:ext>
              </a:extLst>
            </p:cNvPr>
            <p:cNvSpPr>
              <a:spLocks/>
            </p:cNvSpPr>
            <p:nvPr/>
          </p:nvSpPr>
          <p:spPr bwMode="auto">
            <a:xfrm>
              <a:off x="2374900" y="3371850"/>
              <a:ext cx="285750" cy="387350"/>
            </a:xfrm>
            <a:custGeom>
              <a:avLst/>
              <a:gdLst>
                <a:gd name="T0" fmla="*/ 317 w 374"/>
                <a:gd name="T1" fmla="*/ 508 h 508"/>
                <a:gd name="T2" fmla="*/ 317 w 374"/>
                <a:gd name="T3" fmla="*/ 179 h 508"/>
                <a:gd name="T4" fmla="*/ 374 w 374"/>
                <a:gd name="T5" fmla="*/ 195 h 508"/>
                <a:gd name="T6" fmla="*/ 374 w 374"/>
                <a:gd name="T7" fmla="*/ 116 h 508"/>
                <a:gd name="T8" fmla="*/ 338 w 374"/>
                <a:gd name="T9" fmla="*/ 22 h 508"/>
                <a:gd name="T10" fmla="*/ 257 w 374"/>
                <a:gd name="T11" fmla="*/ 0 h 508"/>
                <a:gd name="T12" fmla="*/ 196 w 374"/>
                <a:gd name="T13" fmla="*/ 61 h 508"/>
                <a:gd name="T14" fmla="*/ 136 w 374"/>
                <a:gd name="T15" fmla="*/ 0 h 508"/>
                <a:gd name="T16" fmla="*/ 131 w 374"/>
                <a:gd name="T17" fmla="*/ 0 h 508"/>
                <a:gd name="T18" fmla="*/ 83 w 374"/>
                <a:gd name="T19" fmla="*/ 98 h 508"/>
                <a:gd name="T20" fmla="*/ 46 w 374"/>
                <a:gd name="T21" fmla="*/ 106 h 508"/>
                <a:gd name="T22" fmla="*/ 6 w 374"/>
                <a:gd name="T23" fmla="*/ 97 h 508"/>
                <a:gd name="T24" fmla="*/ 0 w 374"/>
                <a:gd name="T25" fmla="*/ 145 h 508"/>
                <a:gd name="T26" fmla="*/ 1 w 374"/>
                <a:gd name="T27" fmla="*/ 359 h 508"/>
                <a:gd name="T28" fmla="*/ 66 w 374"/>
                <a:gd name="T29" fmla="*/ 417 h 508"/>
                <a:gd name="T30" fmla="*/ 66 w 374"/>
                <a:gd name="T31" fmla="*/ 508 h 508"/>
                <a:gd name="T32" fmla="*/ 317 w 374"/>
                <a:gd name="T33" fmla="*/ 50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 h="508">
                  <a:moveTo>
                    <a:pt x="317" y="508"/>
                  </a:moveTo>
                  <a:lnTo>
                    <a:pt x="317" y="179"/>
                  </a:lnTo>
                  <a:cubicBezTo>
                    <a:pt x="336" y="185"/>
                    <a:pt x="356" y="190"/>
                    <a:pt x="374" y="195"/>
                  </a:cubicBezTo>
                  <a:cubicBezTo>
                    <a:pt x="374" y="164"/>
                    <a:pt x="374" y="137"/>
                    <a:pt x="374" y="116"/>
                  </a:cubicBezTo>
                  <a:cubicBezTo>
                    <a:pt x="374" y="96"/>
                    <a:pt x="368" y="45"/>
                    <a:pt x="338" y="22"/>
                  </a:cubicBezTo>
                  <a:cubicBezTo>
                    <a:pt x="319" y="6"/>
                    <a:pt x="290" y="1"/>
                    <a:pt x="257" y="0"/>
                  </a:cubicBezTo>
                  <a:lnTo>
                    <a:pt x="196" y="61"/>
                  </a:lnTo>
                  <a:lnTo>
                    <a:pt x="136" y="0"/>
                  </a:lnTo>
                  <a:cubicBezTo>
                    <a:pt x="134" y="0"/>
                    <a:pt x="132" y="0"/>
                    <a:pt x="131" y="0"/>
                  </a:cubicBezTo>
                  <a:cubicBezTo>
                    <a:pt x="138" y="43"/>
                    <a:pt x="120" y="82"/>
                    <a:pt x="83" y="98"/>
                  </a:cubicBezTo>
                  <a:cubicBezTo>
                    <a:pt x="71" y="103"/>
                    <a:pt x="59" y="106"/>
                    <a:pt x="46" y="106"/>
                  </a:cubicBezTo>
                  <a:cubicBezTo>
                    <a:pt x="32" y="106"/>
                    <a:pt x="18" y="103"/>
                    <a:pt x="6" y="97"/>
                  </a:cubicBezTo>
                  <a:cubicBezTo>
                    <a:pt x="2" y="111"/>
                    <a:pt x="0" y="127"/>
                    <a:pt x="0" y="145"/>
                  </a:cubicBezTo>
                  <a:cubicBezTo>
                    <a:pt x="0" y="145"/>
                    <a:pt x="1" y="359"/>
                    <a:pt x="1" y="359"/>
                  </a:cubicBezTo>
                  <a:cubicBezTo>
                    <a:pt x="1" y="392"/>
                    <a:pt x="25" y="417"/>
                    <a:pt x="66" y="417"/>
                  </a:cubicBezTo>
                  <a:lnTo>
                    <a:pt x="66" y="508"/>
                  </a:lnTo>
                  <a:lnTo>
                    <a:pt x="317" y="508"/>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38" name="Oval 137">
            <a:extLst>
              <a:ext uri="{FF2B5EF4-FFF2-40B4-BE49-F238E27FC236}">
                <a16:creationId xmlns:a16="http://schemas.microsoft.com/office/drawing/2014/main" id="{C582B1F0-33A4-454D-9333-9D3C52F5902F}"/>
              </a:ext>
            </a:extLst>
          </p:cNvPr>
          <p:cNvSpPr>
            <a:spLocks noChangeAspect="1"/>
          </p:cNvSpPr>
          <p:nvPr/>
        </p:nvSpPr>
        <p:spPr>
          <a:xfrm>
            <a:off x="737519" y="4633865"/>
            <a:ext cx="897255" cy="897255"/>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150" name="Oval 149">
            <a:extLst>
              <a:ext uri="{FF2B5EF4-FFF2-40B4-BE49-F238E27FC236}">
                <a16:creationId xmlns:a16="http://schemas.microsoft.com/office/drawing/2014/main" id="{1B578E69-130F-4082-BED8-28F71B2D9B1B}"/>
              </a:ext>
            </a:extLst>
          </p:cNvPr>
          <p:cNvSpPr>
            <a:spLocks noChangeAspect="1"/>
          </p:cNvSpPr>
          <p:nvPr/>
        </p:nvSpPr>
        <p:spPr>
          <a:xfrm>
            <a:off x="2797376" y="4638781"/>
            <a:ext cx="897255" cy="897255"/>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39" name="Money_management" descr="{&quot;Key&quot;:&quot;POWER_USER_SHAPE_ICON&quot;,&quot;Value&quot;:&quot;POWER_USER_SHAPE_ICON_STYLE_1&quot;}">
            <a:extLst>
              <a:ext uri="{FF2B5EF4-FFF2-40B4-BE49-F238E27FC236}">
                <a16:creationId xmlns:a16="http://schemas.microsoft.com/office/drawing/2014/main" id="{8FACA75D-9224-4275-A3BE-D320CC72C7E4}"/>
              </a:ext>
            </a:extLst>
          </p:cNvPr>
          <p:cNvGrpSpPr>
            <a:grpSpLocks noChangeAspect="1"/>
          </p:cNvGrpSpPr>
          <p:nvPr>
            <p:custDataLst>
              <p:tags r:id="rId12"/>
            </p:custDataLst>
          </p:nvPr>
        </p:nvGrpSpPr>
        <p:grpSpPr>
          <a:xfrm>
            <a:off x="2812025" y="4823722"/>
            <a:ext cx="856054" cy="534860"/>
            <a:chOff x="5040313" y="4830763"/>
            <a:chExt cx="973137" cy="608013"/>
          </a:xfrm>
          <a:solidFill>
            <a:schemeClr val="bg2"/>
          </a:solidFill>
        </p:grpSpPr>
        <p:sp>
          <p:nvSpPr>
            <p:cNvPr id="140" name="Rectangle 267">
              <a:extLst>
                <a:ext uri="{FF2B5EF4-FFF2-40B4-BE49-F238E27FC236}">
                  <a16:creationId xmlns:a16="http://schemas.microsoft.com/office/drawing/2014/main" id="{8FA118D9-408E-4DF9-81AA-26C4DDD5B1B8}"/>
                </a:ext>
              </a:extLst>
            </p:cNvPr>
            <p:cNvSpPr>
              <a:spLocks noChangeArrowheads="1"/>
            </p:cNvSpPr>
            <p:nvPr/>
          </p:nvSpPr>
          <p:spPr bwMode="auto">
            <a:xfrm>
              <a:off x="5832475" y="4979988"/>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68">
              <a:extLst>
                <a:ext uri="{FF2B5EF4-FFF2-40B4-BE49-F238E27FC236}">
                  <a16:creationId xmlns:a16="http://schemas.microsoft.com/office/drawing/2014/main" id="{AACDAFCF-6642-4D80-BA04-2DF8A2C631B0}"/>
                </a:ext>
              </a:extLst>
            </p:cNvPr>
            <p:cNvSpPr>
              <a:spLocks/>
            </p:cNvSpPr>
            <p:nvPr/>
          </p:nvSpPr>
          <p:spPr bwMode="auto">
            <a:xfrm>
              <a:off x="5886450" y="4937125"/>
              <a:ext cx="127000" cy="111125"/>
            </a:xfrm>
            <a:custGeom>
              <a:avLst/>
              <a:gdLst>
                <a:gd name="T0" fmla="*/ 45 w 80"/>
                <a:gd name="T1" fmla="*/ 0 h 70"/>
                <a:gd name="T2" fmla="*/ 33 w 80"/>
                <a:gd name="T3" fmla="*/ 11 h 70"/>
                <a:gd name="T4" fmla="*/ 49 w 80"/>
                <a:gd name="T5" fmla="*/ 27 h 70"/>
                <a:gd name="T6" fmla="*/ 0 w 80"/>
                <a:gd name="T7" fmla="*/ 27 h 70"/>
                <a:gd name="T8" fmla="*/ 0 w 80"/>
                <a:gd name="T9" fmla="*/ 43 h 70"/>
                <a:gd name="T10" fmla="*/ 49 w 80"/>
                <a:gd name="T11" fmla="*/ 43 h 70"/>
                <a:gd name="T12" fmla="*/ 33 w 80"/>
                <a:gd name="T13" fmla="*/ 59 h 70"/>
                <a:gd name="T14" fmla="*/ 45 w 80"/>
                <a:gd name="T15" fmla="*/ 70 h 70"/>
                <a:gd name="T16" fmla="*/ 80 w 80"/>
                <a:gd name="T17" fmla="*/ 35 h 70"/>
                <a:gd name="T18" fmla="*/ 45 w 80"/>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70">
                  <a:moveTo>
                    <a:pt x="45" y="0"/>
                  </a:moveTo>
                  <a:lnTo>
                    <a:pt x="33" y="11"/>
                  </a:lnTo>
                  <a:lnTo>
                    <a:pt x="49" y="27"/>
                  </a:lnTo>
                  <a:lnTo>
                    <a:pt x="0" y="27"/>
                  </a:lnTo>
                  <a:lnTo>
                    <a:pt x="0" y="43"/>
                  </a:lnTo>
                  <a:lnTo>
                    <a:pt x="49" y="43"/>
                  </a:lnTo>
                  <a:lnTo>
                    <a:pt x="33" y="59"/>
                  </a:lnTo>
                  <a:lnTo>
                    <a:pt x="45" y="70"/>
                  </a:lnTo>
                  <a:lnTo>
                    <a:pt x="80" y="35"/>
                  </a:lnTo>
                  <a:lnTo>
                    <a:pt x="4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Rectangle 269">
              <a:extLst>
                <a:ext uri="{FF2B5EF4-FFF2-40B4-BE49-F238E27FC236}">
                  <a16:creationId xmlns:a16="http://schemas.microsoft.com/office/drawing/2014/main" id="{5A1C9447-6450-4445-BFDF-E8B35AD220AD}"/>
                </a:ext>
              </a:extLst>
            </p:cNvPr>
            <p:cNvSpPr>
              <a:spLocks noChangeArrowheads="1"/>
            </p:cNvSpPr>
            <p:nvPr/>
          </p:nvSpPr>
          <p:spPr bwMode="auto">
            <a:xfrm>
              <a:off x="5745163" y="4881563"/>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70">
              <a:extLst>
                <a:ext uri="{FF2B5EF4-FFF2-40B4-BE49-F238E27FC236}">
                  <a16:creationId xmlns:a16="http://schemas.microsoft.com/office/drawing/2014/main" id="{36959315-6528-43BB-BCD6-6FEC86F9F6FD}"/>
                </a:ext>
              </a:extLst>
            </p:cNvPr>
            <p:cNvSpPr>
              <a:spLocks/>
            </p:cNvSpPr>
            <p:nvPr/>
          </p:nvSpPr>
          <p:spPr bwMode="auto">
            <a:xfrm>
              <a:off x="5800725" y="4838700"/>
              <a:ext cx="125413" cy="111125"/>
            </a:xfrm>
            <a:custGeom>
              <a:avLst/>
              <a:gdLst>
                <a:gd name="T0" fmla="*/ 44 w 79"/>
                <a:gd name="T1" fmla="*/ 0 h 70"/>
                <a:gd name="T2" fmla="*/ 32 w 79"/>
                <a:gd name="T3" fmla="*/ 11 h 70"/>
                <a:gd name="T4" fmla="*/ 48 w 79"/>
                <a:gd name="T5" fmla="*/ 27 h 70"/>
                <a:gd name="T6" fmla="*/ 0 w 79"/>
                <a:gd name="T7" fmla="*/ 27 h 70"/>
                <a:gd name="T8" fmla="*/ 0 w 79"/>
                <a:gd name="T9" fmla="*/ 43 h 70"/>
                <a:gd name="T10" fmla="*/ 48 w 79"/>
                <a:gd name="T11" fmla="*/ 43 h 70"/>
                <a:gd name="T12" fmla="*/ 32 w 79"/>
                <a:gd name="T13" fmla="*/ 59 h 70"/>
                <a:gd name="T14" fmla="*/ 44 w 79"/>
                <a:gd name="T15" fmla="*/ 70 h 70"/>
                <a:gd name="T16" fmla="*/ 79 w 79"/>
                <a:gd name="T17" fmla="*/ 35 h 70"/>
                <a:gd name="T18" fmla="*/ 44 w 7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0">
                  <a:moveTo>
                    <a:pt x="44" y="0"/>
                  </a:moveTo>
                  <a:lnTo>
                    <a:pt x="32" y="11"/>
                  </a:lnTo>
                  <a:lnTo>
                    <a:pt x="48" y="27"/>
                  </a:lnTo>
                  <a:lnTo>
                    <a:pt x="0" y="27"/>
                  </a:lnTo>
                  <a:lnTo>
                    <a:pt x="0" y="43"/>
                  </a:lnTo>
                  <a:lnTo>
                    <a:pt x="48" y="43"/>
                  </a:lnTo>
                  <a:lnTo>
                    <a:pt x="32" y="59"/>
                  </a:lnTo>
                  <a:lnTo>
                    <a:pt x="44" y="70"/>
                  </a:lnTo>
                  <a:lnTo>
                    <a:pt x="79" y="35"/>
                  </a:lnTo>
                  <a:lnTo>
                    <a:pt x="4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Rectangle 271">
              <a:extLst>
                <a:ext uri="{FF2B5EF4-FFF2-40B4-BE49-F238E27FC236}">
                  <a16:creationId xmlns:a16="http://schemas.microsoft.com/office/drawing/2014/main" id="{EBC6A730-3148-4E54-B452-C1C1BCD63DA6}"/>
                </a:ext>
              </a:extLst>
            </p:cNvPr>
            <p:cNvSpPr>
              <a:spLocks noChangeArrowheads="1"/>
            </p:cNvSpPr>
            <p:nvPr/>
          </p:nvSpPr>
          <p:spPr bwMode="auto">
            <a:xfrm>
              <a:off x="5194300" y="5264150"/>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72">
              <a:extLst>
                <a:ext uri="{FF2B5EF4-FFF2-40B4-BE49-F238E27FC236}">
                  <a16:creationId xmlns:a16="http://schemas.microsoft.com/office/drawing/2014/main" id="{0F8F5DA3-5377-4AE5-BAD5-89E39803B36A}"/>
                </a:ext>
              </a:extLst>
            </p:cNvPr>
            <p:cNvSpPr>
              <a:spLocks/>
            </p:cNvSpPr>
            <p:nvPr/>
          </p:nvSpPr>
          <p:spPr bwMode="auto">
            <a:xfrm>
              <a:off x="5040313" y="5221288"/>
              <a:ext cx="125413" cy="111125"/>
            </a:xfrm>
            <a:custGeom>
              <a:avLst/>
              <a:gdLst>
                <a:gd name="T0" fmla="*/ 35 w 79"/>
                <a:gd name="T1" fmla="*/ 70 h 70"/>
                <a:gd name="T2" fmla="*/ 46 w 79"/>
                <a:gd name="T3" fmla="*/ 58 h 70"/>
                <a:gd name="T4" fmla="*/ 31 w 79"/>
                <a:gd name="T5" fmla="*/ 43 h 70"/>
                <a:gd name="T6" fmla="*/ 79 w 79"/>
                <a:gd name="T7" fmla="*/ 43 h 70"/>
                <a:gd name="T8" fmla="*/ 79 w 79"/>
                <a:gd name="T9" fmla="*/ 27 h 70"/>
                <a:gd name="T10" fmla="*/ 31 w 79"/>
                <a:gd name="T11" fmla="*/ 27 h 70"/>
                <a:gd name="T12" fmla="*/ 46 w 79"/>
                <a:gd name="T13" fmla="*/ 11 h 70"/>
                <a:gd name="T14" fmla="*/ 35 w 79"/>
                <a:gd name="T15" fmla="*/ 0 h 70"/>
                <a:gd name="T16" fmla="*/ 0 w 79"/>
                <a:gd name="T17" fmla="*/ 35 h 70"/>
                <a:gd name="T18" fmla="*/ 35 w 79"/>
                <a:gd name="T1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0">
                  <a:moveTo>
                    <a:pt x="35" y="70"/>
                  </a:moveTo>
                  <a:lnTo>
                    <a:pt x="46" y="58"/>
                  </a:lnTo>
                  <a:lnTo>
                    <a:pt x="31" y="43"/>
                  </a:lnTo>
                  <a:lnTo>
                    <a:pt x="79" y="43"/>
                  </a:lnTo>
                  <a:lnTo>
                    <a:pt x="79" y="27"/>
                  </a:lnTo>
                  <a:lnTo>
                    <a:pt x="31" y="27"/>
                  </a:lnTo>
                  <a:lnTo>
                    <a:pt x="46" y="11"/>
                  </a:lnTo>
                  <a:lnTo>
                    <a:pt x="35" y="0"/>
                  </a:lnTo>
                  <a:lnTo>
                    <a:pt x="0" y="35"/>
                  </a:lnTo>
                  <a:lnTo>
                    <a:pt x="35" y="7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Rectangle 273">
              <a:extLst>
                <a:ext uri="{FF2B5EF4-FFF2-40B4-BE49-F238E27FC236}">
                  <a16:creationId xmlns:a16="http://schemas.microsoft.com/office/drawing/2014/main" id="{C7C5284F-6D10-4137-9D50-C6479769E637}"/>
                </a:ext>
              </a:extLst>
            </p:cNvPr>
            <p:cNvSpPr>
              <a:spLocks noChangeArrowheads="1"/>
            </p:cNvSpPr>
            <p:nvPr/>
          </p:nvSpPr>
          <p:spPr bwMode="auto">
            <a:xfrm>
              <a:off x="5281613" y="5362575"/>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74">
              <a:extLst>
                <a:ext uri="{FF2B5EF4-FFF2-40B4-BE49-F238E27FC236}">
                  <a16:creationId xmlns:a16="http://schemas.microsoft.com/office/drawing/2014/main" id="{1DA9CEF9-786C-4549-B60F-86294CEFC5D4}"/>
                </a:ext>
              </a:extLst>
            </p:cNvPr>
            <p:cNvSpPr>
              <a:spLocks/>
            </p:cNvSpPr>
            <p:nvPr/>
          </p:nvSpPr>
          <p:spPr bwMode="auto">
            <a:xfrm>
              <a:off x="5127625" y="5319713"/>
              <a:ext cx="125413" cy="111125"/>
            </a:xfrm>
            <a:custGeom>
              <a:avLst/>
              <a:gdLst>
                <a:gd name="T0" fmla="*/ 35 w 79"/>
                <a:gd name="T1" fmla="*/ 70 h 70"/>
                <a:gd name="T2" fmla="*/ 46 w 79"/>
                <a:gd name="T3" fmla="*/ 58 h 70"/>
                <a:gd name="T4" fmla="*/ 31 w 79"/>
                <a:gd name="T5" fmla="*/ 43 h 70"/>
                <a:gd name="T6" fmla="*/ 79 w 79"/>
                <a:gd name="T7" fmla="*/ 43 h 70"/>
                <a:gd name="T8" fmla="*/ 79 w 79"/>
                <a:gd name="T9" fmla="*/ 27 h 70"/>
                <a:gd name="T10" fmla="*/ 31 w 79"/>
                <a:gd name="T11" fmla="*/ 27 h 70"/>
                <a:gd name="T12" fmla="*/ 46 w 79"/>
                <a:gd name="T13" fmla="*/ 11 h 70"/>
                <a:gd name="T14" fmla="*/ 35 w 79"/>
                <a:gd name="T15" fmla="*/ 0 h 70"/>
                <a:gd name="T16" fmla="*/ 0 w 79"/>
                <a:gd name="T17" fmla="*/ 35 h 70"/>
                <a:gd name="T18" fmla="*/ 35 w 79"/>
                <a:gd name="T1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0">
                  <a:moveTo>
                    <a:pt x="35" y="70"/>
                  </a:moveTo>
                  <a:lnTo>
                    <a:pt x="46" y="58"/>
                  </a:lnTo>
                  <a:lnTo>
                    <a:pt x="31" y="43"/>
                  </a:lnTo>
                  <a:lnTo>
                    <a:pt x="79" y="43"/>
                  </a:lnTo>
                  <a:lnTo>
                    <a:pt x="79" y="27"/>
                  </a:lnTo>
                  <a:lnTo>
                    <a:pt x="31" y="27"/>
                  </a:lnTo>
                  <a:lnTo>
                    <a:pt x="46" y="11"/>
                  </a:lnTo>
                  <a:lnTo>
                    <a:pt x="35" y="0"/>
                  </a:lnTo>
                  <a:lnTo>
                    <a:pt x="0" y="35"/>
                  </a:lnTo>
                  <a:lnTo>
                    <a:pt x="35" y="7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75">
              <a:extLst>
                <a:ext uri="{FF2B5EF4-FFF2-40B4-BE49-F238E27FC236}">
                  <a16:creationId xmlns:a16="http://schemas.microsoft.com/office/drawing/2014/main" id="{1F926056-DDA7-4ADB-9CFB-015D4DA5B8F6}"/>
                </a:ext>
              </a:extLst>
            </p:cNvPr>
            <p:cNvSpPr>
              <a:spLocks noEditPoints="1"/>
            </p:cNvSpPr>
            <p:nvPr/>
          </p:nvSpPr>
          <p:spPr bwMode="auto">
            <a:xfrm>
              <a:off x="5419725" y="5027613"/>
              <a:ext cx="214313" cy="214313"/>
            </a:xfrm>
            <a:custGeom>
              <a:avLst/>
              <a:gdLst>
                <a:gd name="T0" fmla="*/ 140 w 281"/>
                <a:gd name="T1" fmla="*/ 126 h 281"/>
                <a:gd name="T2" fmla="*/ 201 w 281"/>
                <a:gd name="T3" fmla="*/ 179 h 281"/>
                <a:gd name="T4" fmla="*/ 155 w 281"/>
                <a:gd name="T5" fmla="*/ 230 h 281"/>
                <a:gd name="T6" fmla="*/ 155 w 281"/>
                <a:gd name="T7" fmla="*/ 250 h 281"/>
                <a:gd name="T8" fmla="*/ 125 w 281"/>
                <a:gd name="T9" fmla="*/ 250 h 281"/>
                <a:gd name="T10" fmla="*/ 125 w 281"/>
                <a:gd name="T11" fmla="*/ 230 h 281"/>
                <a:gd name="T12" fmla="*/ 80 w 281"/>
                <a:gd name="T13" fmla="*/ 179 h 281"/>
                <a:gd name="T14" fmla="*/ 110 w 281"/>
                <a:gd name="T15" fmla="*/ 179 h 281"/>
                <a:gd name="T16" fmla="*/ 140 w 281"/>
                <a:gd name="T17" fmla="*/ 201 h 281"/>
                <a:gd name="T18" fmla="*/ 170 w 281"/>
                <a:gd name="T19" fmla="*/ 179 h 281"/>
                <a:gd name="T20" fmla="*/ 140 w 281"/>
                <a:gd name="T21" fmla="*/ 156 h 281"/>
                <a:gd name="T22" fmla="*/ 80 w 281"/>
                <a:gd name="T23" fmla="*/ 103 h 281"/>
                <a:gd name="T24" fmla="*/ 125 w 281"/>
                <a:gd name="T25" fmla="*/ 52 h 281"/>
                <a:gd name="T26" fmla="*/ 125 w 281"/>
                <a:gd name="T27" fmla="*/ 31 h 281"/>
                <a:gd name="T28" fmla="*/ 155 w 281"/>
                <a:gd name="T29" fmla="*/ 31 h 281"/>
                <a:gd name="T30" fmla="*/ 155 w 281"/>
                <a:gd name="T31" fmla="*/ 52 h 281"/>
                <a:gd name="T32" fmla="*/ 201 w 281"/>
                <a:gd name="T33" fmla="*/ 103 h 281"/>
                <a:gd name="T34" fmla="*/ 170 w 281"/>
                <a:gd name="T35" fmla="*/ 103 h 281"/>
                <a:gd name="T36" fmla="*/ 140 w 281"/>
                <a:gd name="T37" fmla="*/ 80 h 281"/>
                <a:gd name="T38" fmla="*/ 110 w 281"/>
                <a:gd name="T39" fmla="*/ 103 h 281"/>
                <a:gd name="T40" fmla="*/ 140 w 281"/>
                <a:gd name="T41" fmla="*/ 126 h 281"/>
                <a:gd name="T42" fmla="*/ 140 w 281"/>
                <a:gd name="T43" fmla="*/ 0 h 281"/>
                <a:gd name="T44" fmla="*/ 0 w 281"/>
                <a:gd name="T45" fmla="*/ 141 h 281"/>
                <a:gd name="T46" fmla="*/ 140 w 281"/>
                <a:gd name="T47" fmla="*/ 281 h 281"/>
                <a:gd name="T48" fmla="*/ 281 w 281"/>
                <a:gd name="T49" fmla="*/ 141 h 281"/>
                <a:gd name="T50" fmla="*/ 140 w 281"/>
                <a:gd name="T51" fmla="*/ 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1" h="281">
                  <a:moveTo>
                    <a:pt x="140" y="126"/>
                  </a:moveTo>
                  <a:cubicBezTo>
                    <a:pt x="176" y="126"/>
                    <a:pt x="201" y="147"/>
                    <a:pt x="201" y="179"/>
                  </a:cubicBezTo>
                  <a:cubicBezTo>
                    <a:pt x="201" y="203"/>
                    <a:pt x="181" y="224"/>
                    <a:pt x="155" y="230"/>
                  </a:cubicBezTo>
                  <a:lnTo>
                    <a:pt x="155" y="250"/>
                  </a:lnTo>
                  <a:lnTo>
                    <a:pt x="125" y="250"/>
                  </a:lnTo>
                  <a:lnTo>
                    <a:pt x="125" y="230"/>
                  </a:lnTo>
                  <a:cubicBezTo>
                    <a:pt x="99" y="224"/>
                    <a:pt x="80" y="203"/>
                    <a:pt x="80" y="179"/>
                  </a:cubicBezTo>
                  <a:lnTo>
                    <a:pt x="110" y="179"/>
                  </a:lnTo>
                  <a:cubicBezTo>
                    <a:pt x="110" y="191"/>
                    <a:pt x="124" y="201"/>
                    <a:pt x="140" y="201"/>
                  </a:cubicBezTo>
                  <a:cubicBezTo>
                    <a:pt x="157" y="201"/>
                    <a:pt x="170" y="191"/>
                    <a:pt x="170" y="179"/>
                  </a:cubicBezTo>
                  <a:cubicBezTo>
                    <a:pt x="170" y="164"/>
                    <a:pt x="159" y="156"/>
                    <a:pt x="140" y="156"/>
                  </a:cubicBezTo>
                  <a:cubicBezTo>
                    <a:pt x="98" y="156"/>
                    <a:pt x="80" y="129"/>
                    <a:pt x="80" y="103"/>
                  </a:cubicBezTo>
                  <a:cubicBezTo>
                    <a:pt x="80" y="78"/>
                    <a:pt x="99" y="58"/>
                    <a:pt x="125" y="52"/>
                  </a:cubicBezTo>
                  <a:lnTo>
                    <a:pt x="125" y="31"/>
                  </a:lnTo>
                  <a:lnTo>
                    <a:pt x="155" y="31"/>
                  </a:lnTo>
                  <a:lnTo>
                    <a:pt x="155" y="52"/>
                  </a:lnTo>
                  <a:cubicBezTo>
                    <a:pt x="181" y="58"/>
                    <a:pt x="201" y="78"/>
                    <a:pt x="201" y="103"/>
                  </a:cubicBezTo>
                  <a:lnTo>
                    <a:pt x="170" y="103"/>
                  </a:lnTo>
                  <a:cubicBezTo>
                    <a:pt x="170" y="91"/>
                    <a:pt x="157" y="80"/>
                    <a:pt x="140" y="80"/>
                  </a:cubicBezTo>
                  <a:cubicBezTo>
                    <a:pt x="124" y="80"/>
                    <a:pt x="110" y="91"/>
                    <a:pt x="110" y="103"/>
                  </a:cubicBezTo>
                  <a:cubicBezTo>
                    <a:pt x="110" y="117"/>
                    <a:pt x="121" y="126"/>
                    <a:pt x="140" y="126"/>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76">
              <a:extLst>
                <a:ext uri="{FF2B5EF4-FFF2-40B4-BE49-F238E27FC236}">
                  <a16:creationId xmlns:a16="http://schemas.microsoft.com/office/drawing/2014/main" id="{BE7165B6-A848-4A98-810A-2B480A0A6048}"/>
                </a:ext>
              </a:extLst>
            </p:cNvPr>
            <p:cNvSpPr>
              <a:spLocks noEditPoints="1"/>
            </p:cNvSpPr>
            <p:nvPr/>
          </p:nvSpPr>
          <p:spPr bwMode="auto">
            <a:xfrm>
              <a:off x="5222875" y="4830763"/>
              <a:ext cx="608013" cy="608013"/>
            </a:xfrm>
            <a:custGeom>
              <a:avLst/>
              <a:gdLst>
                <a:gd name="T0" fmla="*/ 604 w 799"/>
                <a:gd name="T1" fmla="*/ 415 h 799"/>
                <a:gd name="T2" fmla="*/ 635 w 799"/>
                <a:gd name="T3" fmla="*/ 385 h 799"/>
                <a:gd name="T4" fmla="*/ 596 w 799"/>
                <a:gd name="T5" fmla="*/ 531 h 799"/>
                <a:gd name="T6" fmla="*/ 584 w 799"/>
                <a:gd name="T7" fmla="*/ 489 h 799"/>
                <a:gd name="T8" fmla="*/ 596 w 799"/>
                <a:gd name="T9" fmla="*/ 531 h 799"/>
                <a:gd name="T10" fmla="*/ 228 w 799"/>
                <a:gd name="T11" fmla="*/ 400 h 799"/>
                <a:gd name="T12" fmla="*/ 570 w 799"/>
                <a:gd name="T13" fmla="*/ 400 h 799"/>
                <a:gd name="T14" fmla="*/ 504 w 799"/>
                <a:gd name="T15" fmla="*/ 611 h 799"/>
                <a:gd name="T16" fmla="*/ 515 w 799"/>
                <a:gd name="T17" fmla="*/ 570 h 799"/>
                <a:gd name="T18" fmla="*/ 504 w 799"/>
                <a:gd name="T19" fmla="*/ 611 h 799"/>
                <a:gd name="T20" fmla="*/ 384 w 799"/>
                <a:gd name="T21" fmla="*/ 635 h 799"/>
                <a:gd name="T22" fmla="*/ 414 w 799"/>
                <a:gd name="T23" fmla="*/ 605 h 799"/>
                <a:gd name="T24" fmla="*/ 295 w 799"/>
                <a:gd name="T25" fmla="*/ 611 h 799"/>
                <a:gd name="T26" fmla="*/ 284 w 799"/>
                <a:gd name="T27" fmla="*/ 570 h 799"/>
                <a:gd name="T28" fmla="*/ 295 w 799"/>
                <a:gd name="T29" fmla="*/ 611 h 799"/>
                <a:gd name="T30" fmla="*/ 188 w 799"/>
                <a:gd name="T31" fmla="*/ 504 h 799"/>
                <a:gd name="T32" fmla="*/ 229 w 799"/>
                <a:gd name="T33" fmla="*/ 515 h 799"/>
                <a:gd name="T34" fmla="*/ 164 w 799"/>
                <a:gd name="T35" fmla="*/ 415 h 799"/>
                <a:gd name="T36" fmla="*/ 194 w 799"/>
                <a:gd name="T37" fmla="*/ 385 h 799"/>
                <a:gd name="T38" fmla="*/ 164 w 799"/>
                <a:gd name="T39" fmla="*/ 415 h 799"/>
                <a:gd name="T40" fmla="*/ 229 w 799"/>
                <a:gd name="T41" fmla="*/ 284 h 799"/>
                <a:gd name="T42" fmla="*/ 188 w 799"/>
                <a:gd name="T43" fmla="*/ 295 h 799"/>
                <a:gd name="T44" fmla="*/ 295 w 799"/>
                <a:gd name="T45" fmla="*/ 188 h 799"/>
                <a:gd name="T46" fmla="*/ 284 w 799"/>
                <a:gd name="T47" fmla="*/ 230 h 799"/>
                <a:gd name="T48" fmla="*/ 295 w 799"/>
                <a:gd name="T49" fmla="*/ 188 h 799"/>
                <a:gd name="T50" fmla="*/ 414 w 799"/>
                <a:gd name="T51" fmla="*/ 164 h 799"/>
                <a:gd name="T52" fmla="*/ 384 w 799"/>
                <a:gd name="T53" fmla="*/ 195 h 799"/>
                <a:gd name="T54" fmla="*/ 504 w 799"/>
                <a:gd name="T55" fmla="*/ 188 h 799"/>
                <a:gd name="T56" fmla="*/ 515 w 799"/>
                <a:gd name="T57" fmla="*/ 230 h 799"/>
                <a:gd name="T58" fmla="*/ 504 w 799"/>
                <a:gd name="T59" fmla="*/ 188 h 799"/>
                <a:gd name="T60" fmla="*/ 611 w 799"/>
                <a:gd name="T61" fmla="*/ 295 h 799"/>
                <a:gd name="T62" fmla="*/ 569 w 799"/>
                <a:gd name="T63" fmla="*/ 284 h 799"/>
                <a:gd name="T64" fmla="*/ 796 w 799"/>
                <a:gd name="T65" fmla="*/ 436 h 799"/>
                <a:gd name="T66" fmla="*/ 731 w 799"/>
                <a:gd name="T67" fmla="*/ 332 h 799"/>
                <a:gd name="T68" fmla="*/ 762 w 799"/>
                <a:gd name="T69" fmla="*/ 233 h 799"/>
                <a:gd name="T70" fmla="*/ 652 w 799"/>
                <a:gd name="T71" fmla="*/ 175 h 799"/>
                <a:gd name="T72" fmla="*/ 629 w 799"/>
                <a:gd name="T73" fmla="*/ 74 h 799"/>
                <a:gd name="T74" fmla="*/ 506 w 799"/>
                <a:gd name="T75" fmla="*/ 78 h 799"/>
                <a:gd name="T76" fmla="*/ 436 w 799"/>
                <a:gd name="T77" fmla="*/ 2 h 799"/>
                <a:gd name="T78" fmla="*/ 331 w 799"/>
                <a:gd name="T79" fmla="*/ 68 h 799"/>
                <a:gd name="T80" fmla="*/ 232 w 799"/>
                <a:gd name="T81" fmla="*/ 37 h 799"/>
                <a:gd name="T82" fmla="*/ 174 w 799"/>
                <a:gd name="T83" fmla="*/ 147 h 799"/>
                <a:gd name="T84" fmla="*/ 73 w 799"/>
                <a:gd name="T85" fmla="*/ 170 h 799"/>
                <a:gd name="T86" fmla="*/ 78 w 799"/>
                <a:gd name="T87" fmla="*/ 293 h 799"/>
                <a:gd name="T88" fmla="*/ 2 w 799"/>
                <a:gd name="T89" fmla="*/ 363 h 799"/>
                <a:gd name="T90" fmla="*/ 67 w 799"/>
                <a:gd name="T91" fmla="*/ 468 h 799"/>
                <a:gd name="T92" fmla="*/ 37 w 799"/>
                <a:gd name="T93" fmla="*/ 567 h 799"/>
                <a:gd name="T94" fmla="*/ 147 w 799"/>
                <a:gd name="T95" fmla="*/ 625 h 799"/>
                <a:gd name="T96" fmla="*/ 169 w 799"/>
                <a:gd name="T97" fmla="*/ 725 h 799"/>
                <a:gd name="T98" fmla="*/ 293 w 799"/>
                <a:gd name="T99" fmla="*/ 721 h 799"/>
                <a:gd name="T100" fmla="*/ 363 w 799"/>
                <a:gd name="T101" fmla="*/ 797 h 799"/>
                <a:gd name="T102" fmla="*/ 467 w 799"/>
                <a:gd name="T103" fmla="*/ 731 h 799"/>
                <a:gd name="T104" fmla="*/ 566 w 799"/>
                <a:gd name="T105" fmla="*/ 762 h 799"/>
                <a:gd name="T106" fmla="*/ 624 w 799"/>
                <a:gd name="T107" fmla="*/ 652 h 799"/>
                <a:gd name="T108" fmla="*/ 725 w 799"/>
                <a:gd name="T109" fmla="*/ 630 h 799"/>
                <a:gd name="T110" fmla="*/ 720 w 799"/>
                <a:gd name="T111" fmla="*/ 506 h 799"/>
                <a:gd name="T112" fmla="*/ 796 w 799"/>
                <a:gd name="T113" fmla="*/ 436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9" h="799">
                  <a:moveTo>
                    <a:pt x="635" y="415"/>
                  </a:moveTo>
                  <a:lnTo>
                    <a:pt x="604" y="415"/>
                  </a:lnTo>
                  <a:lnTo>
                    <a:pt x="604" y="385"/>
                  </a:lnTo>
                  <a:lnTo>
                    <a:pt x="635" y="385"/>
                  </a:lnTo>
                  <a:lnTo>
                    <a:pt x="635" y="415"/>
                  </a:lnTo>
                  <a:close/>
                  <a:moveTo>
                    <a:pt x="596" y="531"/>
                  </a:moveTo>
                  <a:lnTo>
                    <a:pt x="569" y="515"/>
                  </a:lnTo>
                  <a:lnTo>
                    <a:pt x="584" y="489"/>
                  </a:lnTo>
                  <a:lnTo>
                    <a:pt x="611" y="504"/>
                  </a:lnTo>
                  <a:lnTo>
                    <a:pt x="596" y="531"/>
                  </a:lnTo>
                  <a:close/>
                  <a:moveTo>
                    <a:pt x="399" y="570"/>
                  </a:moveTo>
                  <a:cubicBezTo>
                    <a:pt x="305" y="570"/>
                    <a:pt x="228" y="494"/>
                    <a:pt x="228" y="400"/>
                  </a:cubicBezTo>
                  <a:cubicBezTo>
                    <a:pt x="228" y="306"/>
                    <a:pt x="305" y="229"/>
                    <a:pt x="399" y="229"/>
                  </a:cubicBezTo>
                  <a:cubicBezTo>
                    <a:pt x="493" y="229"/>
                    <a:pt x="570" y="306"/>
                    <a:pt x="570" y="400"/>
                  </a:cubicBezTo>
                  <a:cubicBezTo>
                    <a:pt x="570" y="494"/>
                    <a:pt x="493" y="570"/>
                    <a:pt x="399" y="570"/>
                  </a:cubicBezTo>
                  <a:close/>
                  <a:moveTo>
                    <a:pt x="504" y="611"/>
                  </a:moveTo>
                  <a:lnTo>
                    <a:pt x="489" y="585"/>
                  </a:lnTo>
                  <a:lnTo>
                    <a:pt x="515" y="570"/>
                  </a:lnTo>
                  <a:lnTo>
                    <a:pt x="530" y="596"/>
                  </a:lnTo>
                  <a:lnTo>
                    <a:pt x="504" y="611"/>
                  </a:lnTo>
                  <a:close/>
                  <a:moveTo>
                    <a:pt x="414" y="635"/>
                  </a:moveTo>
                  <a:lnTo>
                    <a:pt x="384" y="635"/>
                  </a:lnTo>
                  <a:lnTo>
                    <a:pt x="384" y="605"/>
                  </a:lnTo>
                  <a:lnTo>
                    <a:pt x="414" y="605"/>
                  </a:lnTo>
                  <a:lnTo>
                    <a:pt x="414" y="635"/>
                  </a:lnTo>
                  <a:close/>
                  <a:moveTo>
                    <a:pt x="295" y="611"/>
                  </a:moveTo>
                  <a:lnTo>
                    <a:pt x="268" y="596"/>
                  </a:lnTo>
                  <a:lnTo>
                    <a:pt x="284" y="570"/>
                  </a:lnTo>
                  <a:lnTo>
                    <a:pt x="310" y="585"/>
                  </a:lnTo>
                  <a:lnTo>
                    <a:pt x="295" y="611"/>
                  </a:lnTo>
                  <a:close/>
                  <a:moveTo>
                    <a:pt x="203" y="531"/>
                  </a:moveTo>
                  <a:lnTo>
                    <a:pt x="188" y="504"/>
                  </a:lnTo>
                  <a:lnTo>
                    <a:pt x="214" y="489"/>
                  </a:lnTo>
                  <a:lnTo>
                    <a:pt x="229" y="515"/>
                  </a:lnTo>
                  <a:lnTo>
                    <a:pt x="203" y="531"/>
                  </a:lnTo>
                  <a:close/>
                  <a:moveTo>
                    <a:pt x="164" y="415"/>
                  </a:moveTo>
                  <a:lnTo>
                    <a:pt x="164" y="385"/>
                  </a:lnTo>
                  <a:lnTo>
                    <a:pt x="194" y="385"/>
                  </a:lnTo>
                  <a:lnTo>
                    <a:pt x="194" y="415"/>
                  </a:lnTo>
                  <a:lnTo>
                    <a:pt x="164" y="415"/>
                  </a:lnTo>
                  <a:close/>
                  <a:moveTo>
                    <a:pt x="203" y="269"/>
                  </a:moveTo>
                  <a:lnTo>
                    <a:pt x="229" y="284"/>
                  </a:lnTo>
                  <a:lnTo>
                    <a:pt x="214" y="310"/>
                  </a:lnTo>
                  <a:lnTo>
                    <a:pt x="188" y="295"/>
                  </a:lnTo>
                  <a:lnTo>
                    <a:pt x="203" y="269"/>
                  </a:lnTo>
                  <a:close/>
                  <a:moveTo>
                    <a:pt x="295" y="188"/>
                  </a:moveTo>
                  <a:lnTo>
                    <a:pt x="310" y="215"/>
                  </a:lnTo>
                  <a:lnTo>
                    <a:pt x="284" y="230"/>
                  </a:lnTo>
                  <a:lnTo>
                    <a:pt x="268" y="203"/>
                  </a:lnTo>
                  <a:lnTo>
                    <a:pt x="295" y="188"/>
                  </a:lnTo>
                  <a:close/>
                  <a:moveTo>
                    <a:pt x="384" y="164"/>
                  </a:moveTo>
                  <a:lnTo>
                    <a:pt x="414" y="164"/>
                  </a:lnTo>
                  <a:lnTo>
                    <a:pt x="414" y="195"/>
                  </a:lnTo>
                  <a:lnTo>
                    <a:pt x="384" y="195"/>
                  </a:lnTo>
                  <a:lnTo>
                    <a:pt x="384" y="164"/>
                  </a:lnTo>
                  <a:close/>
                  <a:moveTo>
                    <a:pt x="504" y="188"/>
                  </a:moveTo>
                  <a:lnTo>
                    <a:pt x="530" y="203"/>
                  </a:lnTo>
                  <a:lnTo>
                    <a:pt x="515" y="230"/>
                  </a:lnTo>
                  <a:lnTo>
                    <a:pt x="489" y="215"/>
                  </a:lnTo>
                  <a:lnTo>
                    <a:pt x="504" y="188"/>
                  </a:lnTo>
                  <a:close/>
                  <a:moveTo>
                    <a:pt x="596" y="269"/>
                  </a:moveTo>
                  <a:lnTo>
                    <a:pt x="611" y="295"/>
                  </a:lnTo>
                  <a:lnTo>
                    <a:pt x="584" y="310"/>
                  </a:lnTo>
                  <a:lnTo>
                    <a:pt x="569" y="284"/>
                  </a:lnTo>
                  <a:lnTo>
                    <a:pt x="596" y="269"/>
                  </a:lnTo>
                  <a:close/>
                  <a:moveTo>
                    <a:pt x="796" y="436"/>
                  </a:moveTo>
                  <a:cubicBezTo>
                    <a:pt x="799" y="412"/>
                    <a:pt x="799" y="388"/>
                    <a:pt x="796" y="363"/>
                  </a:cubicBezTo>
                  <a:lnTo>
                    <a:pt x="731" y="332"/>
                  </a:lnTo>
                  <a:cubicBezTo>
                    <a:pt x="728" y="318"/>
                    <a:pt x="725" y="306"/>
                    <a:pt x="720" y="293"/>
                  </a:cubicBezTo>
                  <a:lnTo>
                    <a:pt x="762" y="233"/>
                  </a:lnTo>
                  <a:cubicBezTo>
                    <a:pt x="751" y="211"/>
                    <a:pt x="739" y="190"/>
                    <a:pt x="725" y="170"/>
                  </a:cubicBezTo>
                  <a:lnTo>
                    <a:pt x="652" y="175"/>
                  </a:lnTo>
                  <a:cubicBezTo>
                    <a:pt x="643" y="165"/>
                    <a:pt x="634" y="156"/>
                    <a:pt x="624" y="147"/>
                  </a:cubicBezTo>
                  <a:lnTo>
                    <a:pt x="629" y="74"/>
                  </a:lnTo>
                  <a:cubicBezTo>
                    <a:pt x="609" y="60"/>
                    <a:pt x="588" y="47"/>
                    <a:pt x="566" y="37"/>
                  </a:cubicBezTo>
                  <a:lnTo>
                    <a:pt x="506" y="78"/>
                  </a:lnTo>
                  <a:cubicBezTo>
                    <a:pt x="493" y="74"/>
                    <a:pt x="481" y="71"/>
                    <a:pt x="467" y="68"/>
                  </a:cubicBezTo>
                  <a:lnTo>
                    <a:pt x="436" y="2"/>
                  </a:lnTo>
                  <a:cubicBezTo>
                    <a:pt x="411" y="0"/>
                    <a:pt x="387" y="0"/>
                    <a:pt x="363" y="2"/>
                  </a:cubicBezTo>
                  <a:lnTo>
                    <a:pt x="331" y="68"/>
                  </a:lnTo>
                  <a:cubicBezTo>
                    <a:pt x="318" y="71"/>
                    <a:pt x="305" y="74"/>
                    <a:pt x="293" y="78"/>
                  </a:cubicBezTo>
                  <a:lnTo>
                    <a:pt x="232" y="37"/>
                  </a:lnTo>
                  <a:cubicBezTo>
                    <a:pt x="210" y="47"/>
                    <a:pt x="189" y="60"/>
                    <a:pt x="169" y="74"/>
                  </a:cubicBezTo>
                  <a:lnTo>
                    <a:pt x="174" y="147"/>
                  </a:lnTo>
                  <a:cubicBezTo>
                    <a:pt x="165" y="156"/>
                    <a:pt x="155" y="165"/>
                    <a:pt x="147" y="175"/>
                  </a:cubicBezTo>
                  <a:lnTo>
                    <a:pt x="73" y="170"/>
                  </a:lnTo>
                  <a:cubicBezTo>
                    <a:pt x="59" y="190"/>
                    <a:pt x="47" y="211"/>
                    <a:pt x="37" y="233"/>
                  </a:cubicBezTo>
                  <a:lnTo>
                    <a:pt x="78" y="293"/>
                  </a:lnTo>
                  <a:cubicBezTo>
                    <a:pt x="74" y="306"/>
                    <a:pt x="70" y="318"/>
                    <a:pt x="67" y="332"/>
                  </a:cubicBezTo>
                  <a:lnTo>
                    <a:pt x="2" y="363"/>
                  </a:lnTo>
                  <a:cubicBezTo>
                    <a:pt x="0" y="388"/>
                    <a:pt x="0" y="412"/>
                    <a:pt x="2" y="436"/>
                  </a:cubicBezTo>
                  <a:lnTo>
                    <a:pt x="67" y="468"/>
                  </a:lnTo>
                  <a:cubicBezTo>
                    <a:pt x="70" y="481"/>
                    <a:pt x="74" y="494"/>
                    <a:pt x="78" y="506"/>
                  </a:cubicBezTo>
                  <a:lnTo>
                    <a:pt x="37" y="567"/>
                  </a:lnTo>
                  <a:cubicBezTo>
                    <a:pt x="47" y="589"/>
                    <a:pt x="59" y="610"/>
                    <a:pt x="73" y="630"/>
                  </a:cubicBezTo>
                  <a:lnTo>
                    <a:pt x="147" y="625"/>
                  </a:lnTo>
                  <a:cubicBezTo>
                    <a:pt x="155" y="634"/>
                    <a:pt x="165" y="644"/>
                    <a:pt x="174" y="652"/>
                  </a:cubicBezTo>
                  <a:lnTo>
                    <a:pt x="169" y="725"/>
                  </a:lnTo>
                  <a:cubicBezTo>
                    <a:pt x="189" y="740"/>
                    <a:pt x="210" y="752"/>
                    <a:pt x="232" y="762"/>
                  </a:cubicBezTo>
                  <a:lnTo>
                    <a:pt x="293" y="721"/>
                  </a:lnTo>
                  <a:cubicBezTo>
                    <a:pt x="305" y="725"/>
                    <a:pt x="318" y="729"/>
                    <a:pt x="331" y="731"/>
                  </a:cubicBezTo>
                  <a:lnTo>
                    <a:pt x="363" y="797"/>
                  </a:lnTo>
                  <a:cubicBezTo>
                    <a:pt x="387" y="799"/>
                    <a:pt x="411" y="799"/>
                    <a:pt x="436" y="797"/>
                  </a:cubicBezTo>
                  <a:lnTo>
                    <a:pt x="467" y="731"/>
                  </a:lnTo>
                  <a:cubicBezTo>
                    <a:pt x="481" y="729"/>
                    <a:pt x="493" y="725"/>
                    <a:pt x="506" y="721"/>
                  </a:cubicBezTo>
                  <a:lnTo>
                    <a:pt x="566" y="762"/>
                  </a:lnTo>
                  <a:cubicBezTo>
                    <a:pt x="588" y="752"/>
                    <a:pt x="609" y="740"/>
                    <a:pt x="629" y="725"/>
                  </a:cubicBezTo>
                  <a:lnTo>
                    <a:pt x="624" y="652"/>
                  </a:lnTo>
                  <a:cubicBezTo>
                    <a:pt x="634" y="644"/>
                    <a:pt x="643" y="634"/>
                    <a:pt x="652" y="625"/>
                  </a:cubicBezTo>
                  <a:lnTo>
                    <a:pt x="725" y="630"/>
                  </a:lnTo>
                  <a:cubicBezTo>
                    <a:pt x="739" y="610"/>
                    <a:pt x="751" y="589"/>
                    <a:pt x="762" y="567"/>
                  </a:cubicBezTo>
                  <a:lnTo>
                    <a:pt x="720" y="506"/>
                  </a:lnTo>
                  <a:cubicBezTo>
                    <a:pt x="725" y="494"/>
                    <a:pt x="728" y="481"/>
                    <a:pt x="731" y="468"/>
                  </a:cubicBezTo>
                  <a:lnTo>
                    <a:pt x="796" y="4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51" name="Customer_service" descr="{&quot;Key&quot;:&quot;POWER_USER_SHAPE_ICON&quot;,&quot;Value&quot;:&quot;POWER_USER_SHAPE_ICON_STYLE_1&quot;}">
            <a:extLst>
              <a:ext uri="{FF2B5EF4-FFF2-40B4-BE49-F238E27FC236}">
                <a16:creationId xmlns:a16="http://schemas.microsoft.com/office/drawing/2014/main" id="{B00014A2-1B5C-4B31-AAE7-02B905711C2D}"/>
              </a:ext>
            </a:extLst>
          </p:cNvPr>
          <p:cNvGrpSpPr>
            <a:grpSpLocks noChangeAspect="1"/>
          </p:cNvGrpSpPr>
          <p:nvPr>
            <p:custDataLst>
              <p:tags r:id="rId13"/>
            </p:custDataLst>
          </p:nvPr>
        </p:nvGrpSpPr>
        <p:grpSpPr>
          <a:xfrm>
            <a:off x="963562" y="4764728"/>
            <a:ext cx="437297" cy="542925"/>
            <a:chOff x="4962526" y="5921375"/>
            <a:chExt cx="657225" cy="815976"/>
          </a:xfrm>
          <a:solidFill>
            <a:schemeClr val="accent1">
              <a:lumMod val="75000"/>
            </a:schemeClr>
          </a:solidFill>
        </p:grpSpPr>
        <p:sp>
          <p:nvSpPr>
            <p:cNvPr id="152" name="Freeform 47">
              <a:extLst>
                <a:ext uri="{FF2B5EF4-FFF2-40B4-BE49-F238E27FC236}">
                  <a16:creationId xmlns:a16="http://schemas.microsoft.com/office/drawing/2014/main" id="{E131B4DF-CE1C-4C4C-ADA5-ACF06876BFDE}"/>
                </a:ext>
              </a:extLst>
            </p:cNvPr>
            <p:cNvSpPr>
              <a:spLocks/>
            </p:cNvSpPr>
            <p:nvPr/>
          </p:nvSpPr>
          <p:spPr bwMode="auto">
            <a:xfrm>
              <a:off x="5068888" y="6337300"/>
              <a:ext cx="444500" cy="76200"/>
            </a:xfrm>
            <a:custGeom>
              <a:avLst/>
              <a:gdLst>
                <a:gd name="T0" fmla="*/ 0 w 582"/>
                <a:gd name="T1" fmla="*/ 99 h 99"/>
                <a:gd name="T2" fmla="*/ 582 w 582"/>
                <a:gd name="T3" fmla="*/ 99 h 99"/>
                <a:gd name="T4" fmla="*/ 291 w 582"/>
                <a:gd name="T5" fmla="*/ 0 h 99"/>
                <a:gd name="T6" fmla="*/ 0 w 582"/>
                <a:gd name="T7" fmla="*/ 99 h 99"/>
              </a:gdLst>
              <a:ahLst/>
              <a:cxnLst>
                <a:cxn ang="0">
                  <a:pos x="T0" y="T1"/>
                </a:cxn>
                <a:cxn ang="0">
                  <a:pos x="T2" y="T3"/>
                </a:cxn>
                <a:cxn ang="0">
                  <a:pos x="T4" y="T5"/>
                </a:cxn>
                <a:cxn ang="0">
                  <a:pos x="T6" y="T7"/>
                </a:cxn>
              </a:cxnLst>
              <a:rect l="0" t="0" r="r" b="b"/>
              <a:pathLst>
                <a:path w="582" h="99">
                  <a:moveTo>
                    <a:pt x="0" y="99"/>
                  </a:moveTo>
                  <a:lnTo>
                    <a:pt x="582" y="99"/>
                  </a:lnTo>
                  <a:cubicBezTo>
                    <a:pt x="516" y="35"/>
                    <a:pt x="411" y="0"/>
                    <a:pt x="291" y="0"/>
                  </a:cubicBezTo>
                  <a:cubicBezTo>
                    <a:pt x="172" y="0"/>
                    <a:pt x="66" y="35"/>
                    <a:pt x="0" y="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48">
              <a:extLst>
                <a:ext uri="{FF2B5EF4-FFF2-40B4-BE49-F238E27FC236}">
                  <a16:creationId xmlns:a16="http://schemas.microsoft.com/office/drawing/2014/main" id="{967CBBE4-EF2C-4736-BFDB-8E9759076E6E}"/>
                </a:ext>
              </a:extLst>
            </p:cNvPr>
            <p:cNvSpPr>
              <a:spLocks/>
            </p:cNvSpPr>
            <p:nvPr/>
          </p:nvSpPr>
          <p:spPr bwMode="auto">
            <a:xfrm>
              <a:off x="4962526" y="6461125"/>
              <a:ext cx="657225" cy="276225"/>
            </a:xfrm>
            <a:custGeom>
              <a:avLst/>
              <a:gdLst>
                <a:gd name="T0" fmla="*/ 808 w 864"/>
                <a:gd name="T1" fmla="*/ 0 h 362"/>
                <a:gd name="T2" fmla="*/ 56 w 864"/>
                <a:gd name="T3" fmla="*/ 0 h 362"/>
                <a:gd name="T4" fmla="*/ 0 w 864"/>
                <a:gd name="T5" fmla="*/ 55 h 362"/>
                <a:gd name="T6" fmla="*/ 0 w 864"/>
                <a:gd name="T7" fmla="*/ 362 h 362"/>
                <a:gd name="T8" fmla="*/ 52 w 864"/>
                <a:gd name="T9" fmla="*/ 362 h 362"/>
                <a:gd name="T10" fmla="*/ 52 w 864"/>
                <a:gd name="T11" fmla="*/ 55 h 362"/>
                <a:gd name="T12" fmla="*/ 56 w 864"/>
                <a:gd name="T13" fmla="*/ 51 h 362"/>
                <a:gd name="T14" fmla="*/ 808 w 864"/>
                <a:gd name="T15" fmla="*/ 51 h 362"/>
                <a:gd name="T16" fmla="*/ 812 w 864"/>
                <a:gd name="T17" fmla="*/ 55 h 362"/>
                <a:gd name="T18" fmla="*/ 812 w 864"/>
                <a:gd name="T19" fmla="*/ 362 h 362"/>
                <a:gd name="T20" fmla="*/ 864 w 864"/>
                <a:gd name="T21" fmla="*/ 362 h 362"/>
                <a:gd name="T22" fmla="*/ 864 w 864"/>
                <a:gd name="T23" fmla="*/ 55 h 362"/>
                <a:gd name="T24" fmla="*/ 808 w 864"/>
                <a:gd name="T25"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62">
                  <a:moveTo>
                    <a:pt x="808" y="0"/>
                  </a:moveTo>
                  <a:lnTo>
                    <a:pt x="56" y="0"/>
                  </a:lnTo>
                  <a:cubicBezTo>
                    <a:pt x="25" y="0"/>
                    <a:pt x="0" y="25"/>
                    <a:pt x="0" y="55"/>
                  </a:cubicBezTo>
                  <a:lnTo>
                    <a:pt x="0" y="362"/>
                  </a:lnTo>
                  <a:lnTo>
                    <a:pt x="52" y="362"/>
                  </a:lnTo>
                  <a:lnTo>
                    <a:pt x="52" y="55"/>
                  </a:lnTo>
                  <a:cubicBezTo>
                    <a:pt x="52" y="53"/>
                    <a:pt x="54" y="51"/>
                    <a:pt x="56" y="51"/>
                  </a:cubicBezTo>
                  <a:lnTo>
                    <a:pt x="808" y="51"/>
                  </a:lnTo>
                  <a:cubicBezTo>
                    <a:pt x="811" y="51"/>
                    <a:pt x="812" y="53"/>
                    <a:pt x="812" y="55"/>
                  </a:cubicBezTo>
                  <a:lnTo>
                    <a:pt x="812" y="362"/>
                  </a:lnTo>
                  <a:lnTo>
                    <a:pt x="864" y="362"/>
                  </a:lnTo>
                  <a:lnTo>
                    <a:pt x="864" y="55"/>
                  </a:lnTo>
                  <a:cubicBezTo>
                    <a:pt x="864" y="25"/>
                    <a:pt x="839" y="0"/>
                    <a:pt x="80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49">
              <a:extLst>
                <a:ext uri="{FF2B5EF4-FFF2-40B4-BE49-F238E27FC236}">
                  <a16:creationId xmlns:a16="http://schemas.microsoft.com/office/drawing/2014/main" id="{7246C249-A2F5-456B-9223-B4E4E63E2AA8}"/>
                </a:ext>
              </a:extLst>
            </p:cNvPr>
            <p:cNvSpPr>
              <a:spLocks/>
            </p:cNvSpPr>
            <p:nvPr/>
          </p:nvSpPr>
          <p:spPr bwMode="auto">
            <a:xfrm>
              <a:off x="5232401" y="6678613"/>
              <a:ext cx="117475" cy="58738"/>
            </a:xfrm>
            <a:custGeom>
              <a:avLst/>
              <a:gdLst>
                <a:gd name="T0" fmla="*/ 77 w 154"/>
                <a:gd name="T1" fmla="*/ 0 h 77"/>
                <a:gd name="T2" fmla="*/ 0 w 154"/>
                <a:gd name="T3" fmla="*/ 77 h 77"/>
                <a:gd name="T4" fmla="*/ 154 w 154"/>
                <a:gd name="T5" fmla="*/ 77 h 77"/>
                <a:gd name="T6" fmla="*/ 77 w 154"/>
                <a:gd name="T7" fmla="*/ 0 h 77"/>
              </a:gdLst>
              <a:ahLst/>
              <a:cxnLst>
                <a:cxn ang="0">
                  <a:pos x="T0" y="T1"/>
                </a:cxn>
                <a:cxn ang="0">
                  <a:pos x="T2" y="T3"/>
                </a:cxn>
                <a:cxn ang="0">
                  <a:pos x="T4" y="T5"/>
                </a:cxn>
                <a:cxn ang="0">
                  <a:pos x="T6" y="T7"/>
                </a:cxn>
              </a:cxnLst>
              <a:rect l="0" t="0" r="r" b="b"/>
              <a:pathLst>
                <a:path w="154" h="77">
                  <a:moveTo>
                    <a:pt x="77" y="0"/>
                  </a:moveTo>
                  <a:cubicBezTo>
                    <a:pt x="34" y="0"/>
                    <a:pt x="0" y="35"/>
                    <a:pt x="0" y="77"/>
                  </a:cubicBezTo>
                  <a:lnTo>
                    <a:pt x="154" y="77"/>
                  </a:lnTo>
                  <a:cubicBezTo>
                    <a:pt x="154" y="35"/>
                    <a:pt x="120" y="0"/>
                    <a:pt x="77"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50">
              <a:extLst>
                <a:ext uri="{FF2B5EF4-FFF2-40B4-BE49-F238E27FC236}">
                  <a16:creationId xmlns:a16="http://schemas.microsoft.com/office/drawing/2014/main" id="{EFFE9504-0FFD-4DC0-9D97-85B19A9D3B93}"/>
                </a:ext>
              </a:extLst>
            </p:cNvPr>
            <p:cNvSpPr>
              <a:spLocks noEditPoints="1"/>
            </p:cNvSpPr>
            <p:nvPr/>
          </p:nvSpPr>
          <p:spPr bwMode="auto">
            <a:xfrm>
              <a:off x="5067301" y="5921375"/>
              <a:ext cx="447675" cy="382588"/>
            </a:xfrm>
            <a:custGeom>
              <a:avLst/>
              <a:gdLst>
                <a:gd name="T0" fmla="*/ 495 w 586"/>
                <a:gd name="T1" fmla="*/ 229 h 502"/>
                <a:gd name="T2" fmla="*/ 293 w 586"/>
                <a:gd name="T3" fmla="*/ 80 h 502"/>
                <a:gd name="T4" fmla="*/ 91 w 586"/>
                <a:gd name="T5" fmla="*/ 229 h 502"/>
                <a:gd name="T6" fmla="*/ 74 w 586"/>
                <a:gd name="T7" fmla="*/ 199 h 502"/>
                <a:gd name="T8" fmla="*/ 291 w 586"/>
                <a:gd name="T9" fmla="*/ 42 h 502"/>
                <a:gd name="T10" fmla="*/ 512 w 586"/>
                <a:gd name="T11" fmla="*/ 199 h 502"/>
                <a:gd name="T12" fmla="*/ 495 w 586"/>
                <a:gd name="T13" fmla="*/ 229 h 502"/>
                <a:gd name="T14" fmla="*/ 586 w 586"/>
                <a:gd name="T15" fmla="*/ 235 h 502"/>
                <a:gd name="T16" fmla="*/ 554 w 586"/>
                <a:gd name="T17" fmla="*/ 192 h 502"/>
                <a:gd name="T18" fmla="*/ 291 w 586"/>
                <a:gd name="T19" fmla="*/ 0 h 502"/>
                <a:gd name="T20" fmla="*/ 32 w 586"/>
                <a:gd name="T21" fmla="*/ 192 h 502"/>
                <a:gd name="T22" fmla="*/ 0 w 586"/>
                <a:gd name="T23" fmla="*/ 235 h 502"/>
                <a:gd name="T24" fmla="*/ 0 w 586"/>
                <a:gd name="T25" fmla="*/ 335 h 502"/>
                <a:gd name="T26" fmla="*/ 46 w 586"/>
                <a:gd name="T27" fmla="*/ 381 h 502"/>
                <a:gd name="T28" fmla="*/ 90 w 586"/>
                <a:gd name="T29" fmla="*/ 347 h 502"/>
                <a:gd name="T30" fmla="*/ 293 w 586"/>
                <a:gd name="T31" fmla="*/ 502 h 502"/>
                <a:gd name="T32" fmla="*/ 481 w 586"/>
                <a:gd name="T33" fmla="*/ 387 h 502"/>
                <a:gd name="T34" fmla="*/ 362 w 586"/>
                <a:gd name="T35" fmla="*/ 424 h 502"/>
                <a:gd name="T36" fmla="*/ 333 w 586"/>
                <a:gd name="T37" fmla="*/ 437 h 502"/>
                <a:gd name="T38" fmla="*/ 297 w 586"/>
                <a:gd name="T39" fmla="*/ 407 h 502"/>
                <a:gd name="T40" fmla="*/ 333 w 586"/>
                <a:gd name="T41" fmla="*/ 376 h 502"/>
                <a:gd name="T42" fmla="*/ 356 w 586"/>
                <a:gd name="T43" fmla="*/ 383 h 502"/>
                <a:gd name="T44" fmla="*/ 494 w 586"/>
                <a:gd name="T45" fmla="*/ 330 h 502"/>
                <a:gd name="T46" fmla="*/ 540 w 586"/>
                <a:gd name="T47" fmla="*/ 381 h 502"/>
                <a:gd name="T48" fmla="*/ 586 w 586"/>
                <a:gd name="T49" fmla="*/ 335 h 502"/>
                <a:gd name="T50" fmla="*/ 586 w 586"/>
                <a:gd name="T51" fmla="*/ 235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6" h="502">
                  <a:moveTo>
                    <a:pt x="495" y="229"/>
                  </a:moveTo>
                  <a:cubicBezTo>
                    <a:pt x="468" y="143"/>
                    <a:pt x="388" y="80"/>
                    <a:pt x="293" y="80"/>
                  </a:cubicBezTo>
                  <a:cubicBezTo>
                    <a:pt x="198" y="80"/>
                    <a:pt x="118" y="143"/>
                    <a:pt x="91" y="229"/>
                  </a:cubicBezTo>
                  <a:cubicBezTo>
                    <a:pt x="89" y="217"/>
                    <a:pt x="83" y="206"/>
                    <a:pt x="74" y="199"/>
                  </a:cubicBezTo>
                  <a:cubicBezTo>
                    <a:pt x="106" y="106"/>
                    <a:pt x="190" y="42"/>
                    <a:pt x="291" y="42"/>
                  </a:cubicBezTo>
                  <a:cubicBezTo>
                    <a:pt x="394" y="42"/>
                    <a:pt x="479" y="106"/>
                    <a:pt x="512" y="199"/>
                  </a:cubicBezTo>
                  <a:cubicBezTo>
                    <a:pt x="503" y="206"/>
                    <a:pt x="496" y="217"/>
                    <a:pt x="495" y="229"/>
                  </a:cubicBezTo>
                  <a:close/>
                  <a:moveTo>
                    <a:pt x="586" y="235"/>
                  </a:moveTo>
                  <a:cubicBezTo>
                    <a:pt x="586" y="215"/>
                    <a:pt x="572" y="198"/>
                    <a:pt x="554" y="192"/>
                  </a:cubicBezTo>
                  <a:cubicBezTo>
                    <a:pt x="517" y="79"/>
                    <a:pt x="415" y="0"/>
                    <a:pt x="291" y="0"/>
                  </a:cubicBezTo>
                  <a:cubicBezTo>
                    <a:pt x="169" y="0"/>
                    <a:pt x="68" y="79"/>
                    <a:pt x="32" y="192"/>
                  </a:cubicBezTo>
                  <a:cubicBezTo>
                    <a:pt x="13" y="198"/>
                    <a:pt x="0" y="215"/>
                    <a:pt x="0" y="235"/>
                  </a:cubicBezTo>
                  <a:lnTo>
                    <a:pt x="0" y="335"/>
                  </a:lnTo>
                  <a:cubicBezTo>
                    <a:pt x="0" y="360"/>
                    <a:pt x="21" y="381"/>
                    <a:pt x="46" y="381"/>
                  </a:cubicBezTo>
                  <a:cubicBezTo>
                    <a:pt x="67" y="381"/>
                    <a:pt x="84" y="367"/>
                    <a:pt x="90" y="347"/>
                  </a:cubicBezTo>
                  <a:cubicBezTo>
                    <a:pt x="114" y="437"/>
                    <a:pt x="196" y="502"/>
                    <a:pt x="293" y="502"/>
                  </a:cubicBezTo>
                  <a:cubicBezTo>
                    <a:pt x="375" y="502"/>
                    <a:pt x="446" y="455"/>
                    <a:pt x="481" y="387"/>
                  </a:cubicBezTo>
                  <a:cubicBezTo>
                    <a:pt x="436" y="410"/>
                    <a:pt x="389" y="420"/>
                    <a:pt x="362" y="424"/>
                  </a:cubicBezTo>
                  <a:cubicBezTo>
                    <a:pt x="356" y="432"/>
                    <a:pt x="345" y="437"/>
                    <a:pt x="333" y="437"/>
                  </a:cubicBezTo>
                  <a:cubicBezTo>
                    <a:pt x="313" y="437"/>
                    <a:pt x="297" y="424"/>
                    <a:pt x="297" y="407"/>
                  </a:cubicBezTo>
                  <a:cubicBezTo>
                    <a:pt x="297" y="390"/>
                    <a:pt x="313" y="376"/>
                    <a:pt x="333" y="376"/>
                  </a:cubicBezTo>
                  <a:cubicBezTo>
                    <a:pt x="341" y="376"/>
                    <a:pt x="349" y="378"/>
                    <a:pt x="356" y="383"/>
                  </a:cubicBezTo>
                  <a:cubicBezTo>
                    <a:pt x="386" y="378"/>
                    <a:pt x="446" y="365"/>
                    <a:pt x="494" y="330"/>
                  </a:cubicBezTo>
                  <a:cubicBezTo>
                    <a:pt x="494" y="362"/>
                    <a:pt x="515" y="381"/>
                    <a:pt x="540" y="381"/>
                  </a:cubicBezTo>
                  <a:cubicBezTo>
                    <a:pt x="565" y="381"/>
                    <a:pt x="586" y="360"/>
                    <a:pt x="586" y="335"/>
                  </a:cubicBezTo>
                  <a:lnTo>
                    <a:pt x="586" y="2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56" name="Oval 155">
            <a:extLst>
              <a:ext uri="{FF2B5EF4-FFF2-40B4-BE49-F238E27FC236}">
                <a16:creationId xmlns:a16="http://schemas.microsoft.com/office/drawing/2014/main" id="{ADEFB73C-3590-433B-BB93-1728E9B4E656}"/>
              </a:ext>
            </a:extLst>
          </p:cNvPr>
          <p:cNvSpPr>
            <a:spLocks noChangeAspect="1"/>
          </p:cNvSpPr>
          <p:nvPr/>
        </p:nvSpPr>
        <p:spPr>
          <a:xfrm>
            <a:off x="4833370" y="4655035"/>
            <a:ext cx="897255" cy="89725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57" name="Handshake2" descr="{&quot;Key&quot;:&quot;POWER_USER_SHAPE_ICON&quot;,&quot;Value&quot;:&quot;POWER_USER_SHAPE_ICON_STYLE_1&quot;}">
            <a:extLst>
              <a:ext uri="{FF2B5EF4-FFF2-40B4-BE49-F238E27FC236}">
                <a16:creationId xmlns:a16="http://schemas.microsoft.com/office/drawing/2014/main" id="{F86944F0-3822-4034-81C8-D9EF85F3B026}"/>
              </a:ext>
            </a:extLst>
          </p:cNvPr>
          <p:cNvGrpSpPr>
            <a:grpSpLocks noChangeAspect="1"/>
          </p:cNvGrpSpPr>
          <p:nvPr>
            <p:custDataLst>
              <p:tags r:id="rId14"/>
            </p:custDataLst>
          </p:nvPr>
        </p:nvGrpSpPr>
        <p:grpSpPr bwMode="auto">
          <a:xfrm>
            <a:off x="4857136" y="4872882"/>
            <a:ext cx="855437" cy="542925"/>
            <a:chOff x="73" y="153"/>
            <a:chExt cx="323" cy="205"/>
          </a:xfrm>
          <a:solidFill>
            <a:schemeClr val="bg2"/>
          </a:solidFill>
        </p:grpSpPr>
        <p:sp>
          <p:nvSpPr>
            <p:cNvPr id="158" name="Handshake2">
              <a:extLst>
                <a:ext uri="{FF2B5EF4-FFF2-40B4-BE49-F238E27FC236}">
                  <a16:creationId xmlns:a16="http://schemas.microsoft.com/office/drawing/2014/main" id="{10A226A0-A7F7-4D33-AC18-47D09E8FB4D8}"/>
                </a:ext>
              </a:extLst>
            </p:cNvPr>
            <p:cNvSpPr>
              <a:spLocks/>
            </p:cNvSpPr>
            <p:nvPr>
              <p:custDataLst>
                <p:tags r:id="rId23"/>
              </p:custDataLst>
            </p:nvPr>
          </p:nvSpPr>
          <p:spPr bwMode="auto">
            <a:xfrm>
              <a:off x="396" y="250"/>
              <a:ext cx="0" cy="1"/>
            </a:xfrm>
            <a:custGeom>
              <a:avLst/>
              <a:gdLst>
                <a:gd name="T0" fmla="*/ 0 h 2"/>
                <a:gd name="T1" fmla="*/ 1 h 2"/>
                <a:gd name="T2" fmla="*/ 2 h 2"/>
                <a:gd name="T3" fmla="*/ 0 h 2"/>
              </a:gdLst>
              <a:ahLst/>
              <a:cxnLst>
                <a:cxn ang="0">
                  <a:pos x="0" y="T0"/>
                </a:cxn>
                <a:cxn ang="0">
                  <a:pos x="0" y="T1"/>
                </a:cxn>
                <a:cxn ang="0">
                  <a:pos x="0" y="T2"/>
                </a:cxn>
                <a:cxn ang="0">
                  <a:pos x="0" y="T3"/>
                </a:cxn>
              </a:cxnLst>
              <a:rect l="0" t="0" r="r" b="b"/>
              <a:pathLst>
                <a:path h="2">
                  <a:moveTo>
                    <a:pt x="0" y="0"/>
                  </a:moveTo>
                  <a:cubicBezTo>
                    <a:pt x="0" y="1"/>
                    <a:pt x="0" y="1"/>
                    <a:pt x="0" y="1"/>
                  </a:cubicBezTo>
                  <a:lnTo>
                    <a:pt x="0" y="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Handshake2">
              <a:extLst>
                <a:ext uri="{FF2B5EF4-FFF2-40B4-BE49-F238E27FC236}">
                  <a16:creationId xmlns:a16="http://schemas.microsoft.com/office/drawing/2014/main" id="{E7BBE184-558D-4CC0-9CE7-9612820DD654}"/>
                </a:ext>
              </a:extLst>
            </p:cNvPr>
            <p:cNvSpPr>
              <a:spLocks/>
            </p:cNvSpPr>
            <p:nvPr>
              <p:custDataLst>
                <p:tags r:id="rId24"/>
              </p:custDataLst>
            </p:nvPr>
          </p:nvSpPr>
          <p:spPr bwMode="auto">
            <a:xfrm>
              <a:off x="368" y="154"/>
              <a:ext cx="0"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lnTo>
                    <a:pt x="1" y="0"/>
                  </a:lnTo>
                  <a:lnTo>
                    <a:pt x="0" y="0"/>
                  </a:lnTo>
                  <a:lnTo>
                    <a:pt x="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Handshake2">
              <a:extLst>
                <a:ext uri="{FF2B5EF4-FFF2-40B4-BE49-F238E27FC236}">
                  <a16:creationId xmlns:a16="http://schemas.microsoft.com/office/drawing/2014/main" id="{1D38F76D-58A4-4159-8457-F3899358A0CD}"/>
                </a:ext>
              </a:extLst>
            </p:cNvPr>
            <p:cNvSpPr>
              <a:spLocks/>
            </p:cNvSpPr>
            <p:nvPr>
              <p:custDataLst>
                <p:tags r:id="rId25"/>
              </p:custDataLst>
            </p:nvPr>
          </p:nvSpPr>
          <p:spPr bwMode="auto">
            <a:xfrm>
              <a:off x="335" y="263"/>
              <a:ext cx="19" cy="24"/>
            </a:xfrm>
            <a:custGeom>
              <a:avLst/>
              <a:gdLst>
                <a:gd name="T0" fmla="*/ 1 w 49"/>
                <a:gd name="T1" fmla="*/ 39 h 62"/>
                <a:gd name="T2" fmla="*/ 31 w 49"/>
                <a:gd name="T3" fmla="*/ 1 h 62"/>
                <a:gd name="T4" fmla="*/ 33 w 49"/>
                <a:gd name="T5" fmla="*/ 0 h 62"/>
                <a:gd name="T6" fmla="*/ 9 w 49"/>
                <a:gd name="T7" fmla="*/ 62 h 62"/>
                <a:gd name="T8" fmla="*/ 1 w 49"/>
                <a:gd name="T9" fmla="*/ 39 h 62"/>
              </a:gdLst>
              <a:ahLst/>
              <a:cxnLst>
                <a:cxn ang="0">
                  <a:pos x="T0" y="T1"/>
                </a:cxn>
                <a:cxn ang="0">
                  <a:pos x="T2" y="T3"/>
                </a:cxn>
                <a:cxn ang="0">
                  <a:pos x="T4" y="T5"/>
                </a:cxn>
                <a:cxn ang="0">
                  <a:pos x="T6" y="T7"/>
                </a:cxn>
                <a:cxn ang="0">
                  <a:pos x="T8" y="T9"/>
                </a:cxn>
              </a:cxnLst>
              <a:rect l="0" t="0" r="r" b="b"/>
              <a:pathLst>
                <a:path w="49" h="62">
                  <a:moveTo>
                    <a:pt x="1" y="39"/>
                  </a:moveTo>
                  <a:cubicBezTo>
                    <a:pt x="0" y="22"/>
                    <a:pt x="14" y="10"/>
                    <a:pt x="31" y="1"/>
                  </a:cubicBezTo>
                  <a:cubicBezTo>
                    <a:pt x="32" y="1"/>
                    <a:pt x="33" y="0"/>
                    <a:pt x="33" y="0"/>
                  </a:cubicBezTo>
                  <a:cubicBezTo>
                    <a:pt x="49" y="22"/>
                    <a:pt x="36" y="55"/>
                    <a:pt x="9" y="62"/>
                  </a:cubicBezTo>
                  <a:cubicBezTo>
                    <a:pt x="9" y="62"/>
                    <a:pt x="2" y="45"/>
                    <a:pt x="1" y="3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Handshake2">
              <a:extLst>
                <a:ext uri="{FF2B5EF4-FFF2-40B4-BE49-F238E27FC236}">
                  <a16:creationId xmlns:a16="http://schemas.microsoft.com/office/drawing/2014/main" id="{2522C228-6447-4EC6-A322-DAFB0DAD2957}"/>
                </a:ext>
              </a:extLst>
            </p:cNvPr>
            <p:cNvSpPr>
              <a:spLocks/>
            </p:cNvSpPr>
            <p:nvPr>
              <p:custDataLst>
                <p:tags r:id="rId26"/>
              </p:custDataLst>
            </p:nvPr>
          </p:nvSpPr>
          <p:spPr bwMode="auto">
            <a:xfrm>
              <a:off x="303" y="265"/>
              <a:ext cx="32" cy="48"/>
            </a:xfrm>
            <a:custGeom>
              <a:avLst/>
              <a:gdLst>
                <a:gd name="T0" fmla="*/ 42 w 87"/>
                <a:gd name="T1" fmla="*/ 117 h 127"/>
                <a:gd name="T2" fmla="*/ 1 w 87"/>
                <a:gd name="T3" fmla="*/ 54 h 127"/>
                <a:gd name="T4" fmla="*/ 12 w 87"/>
                <a:gd name="T5" fmla="*/ 26 h 127"/>
                <a:gd name="T6" fmla="*/ 69 w 87"/>
                <a:gd name="T7" fmla="*/ 44 h 127"/>
                <a:gd name="T8" fmla="*/ 87 w 87"/>
                <a:gd name="T9" fmla="*/ 88 h 127"/>
                <a:gd name="T10" fmla="*/ 42 w 87"/>
                <a:gd name="T11" fmla="*/ 117 h 127"/>
              </a:gdLst>
              <a:ahLst/>
              <a:cxnLst>
                <a:cxn ang="0">
                  <a:pos x="T0" y="T1"/>
                </a:cxn>
                <a:cxn ang="0">
                  <a:pos x="T2" y="T3"/>
                </a:cxn>
                <a:cxn ang="0">
                  <a:pos x="T4" y="T5"/>
                </a:cxn>
                <a:cxn ang="0">
                  <a:pos x="T6" y="T7"/>
                </a:cxn>
                <a:cxn ang="0">
                  <a:pos x="T8" y="T9"/>
                </a:cxn>
                <a:cxn ang="0">
                  <a:pos x="T10" y="T11"/>
                </a:cxn>
              </a:cxnLst>
              <a:rect l="0" t="0" r="r" b="b"/>
              <a:pathLst>
                <a:path w="87" h="127">
                  <a:moveTo>
                    <a:pt x="42" y="117"/>
                  </a:moveTo>
                  <a:cubicBezTo>
                    <a:pt x="25" y="109"/>
                    <a:pt x="3" y="74"/>
                    <a:pt x="1" y="54"/>
                  </a:cubicBezTo>
                  <a:cubicBezTo>
                    <a:pt x="0" y="46"/>
                    <a:pt x="2" y="33"/>
                    <a:pt x="12" y="26"/>
                  </a:cubicBezTo>
                  <a:cubicBezTo>
                    <a:pt x="45" y="0"/>
                    <a:pt x="62" y="30"/>
                    <a:pt x="69" y="44"/>
                  </a:cubicBezTo>
                  <a:cubicBezTo>
                    <a:pt x="69" y="44"/>
                    <a:pt x="87" y="76"/>
                    <a:pt x="87" y="88"/>
                  </a:cubicBezTo>
                  <a:cubicBezTo>
                    <a:pt x="87" y="106"/>
                    <a:pt x="60" y="127"/>
                    <a:pt x="42" y="1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Handshake2">
              <a:extLst>
                <a:ext uri="{FF2B5EF4-FFF2-40B4-BE49-F238E27FC236}">
                  <a16:creationId xmlns:a16="http://schemas.microsoft.com/office/drawing/2014/main" id="{BF94732B-D437-4B2F-AAC2-C1391FDCD17B}"/>
                </a:ext>
              </a:extLst>
            </p:cNvPr>
            <p:cNvSpPr>
              <a:spLocks/>
            </p:cNvSpPr>
            <p:nvPr>
              <p:custDataLst>
                <p:tags r:id="rId27"/>
              </p:custDataLst>
            </p:nvPr>
          </p:nvSpPr>
          <p:spPr bwMode="auto">
            <a:xfrm>
              <a:off x="292" y="278"/>
              <a:ext cx="2" cy="4"/>
            </a:xfrm>
            <a:custGeom>
              <a:avLst/>
              <a:gdLst>
                <a:gd name="T0" fmla="*/ 4 w 4"/>
                <a:gd name="T1" fmla="*/ 0 h 12"/>
                <a:gd name="T2" fmla="*/ 0 w 4"/>
                <a:gd name="T3" fmla="*/ 12 h 12"/>
                <a:gd name="T4" fmla="*/ 4 w 4"/>
                <a:gd name="T5" fmla="*/ 0 h 12"/>
              </a:gdLst>
              <a:ahLst/>
              <a:cxnLst>
                <a:cxn ang="0">
                  <a:pos x="T0" y="T1"/>
                </a:cxn>
                <a:cxn ang="0">
                  <a:pos x="T2" y="T3"/>
                </a:cxn>
                <a:cxn ang="0">
                  <a:pos x="T4" y="T5"/>
                </a:cxn>
              </a:cxnLst>
              <a:rect l="0" t="0" r="r" b="b"/>
              <a:pathLst>
                <a:path w="4" h="12">
                  <a:moveTo>
                    <a:pt x="4" y="0"/>
                  </a:moveTo>
                  <a:cubicBezTo>
                    <a:pt x="2" y="5"/>
                    <a:pt x="2" y="9"/>
                    <a:pt x="0" y="12"/>
                  </a:cubicBezTo>
                  <a:cubicBezTo>
                    <a:pt x="0" y="8"/>
                    <a:pt x="2" y="5"/>
                    <a:pt x="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Handshake2">
              <a:extLst>
                <a:ext uri="{FF2B5EF4-FFF2-40B4-BE49-F238E27FC236}">
                  <a16:creationId xmlns:a16="http://schemas.microsoft.com/office/drawing/2014/main" id="{814ADCD5-2C7B-4A56-AC61-CA2A97242EF4}"/>
                </a:ext>
              </a:extLst>
            </p:cNvPr>
            <p:cNvSpPr>
              <a:spLocks/>
            </p:cNvSpPr>
            <p:nvPr>
              <p:custDataLst>
                <p:tags r:id="rId28"/>
              </p:custDataLst>
            </p:nvPr>
          </p:nvSpPr>
          <p:spPr bwMode="auto">
            <a:xfrm>
              <a:off x="288" y="282"/>
              <a:ext cx="4" cy="1"/>
            </a:xfrm>
            <a:custGeom>
              <a:avLst/>
              <a:gdLst>
                <a:gd name="T0" fmla="*/ 11 w 11"/>
                <a:gd name="T1" fmla="*/ 2 h 2"/>
                <a:gd name="T2" fmla="*/ 0 w 11"/>
                <a:gd name="T3" fmla="*/ 0 h 2"/>
                <a:gd name="T4" fmla="*/ 11 w 11"/>
                <a:gd name="T5" fmla="*/ 2 h 2"/>
              </a:gdLst>
              <a:ahLst/>
              <a:cxnLst>
                <a:cxn ang="0">
                  <a:pos x="T0" y="T1"/>
                </a:cxn>
                <a:cxn ang="0">
                  <a:pos x="T2" y="T3"/>
                </a:cxn>
                <a:cxn ang="0">
                  <a:pos x="T4" y="T5"/>
                </a:cxn>
              </a:cxnLst>
              <a:rect l="0" t="0" r="r" b="b"/>
              <a:pathLst>
                <a:path w="11" h="2">
                  <a:moveTo>
                    <a:pt x="11" y="2"/>
                  </a:moveTo>
                  <a:cubicBezTo>
                    <a:pt x="8" y="2"/>
                    <a:pt x="5" y="1"/>
                    <a:pt x="0" y="0"/>
                  </a:cubicBezTo>
                  <a:cubicBezTo>
                    <a:pt x="6" y="0"/>
                    <a:pt x="10" y="1"/>
                    <a:pt x="11"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Handshake2">
              <a:extLst>
                <a:ext uri="{FF2B5EF4-FFF2-40B4-BE49-F238E27FC236}">
                  <a16:creationId xmlns:a16="http://schemas.microsoft.com/office/drawing/2014/main" id="{0D087637-13BB-4AA1-A3B4-012855CE8605}"/>
                </a:ext>
              </a:extLst>
            </p:cNvPr>
            <p:cNvSpPr>
              <a:spLocks/>
            </p:cNvSpPr>
            <p:nvPr>
              <p:custDataLst>
                <p:tags r:id="rId29"/>
              </p:custDataLst>
            </p:nvPr>
          </p:nvSpPr>
          <p:spPr bwMode="auto">
            <a:xfrm>
              <a:off x="73" y="153"/>
              <a:ext cx="223" cy="139"/>
            </a:xfrm>
            <a:custGeom>
              <a:avLst/>
              <a:gdLst>
                <a:gd name="T0" fmla="*/ 578 w 595"/>
                <a:gd name="T1" fmla="*/ 145 h 371"/>
                <a:gd name="T2" fmla="*/ 404 w 595"/>
                <a:gd name="T3" fmla="*/ 96 h 371"/>
                <a:gd name="T4" fmla="*/ 201 w 595"/>
                <a:gd name="T5" fmla="*/ 264 h 371"/>
                <a:gd name="T6" fmla="*/ 123 w 595"/>
                <a:gd name="T7" fmla="*/ 365 h 371"/>
                <a:gd name="T8" fmla="*/ 42 w 595"/>
                <a:gd name="T9" fmla="*/ 353 h 371"/>
                <a:gd name="T10" fmla="*/ 0 w 595"/>
                <a:gd name="T11" fmla="*/ 342 h 371"/>
                <a:gd name="T12" fmla="*/ 23 w 595"/>
                <a:gd name="T13" fmla="*/ 279 h 371"/>
                <a:gd name="T14" fmla="*/ 104 w 595"/>
                <a:gd name="T15" fmla="*/ 76 h 371"/>
                <a:gd name="T16" fmla="*/ 125 w 595"/>
                <a:gd name="T17" fmla="*/ 86 h 371"/>
                <a:gd name="T18" fmla="*/ 290 w 595"/>
                <a:gd name="T19" fmla="*/ 86 h 371"/>
                <a:gd name="T20" fmla="*/ 416 w 595"/>
                <a:gd name="T21" fmla="*/ 6 h 371"/>
                <a:gd name="T22" fmla="*/ 578 w 595"/>
                <a:gd name="T23" fmla="*/ 14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5" h="371">
                  <a:moveTo>
                    <a:pt x="578" y="145"/>
                  </a:moveTo>
                  <a:cubicBezTo>
                    <a:pt x="553" y="208"/>
                    <a:pt x="434" y="81"/>
                    <a:pt x="404" y="96"/>
                  </a:cubicBezTo>
                  <a:cubicBezTo>
                    <a:pt x="382" y="106"/>
                    <a:pt x="218" y="250"/>
                    <a:pt x="201" y="264"/>
                  </a:cubicBezTo>
                  <a:cubicBezTo>
                    <a:pt x="116" y="336"/>
                    <a:pt x="128" y="363"/>
                    <a:pt x="123" y="365"/>
                  </a:cubicBezTo>
                  <a:cubicBezTo>
                    <a:pt x="124" y="364"/>
                    <a:pt x="101" y="371"/>
                    <a:pt x="42" y="353"/>
                  </a:cubicBezTo>
                  <a:cubicBezTo>
                    <a:pt x="27" y="348"/>
                    <a:pt x="13" y="344"/>
                    <a:pt x="0" y="342"/>
                  </a:cubicBezTo>
                  <a:cubicBezTo>
                    <a:pt x="7" y="321"/>
                    <a:pt x="14" y="300"/>
                    <a:pt x="23" y="279"/>
                  </a:cubicBezTo>
                  <a:cubicBezTo>
                    <a:pt x="49" y="216"/>
                    <a:pt x="75" y="142"/>
                    <a:pt x="104" y="76"/>
                  </a:cubicBezTo>
                  <a:cubicBezTo>
                    <a:pt x="111" y="79"/>
                    <a:pt x="118" y="83"/>
                    <a:pt x="125" y="86"/>
                  </a:cubicBezTo>
                  <a:cubicBezTo>
                    <a:pt x="177" y="111"/>
                    <a:pt x="241" y="143"/>
                    <a:pt x="290" y="86"/>
                  </a:cubicBezTo>
                  <a:cubicBezTo>
                    <a:pt x="318" y="54"/>
                    <a:pt x="371" y="11"/>
                    <a:pt x="416" y="6"/>
                  </a:cubicBezTo>
                  <a:cubicBezTo>
                    <a:pt x="454" y="0"/>
                    <a:pt x="595" y="120"/>
                    <a:pt x="578"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Handshake2">
              <a:extLst>
                <a:ext uri="{FF2B5EF4-FFF2-40B4-BE49-F238E27FC236}">
                  <a16:creationId xmlns:a16="http://schemas.microsoft.com/office/drawing/2014/main" id="{158081A4-6AC6-4CA7-A7B6-B79CE3E736E6}"/>
                </a:ext>
              </a:extLst>
            </p:cNvPr>
            <p:cNvSpPr>
              <a:spLocks/>
            </p:cNvSpPr>
            <p:nvPr>
              <p:custDataLst>
                <p:tags r:id="rId30"/>
              </p:custDataLst>
            </p:nvPr>
          </p:nvSpPr>
          <p:spPr bwMode="auto">
            <a:xfrm>
              <a:off x="275" y="290"/>
              <a:ext cx="38" cy="42"/>
            </a:xfrm>
            <a:custGeom>
              <a:avLst/>
              <a:gdLst>
                <a:gd name="T0" fmla="*/ 13 w 102"/>
                <a:gd name="T1" fmla="*/ 12 h 112"/>
                <a:gd name="T2" fmla="*/ 49 w 102"/>
                <a:gd name="T3" fmla="*/ 5 h 112"/>
                <a:gd name="T4" fmla="*/ 96 w 102"/>
                <a:gd name="T5" fmla="*/ 59 h 112"/>
                <a:gd name="T6" fmla="*/ 45 w 102"/>
                <a:gd name="T7" fmla="*/ 101 h 112"/>
                <a:gd name="T8" fmla="*/ 6 w 102"/>
                <a:gd name="T9" fmla="*/ 61 h 112"/>
                <a:gd name="T10" fmla="*/ 13 w 102"/>
                <a:gd name="T11" fmla="*/ 12 h 112"/>
              </a:gdLst>
              <a:ahLst/>
              <a:cxnLst>
                <a:cxn ang="0">
                  <a:pos x="T0" y="T1"/>
                </a:cxn>
                <a:cxn ang="0">
                  <a:pos x="T2" y="T3"/>
                </a:cxn>
                <a:cxn ang="0">
                  <a:pos x="T4" y="T5"/>
                </a:cxn>
                <a:cxn ang="0">
                  <a:pos x="T6" y="T7"/>
                </a:cxn>
                <a:cxn ang="0">
                  <a:pos x="T8" y="T9"/>
                </a:cxn>
                <a:cxn ang="0">
                  <a:pos x="T10" y="T11"/>
                </a:cxn>
              </a:cxnLst>
              <a:rect l="0" t="0" r="r" b="b"/>
              <a:pathLst>
                <a:path w="102" h="112">
                  <a:moveTo>
                    <a:pt x="13" y="12"/>
                  </a:moveTo>
                  <a:cubicBezTo>
                    <a:pt x="27" y="0"/>
                    <a:pt x="41" y="1"/>
                    <a:pt x="49" y="5"/>
                  </a:cubicBezTo>
                  <a:cubicBezTo>
                    <a:pt x="74" y="15"/>
                    <a:pt x="96" y="59"/>
                    <a:pt x="96" y="59"/>
                  </a:cubicBezTo>
                  <a:cubicBezTo>
                    <a:pt x="102" y="89"/>
                    <a:pt x="72" y="112"/>
                    <a:pt x="45" y="101"/>
                  </a:cubicBezTo>
                  <a:cubicBezTo>
                    <a:pt x="32" y="95"/>
                    <a:pt x="12" y="73"/>
                    <a:pt x="6" y="61"/>
                  </a:cubicBezTo>
                  <a:cubicBezTo>
                    <a:pt x="1" y="50"/>
                    <a:pt x="0" y="22"/>
                    <a:pt x="13"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Handshake2">
              <a:extLst>
                <a:ext uri="{FF2B5EF4-FFF2-40B4-BE49-F238E27FC236}">
                  <a16:creationId xmlns:a16="http://schemas.microsoft.com/office/drawing/2014/main" id="{7DEAE444-B36F-4CAD-B9AB-59CB0F095FE0}"/>
                </a:ext>
              </a:extLst>
            </p:cNvPr>
            <p:cNvSpPr>
              <a:spLocks/>
            </p:cNvSpPr>
            <p:nvPr>
              <p:custDataLst>
                <p:tags r:id="rId31"/>
              </p:custDataLst>
            </p:nvPr>
          </p:nvSpPr>
          <p:spPr bwMode="auto">
            <a:xfrm>
              <a:off x="257" y="316"/>
              <a:ext cx="34" cy="37"/>
            </a:xfrm>
            <a:custGeom>
              <a:avLst/>
              <a:gdLst>
                <a:gd name="T0" fmla="*/ 81 w 90"/>
                <a:gd name="T1" fmla="*/ 51 h 99"/>
                <a:gd name="T2" fmla="*/ 17 w 90"/>
                <a:gd name="T3" fmla="*/ 84 h 99"/>
                <a:gd name="T4" fmla="*/ 17 w 90"/>
                <a:gd name="T5" fmla="*/ 84 h 99"/>
                <a:gd name="T6" fmla="*/ 15 w 90"/>
                <a:gd name="T7" fmla="*/ 81 h 99"/>
                <a:gd name="T8" fmla="*/ 6 w 90"/>
                <a:gd name="T9" fmla="*/ 61 h 99"/>
                <a:gd name="T10" fmla="*/ 21 w 90"/>
                <a:gd name="T11" fmla="*/ 19 h 99"/>
                <a:gd name="T12" fmla="*/ 81 w 90"/>
                <a:gd name="T13" fmla="*/ 51 h 99"/>
              </a:gdLst>
              <a:ahLst/>
              <a:cxnLst>
                <a:cxn ang="0">
                  <a:pos x="T0" y="T1"/>
                </a:cxn>
                <a:cxn ang="0">
                  <a:pos x="T2" y="T3"/>
                </a:cxn>
                <a:cxn ang="0">
                  <a:pos x="T4" y="T5"/>
                </a:cxn>
                <a:cxn ang="0">
                  <a:pos x="T6" y="T7"/>
                </a:cxn>
                <a:cxn ang="0">
                  <a:pos x="T8" y="T9"/>
                </a:cxn>
                <a:cxn ang="0">
                  <a:pos x="T10" y="T11"/>
                </a:cxn>
                <a:cxn ang="0">
                  <a:pos x="T12" y="T13"/>
                </a:cxn>
              </a:cxnLst>
              <a:rect l="0" t="0" r="r" b="b"/>
              <a:pathLst>
                <a:path w="90" h="99">
                  <a:moveTo>
                    <a:pt x="81" y="51"/>
                  </a:moveTo>
                  <a:cubicBezTo>
                    <a:pt x="90" y="75"/>
                    <a:pt x="54" y="99"/>
                    <a:pt x="17" y="84"/>
                  </a:cubicBezTo>
                  <a:cubicBezTo>
                    <a:pt x="17" y="84"/>
                    <a:pt x="17" y="84"/>
                    <a:pt x="17" y="84"/>
                  </a:cubicBezTo>
                  <a:cubicBezTo>
                    <a:pt x="16" y="84"/>
                    <a:pt x="16" y="82"/>
                    <a:pt x="15" y="81"/>
                  </a:cubicBezTo>
                  <a:cubicBezTo>
                    <a:pt x="13" y="76"/>
                    <a:pt x="6" y="67"/>
                    <a:pt x="6" y="61"/>
                  </a:cubicBezTo>
                  <a:cubicBezTo>
                    <a:pt x="0" y="43"/>
                    <a:pt x="12" y="28"/>
                    <a:pt x="21" y="19"/>
                  </a:cubicBezTo>
                  <a:cubicBezTo>
                    <a:pt x="37" y="0"/>
                    <a:pt x="76" y="36"/>
                    <a:pt x="81" y="5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Handshake2">
              <a:extLst>
                <a:ext uri="{FF2B5EF4-FFF2-40B4-BE49-F238E27FC236}">
                  <a16:creationId xmlns:a16="http://schemas.microsoft.com/office/drawing/2014/main" id="{95DBCAC0-7F3F-4107-A6C0-0973B5863AB3}"/>
                </a:ext>
              </a:extLst>
            </p:cNvPr>
            <p:cNvSpPr>
              <a:spLocks/>
            </p:cNvSpPr>
            <p:nvPr>
              <p:custDataLst>
                <p:tags r:id="rId32"/>
              </p:custDataLst>
            </p:nvPr>
          </p:nvSpPr>
          <p:spPr bwMode="auto">
            <a:xfrm>
              <a:off x="118" y="158"/>
              <a:ext cx="274" cy="200"/>
            </a:xfrm>
            <a:custGeom>
              <a:avLst/>
              <a:gdLst>
                <a:gd name="T0" fmla="*/ 372 w 731"/>
                <a:gd name="T1" fmla="*/ 421 h 531"/>
                <a:gd name="T2" fmla="*/ 357 w 731"/>
                <a:gd name="T3" fmla="*/ 463 h 531"/>
                <a:gd name="T4" fmla="*/ 361 w 731"/>
                <a:gd name="T5" fmla="*/ 485 h 531"/>
                <a:gd name="T6" fmla="*/ 288 w 731"/>
                <a:gd name="T7" fmla="*/ 467 h 531"/>
                <a:gd name="T8" fmla="*/ 386 w 731"/>
                <a:gd name="T9" fmla="*/ 339 h 531"/>
                <a:gd name="T10" fmla="*/ 268 w 731"/>
                <a:gd name="T11" fmla="*/ 451 h 531"/>
                <a:gd name="T12" fmla="*/ 205 w 731"/>
                <a:gd name="T13" fmla="*/ 457 h 531"/>
                <a:gd name="T14" fmla="*/ 195 w 731"/>
                <a:gd name="T15" fmla="*/ 436 h 531"/>
                <a:gd name="T16" fmla="*/ 342 w 731"/>
                <a:gd name="T17" fmla="*/ 290 h 531"/>
                <a:gd name="T18" fmla="*/ 181 w 731"/>
                <a:gd name="T19" fmla="*/ 420 h 531"/>
                <a:gd name="T20" fmla="*/ 155 w 731"/>
                <a:gd name="T21" fmla="*/ 424 h 531"/>
                <a:gd name="T22" fmla="*/ 127 w 731"/>
                <a:gd name="T23" fmla="*/ 415 h 531"/>
                <a:gd name="T24" fmla="*/ 124 w 731"/>
                <a:gd name="T25" fmla="*/ 376 h 531"/>
                <a:gd name="T26" fmla="*/ 271 w 731"/>
                <a:gd name="T27" fmla="*/ 237 h 531"/>
                <a:gd name="T28" fmla="*/ 192 w 731"/>
                <a:gd name="T29" fmla="*/ 303 h 531"/>
                <a:gd name="T30" fmla="*/ 78 w 731"/>
                <a:gd name="T31" fmla="*/ 376 h 531"/>
                <a:gd name="T32" fmla="*/ 43 w 731"/>
                <a:gd name="T33" fmla="*/ 369 h 531"/>
                <a:gd name="T34" fmla="*/ 35 w 731"/>
                <a:gd name="T35" fmla="*/ 359 h 531"/>
                <a:gd name="T36" fmla="*/ 291 w 731"/>
                <a:gd name="T37" fmla="*/ 104 h 531"/>
                <a:gd name="T38" fmla="*/ 432 w 731"/>
                <a:gd name="T39" fmla="*/ 172 h 531"/>
                <a:gd name="T40" fmla="*/ 490 w 731"/>
                <a:gd name="T41" fmla="*/ 130 h 531"/>
                <a:gd name="T42" fmla="*/ 384 w 731"/>
                <a:gd name="T43" fmla="*/ 9 h 531"/>
                <a:gd name="T44" fmla="*/ 500 w 731"/>
                <a:gd name="T45" fmla="*/ 18 h 531"/>
                <a:gd name="T46" fmla="*/ 573 w 731"/>
                <a:gd name="T47" fmla="*/ 21 h 531"/>
                <a:gd name="T48" fmla="*/ 665 w 731"/>
                <a:gd name="T49" fmla="*/ 0 h 531"/>
                <a:gd name="T50" fmla="*/ 725 w 731"/>
                <a:gd name="T51" fmla="*/ 238 h 531"/>
                <a:gd name="T52" fmla="*/ 597 w 731"/>
                <a:gd name="T53" fmla="*/ 255 h 531"/>
                <a:gd name="T54" fmla="*/ 560 w 731"/>
                <a:gd name="T55" fmla="*/ 293 h 531"/>
                <a:gd name="T56" fmla="*/ 487 w 731"/>
                <a:gd name="T57" fmla="*/ 285 h 531"/>
                <a:gd name="T58" fmla="*/ 471 w 731"/>
                <a:gd name="T59" fmla="*/ 320 h 531"/>
                <a:gd name="T60" fmla="*/ 468 w 731"/>
                <a:gd name="T61" fmla="*/ 332 h 531"/>
                <a:gd name="T62" fmla="*/ 468 w 731"/>
                <a:gd name="T63" fmla="*/ 332 h 531"/>
                <a:gd name="T64" fmla="*/ 468 w 731"/>
                <a:gd name="T65" fmla="*/ 333 h 531"/>
                <a:gd name="T66" fmla="*/ 457 w 731"/>
                <a:gd name="T67" fmla="*/ 331 h 531"/>
                <a:gd name="T68" fmla="*/ 457 w 731"/>
                <a:gd name="T69" fmla="*/ 331 h 531"/>
                <a:gd name="T70" fmla="*/ 456 w 731"/>
                <a:gd name="T71" fmla="*/ 331 h 531"/>
                <a:gd name="T72" fmla="*/ 415 w 731"/>
                <a:gd name="T73" fmla="*/ 338 h 531"/>
                <a:gd name="T74" fmla="*/ 405 w 731"/>
                <a:gd name="T75" fmla="*/ 391 h 531"/>
                <a:gd name="T76" fmla="*/ 408 w 731"/>
                <a:gd name="T77" fmla="*/ 409 h 531"/>
                <a:gd name="T78" fmla="*/ 372 w 731"/>
                <a:gd name="T79" fmla="*/ 421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1" h="531">
                  <a:moveTo>
                    <a:pt x="372" y="421"/>
                  </a:moveTo>
                  <a:cubicBezTo>
                    <a:pt x="356" y="436"/>
                    <a:pt x="356" y="445"/>
                    <a:pt x="357" y="463"/>
                  </a:cubicBezTo>
                  <a:cubicBezTo>
                    <a:pt x="357" y="467"/>
                    <a:pt x="360" y="481"/>
                    <a:pt x="361" y="485"/>
                  </a:cubicBezTo>
                  <a:cubicBezTo>
                    <a:pt x="285" y="531"/>
                    <a:pt x="286" y="468"/>
                    <a:pt x="288" y="467"/>
                  </a:cubicBezTo>
                  <a:cubicBezTo>
                    <a:pt x="373" y="386"/>
                    <a:pt x="386" y="339"/>
                    <a:pt x="386" y="339"/>
                  </a:cubicBezTo>
                  <a:cubicBezTo>
                    <a:pt x="380" y="342"/>
                    <a:pt x="302" y="434"/>
                    <a:pt x="268" y="451"/>
                  </a:cubicBezTo>
                  <a:cubicBezTo>
                    <a:pt x="234" y="468"/>
                    <a:pt x="218" y="464"/>
                    <a:pt x="205" y="457"/>
                  </a:cubicBezTo>
                  <a:cubicBezTo>
                    <a:pt x="200" y="453"/>
                    <a:pt x="196" y="446"/>
                    <a:pt x="195" y="436"/>
                  </a:cubicBezTo>
                  <a:cubicBezTo>
                    <a:pt x="251" y="417"/>
                    <a:pt x="340" y="307"/>
                    <a:pt x="342" y="290"/>
                  </a:cubicBezTo>
                  <a:cubicBezTo>
                    <a:pt x="342" y="290"/>
                    <a:pt x="235" y="406"/>
                    <a:pt x="181" y="420"/>
                  </a:cubicBezTo>
                  <a:cubicBezTo>
                    <a:pt x="171" y="423"/>
                    <a:pt x="163" y="424"/>
                    <a:pt x="155" y="424"/>
                  </a:cubicBezTo>
                  <a:cubicBezTo>
                    <a:pt x="142" y="424"/>
                    <a:pt x="132" y="421"/>
                    <a:pt x="127" y="415"/>
                  </a:cubicBezTo>
                  <a:cubicBezTo>
                    <a:pt x="121" y="408"/>
                    <a:pt x="120" y="395"/>
                    <a:pt x="124" y="376"/>
                  </a:cubicBezTo>
                  <a:cubicBezTo>
                    <a:pt x="197" y="332"/>
                    <a:pt x="280" y="244"/>
                    <a:pt x="271" y="237"/>
                  </a:cubicBezTo>
                  <a:lnTo>
                    <a:pt x="192" y="303"/>
                  </a:lnTo>
                  <a:cubicBezTo>
                    <a:pt x="155" y="331"/>
                    <a:pt x="80" y="379"/>
                    <a:pt x="78" y="376"/>
                  </a:cubicBezTo>
                  <a:cubicBezTo>
                    <a:pt x="66" y="381"/>
                    <a:pt x="57" y="378"/>
                    <a:pt x="43" y="369"/>
                  </a:cubicBezTo>
                  <a:cubicBezTo>
                    <a:pt x="39" y="366"/>
                    <a:pt x="36" y="363"/>
                    <a:pt x="35" y="359"/>
                  </a:cubicBezTo>
                  <a:cubicBezTo>
                    <a:pt x="0" y="322"/>
                    <a:pt x="136" y="251"/>
                    <a:pt x="291" y="104"/>
                  </a:cubicBezTo>
                  <a:cubicBezTo>
                    <a:pt x="316" y="113"/>
                    <a:pt x="380" y="174"/>
                    <a:pt x="432" y="172"/>
                  </a:cubicBezTo>
                  <a:cubicBezTo>
                    <a:pt x="454" y="172"/>
                    <a:pt x="490" y="151"/>
                    <a:pt x="490" y="130"/>
                  </a:cubicBezTo>
                  <a:cubicBezTo>
                    <a:pt x="491" y="99"/>
                    <a:pt x="418" y="36"/>
                    <a:pt x="384" y="9"/>
                  </a:cubicBezTo>
                  <a:cubicBezTo>
                    <a:pt x="411" y="8"/>
                    <a:pt x="469" y="16"/>
                    <a:pt x="500" y="18"/>
                  </a:cubicBezTo>
                  <a:cubicBezTo>
                    <a:pt x="524" y="20"/>
                    <a:pt x="549" y="21"/>
                    <a:pt x="573" y="21"/>
                  </a:cubicBezTo>
                  <a:cubicBezTo>
                    <a:pt x="609" y="21"/>
                    <a:pt x="637" y="15"/>
                    <a:pt x="665" y="0"/>
                  </a:cubicBezTo>
                  <a:cubicBezTo>
                    <a:pt x="690" y="57"/>
                    <a:pt x="731" y="238"/>
                    <a:pt x="725" y="238"/>
                  </a:cubicBezTo>
                  <a:cubicBezTo>
                    <a:pt x="686" y="237"/>
                    <a:pt x="633" y="236"/>
                    <a:pt x="597" y="255"/>
                  </a:cubicBezTo>
                  <a:cubicBezTo>
                    <a:pt x="579" y="264"/>
                    <a:pt x="566" y="276"/>
                    <a:pt x="560" y="293"/>
                  </a:cubicBezTo>
                  <a:cubicBezTo>
                    <a:pt x="536" y="272"/>
                    <a:pt x="509" y="269"/>
                    <a:pt x="487" y="285"/>
                  </a:cubicBezTo>
                  <a:cubicBezTo>
                    <a:pt x="478" y="292"/>
                    <a:pt x="474" y="308"/>
                    <a:pt x="471" y="320"/>
                  </a:cubicBezTo>
                  <a:cubicBezTo>
                    <a:pt x="469" y="324"/>
                    <a:pt x="468" y="328"/>
                    <a:pt x="468" y="332"/>
                  </a:cubicBezTo>
                  <a:lnTo>
                    <a:pt x="468" y="332"/>
                  </a:lnTo>
                  <a:cubicBezTo>
                    <a:pt x="468" y="332"/>
                    <a:pt x="468" y="333"/>
                    <a:pt x="468" y="333"/>
                  </a:cubicBezTo>
                  <a:cubicBezTo>
                    <a:pt x="467" y="332"/>
                    <a:pt x="463" y="331"/>
                    <a:pt x="457" y="331"/>
                  </a:cubicBezTo>
                  <a:lnTo>
                    <a:pt x="457" y="331"/>
                  </a:lnTo>
                  <a:lnTo>
                    <a:pt x="456" y="331"/>
                  </a:lnTo>
                  <a:cubicBezTo>
                    <a:pt x="445" y="329"/>
                    <a:pt x="429" y="327"/>
                    <a:pt x="415" y="338"/>
                  </a:cubicBezTo>
                  <a:cubicBezTo>
                    <a:pt x="398" y="351"/>
                    <a:pt x="399" y="372"/>
                    <a:pt x="405" y="391"/>
                  </a:cubicBezTo>
                  <a:cubicBezTo>
                    <a:pt x="406" y="397"/>
                    <a:pt x="406" y="403"/>
                    <a:pt x="408" y="409"/>
                  </a:cubicBezTo>
                  <a:cubicBezTo>
                    <a:pt x="401" y="410"/>
                    <a:pt x="377" y="417"/>
                    <a:pt x="372" y="42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68" name="Oval 167">
            <a:extLst>
              <a:ext uri="{FF2B5EF4-FFF2-40B4-BE49-F238E27FC236}">
                <a16:creationId xmlns:a16="http://schemas.microsoft.com/office/drawing/2014/main" id="{44815364-85DC-4FDD-9959-BE8E747D0B6D}"/>
              </a:ext>
            </a:extLst>
          </p:cNvPr>
          <p:cNvSpPr>
            <a:spLocks noChangeAspect="1"/>
          </p:cNvSpPr>
          <p:nvPr/>
        </p:nvSpPr>
        <p:spPr>
          <a:xfrm>
            <a:off x="6933467" y="4635373"/>
            <a:ext cx="897255" cy="897255"/>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97" name="Towers" descr="{&quot;Key&quot;:&quot;POWER_USER_SHAPE_ICON&quot;,&quot;Value&quot;:&quot;POWER_USER_SHAPE_ICON_STYLE_1&quot;}">
            <a:extLst>
              <a:ext uri="{FF2B5EF4-FFF2-40B4-BE49-F238E27FC236}">
                <a16:creationId xmlns:a16="http://schemas.microsoft.com/office/drawing/2014/main" id="{A3FE5307-6FBD-4256-8A57-7252A4E60286}"/>
              </a:ext>
            </a:extLst>
          </p:cNvPr>
          <p:cNvSpPr>
            <a:spLocks noChangeAspect="1" noEditPoints="1"/>
          </p:cNvSpPr>
          <p:nvPr>
            <p:custDataLst>
              <p:tags r:id="rId15"/>
            </p:custDataLst>
          </p:nvPr>
        </p:nvSpPr>
        <p:spPr bwMode="auto">
          <a:xfrm>
            <a:off x="7059563" y="4784393"/>
            <a:ext cx="629491" cy="542925"/>
          </a:xfrm>
          <a:custGeom>
            <a:avLst/>
            <a:gdLst>
              <a:gd name="T0" fmla="*/ 5689 w 6400"/>
              <a:gd name="T1" fmla="*/ 2106 h 5525"/>
              <a:gd name="T2" fmla="*/ 4748 w 6400"/>
              <a:gd name="T3" fmla="*/ 2545 h 5525"/>
              <a:gd name="T4" fmla="*/ 4748 w 6400"/>
              <a:gd name="T5" fmla="*/ 2679 h 5525"/>
              <a:gd name="T6" fmla="*/ 5689 w 6400"/>
              <a:gd name="T7" fmla="*/ 3117 h 5525"/>
              <a:gd name="T8" fmla="*/ 5689 w 6400"/>
              <a:gd name="T9" fmla="*/ 3860 h 5525"/>
              <a:gd name="T10" fmla="*/ 5689 w 6400"/>
              <a:gd name="T11" fmla="*/ 4737 h 5525"/>
              <a:gd name="T12" fmla="*/ 4748 w 6400"/>
              <a:gd name="T13" fmla="*/ 5175 h 5525"/>
              <a:gd name="T14" fmla="*/ 3850 w 6400"/>
              <a:gd name="T15" fmla="*/ 233 h 5525"/>
              <a:gd name="T16" fmla="*/ 4126 w 6400"/>
              <a:gd name="T17" fmla="*/ 746 h 5525"/>
              <a:gd name="T18" fmla="*/ 4126 w 6400"/>
              <a:gd name="T19" fmla="*/ 1642 h 5525"/>
              <a:gd name="T20" fmla="*/ 4126 w 6400"/>
              <a:gd name="T21" fmla="*/ 2669 h 5525"/>
              <a:gd name="T22" fmla="*/ 3850 w 6400"/>
              <a:gd name="T23" fmla="*/ 3182 h 5525"/>
              <a:gd name="T24" fmla="*/ 3850 w 6400"/>
              <a:gd name="T25" fmla="*/ 3312 h 5525"/>
              <a:gd name="T26" fmla="*/ 4126 w 6400"/>
              <a:gd name="T27" fmla="*/ 3825 h 5525"/>
              <a:gd name="T28" fmla="*/ 4126 w 6400"/>
              <a:gd name="T29" fmla="*/ 5175 h 5525"/>
              <a:gd name="T30" fmla="*/ 2549 w 6400"/>
              <a:gd name="T31" fmla="*/ 616 h 5525"/>
              <a:gd name="T32" fmla="*/ 2273 w 6400"/>
              <a:gd name="T33" fmla="*/ 1129 h 5525"/>
              <a:gd name="T34" fmla="*/ 2273 w 6400"/>
              <a:gd name="T35" fmla="*/ 1259 h 5525"/>
              <a:gd name="T36" fmla="*/ 2549 w 6400"/>
              <a:gd name="T37" fmla="*/ 1772 h 5525"/>
              <a:gd name="T38" fmla="*/ 2549 w 6400"/>
              <a:gd name="T39" fmla="*/ 2669 h 5525"/>
              <a:gd name="T40" fmla="*/ 2549 w 6400"/>
              <a:gd name="T41" fmla="*/ 3695 h 5525"/>
              <a:gd name="T42" fmla="*/ 2273 w 6400"/>
              <a:gd name="T43" fmla="*/ 4208 h 5525"/>
              <a:gd name="T44" fmla="*/ 2273 w 6400"/>
              <a:gd name="T45" fmla="*/ 4340 h 5525"/>
              <a:gd name="T46" fmla="*/ 2668 w 6400"/>
              <a:gd name="T47" fmla="*/ 4208 h 5525"/>
              <a:gd name="T48" fmla="*/ 2668 w 6400"/>
              <a:gd name="T49" fmla="*/ 3312 h 5525"/>
              <a:gd name="T50" fmla="*/ 2668 w 6400"/>
              <a:gd name="T51" fmla="*/ 2286 h 5525"/>
              <a:gd name="T52" fmla="*/ 2943 w 6400"/>
              <a:gd name="T53" fmla="*/ 1772 h 5525"/>
              <a:gd name="T54" fmla="*/ 2943 w 6400"/>
              <a:gd name="T55" fmla="*/ 1642 h 5525"/>
              <a:gd name="T56" fmla="*/ 2668 w 6400"/>
              <a:gd name="T57" fmla="*/ 1129 h 5525"/>
              <a:gd name="T58" fmla="*/ 2668 w 6400"/>
              <a:gd name="T59" fmla="*/ 233 h 5525"/>
              <a:gd name="T60" fmla="*/ 3062 w 6400"/>
              <a:gd name="T61" fmla="*/ 3312 h 5525"/>
              <a:gd name="T62" fmla="*/ 3338 w 6400"/>
              <a:gd name="T63" fmla="*/ 2799 h 5525"/>
              <a:gd name="T64" fmla="*/ 3338 w 6400"/>
              <a:gd name="T65" fmla="*/ 2669 h 5525"/>
              <a:gd name="T66" fmla="*/ 3062 w 6400"/>
              <a:gd name="T67" fmla="*/ 2156 h 5525"/>
              <a:gd name="T68" fmla="*/ 3062 w 6400"/>
              <a:gd name="T69" fmla="*/ 1259 h 5525"/>
              <a:gd name="T70" fmla="*/ 3062 w 6400"/>
              <a:gd name="T71" fmla="*/ 233 h 5525"/>
              <a:gd name="T72" fmla="*/ 3732 w 6400"/>
              <a:gd name="T73" fmla="*/ 3825 h 5525"/>
              <a:gd name="T74" fmla="*/ 3732 w 6400"/>
              <a:gd name="T75" fmla="*/ 3695 h 5525"/>
              <a:gd name="T76" fmla="*/ 3456 w 6400"/>
              <a:gd name="T77" fmla="*/ 3182 h 5525"/>
              <a:gd name="T78" fmla="*/ 3456 w 6400"/>
              <a:gd name="T79" fmla="*/ 2286 h 5525"/>
              <a:gd name="T80" fmla="*/ 3456 w 6400"/>
              <a:gd name="T81" fmla="*/ 1259 h 5525"/>
              <a:gd name="T82" fmla="*/ 3732 w 6400"/>
              <a:gd name="T83" fmla="*/ 746 h 5525"/>
              <a:gd name="T84" fmla="*/ 3732 w 6400"/>
              <a:gd name="T85" fmla="*/ 616 h 5525"/>
              <a:gd name="T86" fmla="*/ 711 w 6400"/>
              <a:gd name="T87" fmla="*/ 5175 h 5525"/>
              <a:gd name="T88" fmla="*/ 711 w 6400"/>
              <a:gd name="T89" fmla="*/ 4539 h 5525"/>
              <a:gd name="T90" fmla="*/ 711 w 6400"/>
              <a:gd name="T91" fmla="*/ 3790 h 5525"/>
              <a:gd name="T92" fmla="*/ 1094 w 6400"/>
              <a:gd name="T93" fmla="*/ 3416 h 5525"/>
              <a:gd name="T94" fmla="*/ 1644 w 6400"/>
              <a:gd name="T95" fmla="*/ 5175 h 5525"/>
              <a:gd name="T96" fmla="*/ 1261 w 6400"/>
              <a:gd name="T97" fmla="*/ 4801 h 5525"/>
              <a:gd name="T98" fmla="*/ 1261 w 6400"/>
              <a:gd name="T99" fmla="*/ 4165 h 5525"/>
              <a:gd name="T100" fmla="*/ 1261 w 6400"/>
              <a:gd name="T101" fmla="*/ 3416 h 5525"/>
              <a:gd name="T102" fmla="*/ 5922 w 6400"/>
              <a:gd name="T103" fmla="*/ 1364 h 5525"/>
              <a:gd name="T104" fmla="*/ 4355 w 6400"/>
              <a:gd name="T105" fmla="*/ 233 h 5525"/>
              <a:gd name="T106" fmla="*/ 2044 w 6400"/>
              <a:gd name="T107" fmla="*/ 5175 h 5525"/>
              <a:gd name="T108" fmla="*/ 478 w 6400"/>
              <a:gd name="T109" fmla="*/ 5175 h 5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400" h="5525">
                <a:moveTo>
                  <a:pt x="5689" y="1668"/>
                </a:moveTo>
                <a:lnTo>
                  <a:pt x="4748" y="1668"/>
                </a:lnTo>
                <a:lnTo>
                  <a:pt x="4748" y="1364"/>
                </a:lnTo>
                <a:lnTo>
                  <a:pt x="5689" y="1364"/>
                </a:lnTo>
                <a:lnTo>
                  <a:pt x="5689" y="1668"/>
                </a:lnTo>
                <a:close/>
                <a:moveTo>
                  <a:pt x="5689" y="2106"/>
                </a:moveTo>
                <a:lnTo>
                  <a:pt x="4748" y="2106"/>
                </a:lnTo>
                <a:lnTo>
                  <a:pt x="4748" y="1803"/>
                </a:lnTo>
                <a:lnTo>
                  <a:pt x="5689" y="1803"/>
                </a:lnTo>
                <a:lnTo>
                  <a:pt x="5689" y="2106"/>
                </a:lnTo>
                <a:close/>
                <a:moveTo>
                  <a:pt x="5689" y="2545"/>
                </a:moveTo>
                <a:lnTo>
                  <a:pt x="4748" y="2545"/>
                </a:lnTo>
                <a:lnTo>
                  <a:pt x="4748" y="2241"/>
                </a:lnTo>
                <a:lnTo>
                  <a:pt x="5689" y="2241"/>
                </a:lnTo>
                <a:lnTo>
                  <a:pt x="5689" y="2545"/>
                </a:lnTo>
                <a:close/>
                <a:moveTo>
                  <a:pt x="5689" y="2983"/>
                </a:moveTo>
                <a:lnTo>
                  <a:pt x="4748" y="2983"/>
                </a:lnTo>
                <a:lnTo>
                  <a:pt x="4748" y="2679"/>
                </a:lnTo>
                <a:lnTo>
                  <a:pt x="5689" y="2679"/>
                </a:lnTo>
                <a:lnTo>
                  <a:pt x="5689" y="2983"/>
                </a:lnTo>
                <a:close/>
                <a:moveTo>
                  <a:pt x="5689" y="3421"/>
                </a:moveTo>
                <a:lnTo>
                  <a:pt x="4748" y="3421"/>
                </a:lnTo>
                <a:lnTo>
                  <a:pt x="4748" y="3117"/>
                </a:lnTo>
                <a:lnTo>
                  <a:pt x="5689" y="3117"/>
                </a:lnTo>
                <a:lnTo>
                  <a:pt x="5689" y="3421"/>
                </a:lnTo>
                <a:close/>
                <a:moveTo>
                  <a:pt x="5689" y="3860"/>
                </a:moveTo>
                <a:lnTo>
                  <a:pt x="4748" y="3860"/>
                </a:lnTo>
                <a:lnTo>
                  <a:pt x="4748" y="3556"/>
                </a:lnTo>
                <a:lnTo>
                  <a:pt x="5689" y="3556"/>
                </a:lnTo>
                <a:lnTo>
                  <a:pt x="5689" y="3860"/>
                </a:lnTo>
                <a:close/>
                <a:moveTo>
                  <a:pt x="5689" y="4298"/>
                </a:moveTo>
                <a:lnTo>
                  <a:pt x="4748" y="4298"/>
                </a:lnTo>
                <a:lnTo>
                  <a:pt x="4748" y="3995"/>
                </a:lnTo>
                <a:lnTo>
                  <a:pt x="5689" y="3995"/>
                </a:lnTo>
                <a:lnTo>
                  <a:pt x="5689" y="4298"/>
                </a:lnTo>
                <a:close/>
                <a:moveTo>
                  <a:pt x="5689" y="4737"/>
                </a:moveTo>
                <a:lnTo>
                  <a:pt x="4748" y="4737"/>
                </a:lnTo>
                <a:lnTo>
                  <a:pt x="4748" y="4433"/>
                </a:lnTo>
                <a:lnTo>
                  <a:pt x="5689" y="4433"/>
                </a:lnTo>
                <a:lnTo>
                  <a:pt x="5689" y="4737"/>
                </a:lnTo>
                <a:close/>
                <a:moveTo>
                  <a:pt x="5689" y="5175"/>
                </a:moveTo>
                <a:lnTo>
                  <a:pt x="4748" y="5175"/>
                </a:lnTo>
                <a:lnTo>
                  <a:pt x="4748" y="4871"/>
                </a:lnTo>
                <a:lnTo>
                  <a:pt x="5689" y="4871"/>
                </a:lnTo>
                <a:lnTo>
                  <a:pt x="5689" y="5175"/>
                </a:lnTo>
                <a:close/>
                <a:moveTo>
                  <a:pt x="4126" y="616"/>
                </a:moveTo>
                <a:lnTo>
                  <a:pt x="3850" y="616"/>
                </a:lnTo>
                <a:lnTo>
                  <a:pt x="3850" y="233"/>
                </a:lnTo>
                <a:lnTo>
                  <a:pt x="4126" y="233"/>
                </a:lnTo>
                <a:lnTo>
                  <a:pt x="4126" y="616"/>
                </a:lnTo>
                <a:close/>
                <a:moveTo>
                  <a:pt x="4126" y="1129"/>
                </a:moveTo>
                <a:lnTo>
                  <a:pt x="3850" y="1129"/>
                </a:lnTo>
                <a:lnTo>
                  <a:pt x="3850" y="746"/>
                </a:lnTo>
                <a:lnTo>
                  <a:pt x="4126" y="746"/>
                </a:lnTo>
                <a:lnTo>
                  <a:pt x="4126" y="1129"/>
                </a:lnTo>
                <a:close/>
                <a:moveTo>
                  <a:pt x="4126" y="1642"/>
                </a:moveTo>
                <a:lnTo>
                  <a:pt x="3850" y="1642"/>
                </a:lnTo>
                <a:lnTo>
                  <a:pt x="3850" y="1259"/>
                </a:lnTo>
                <a:lnTo>
                  <a:pt x="4126" y="1259"/>
                </a:lnTo>
                <a:lnTo>
                  <a:pt x="4126" y="1642"/>
                </a:lnTo>
                <a:close/>
                <a:moveTo>
                  <a:pt x="4126" y="2156"/>
                </a:moveTo>
                <a:lnTo>
                  <a:pt x="3850" y="2156"/>
                </a:lnTo>
                <a:lnTo>
                  <a:pt x="3850" y="1772"/>
                </a:lnTo>
                <a:lnTo>
                  <a:pt x="4126" y="1772"/>
                </a:lnTo>
                <a:lnTo>
                  <a:pt x="4126" y="2156"/>
                </a:lnTo>
                <a:close/>
                <a:moveTo>
                  <a:pt x="4126" y="2669"/>
                </a:moveTo>
                <a:lnTo>
                  <a:pt x="3850" y="2669"/>
                </a:lnTo>
                <a:lnTo>
                  <a:pt x="3850" y="2286"/>
                </a:lnTo>
                <a:lnTo>
                  <a:pt x="4126" y="2286"/>
                </a:lnTo>
                <a:lnTo>
                  <a:pt x="4126" y="2669"/>
                </a:lnTo>
                <a:close/>
                <a:moveTo>
                  <a:pt x="4126" y="3182"/>
                </a:moveTo>
                <a:lnTo>
                  <a:pt x="3850" y="3182"/>
                </a:lnTo>
                <a:lnTo>
                  <a:pt x="3850" y="2799"/>
                </a:lnTo>
                <a:lnTo>
                  <a:pt x="4126" y="2799"/>
                </a:lnTo>
                <a:lnTo>
                  <a:pt x="4126" y="3182"/>
                </a:lnTo>
                <a:close/>
                <a:moveTo>
                  <a:pt x="4126" y="3695"/>
                </a:moveTo>
                <a:lnTo>
                  <a:pt x="3850" y="3695"/>
                </a:lnTo>
                <a:lnTo>
                  <a:pt x="3850" y="3312"/>
                </a:lnTo>
                <a:lnTo>
                  <a:pt x="4126" y="3312"/>
                </a:lnTo>
                <a:lnTo>
                  <a:pt x="4126" y="3695"/>
                </a:lnTo>
                <a:close/>
                <a:moveTo>
                  <a:pt x="4126" y="4208"/>
                </a:moveTo>
                <a:lnTo>
                  <a:pt x="3850" y="4208"/>
                </a:lnTo>
                <a:lnTo>
                  <a:pt x="3850" y="3825"/>
                </a:lnTo>
                <a:lnTo>
                  <a:pt x="4126" y="3825"/>
                </a:lnTo>
                <a:lnTo>
                  <a:pt x="4126" y="4208"/>
                </a:lnTo>
                <a:close/>
                <a:moveTo>
                  <a:pt x="4126" y="5175"/>
                </a:moveTo>
                <a:lnTo>
                  <a:pt x="3850" y="5175"/>
                </a:lnTo>
                <a:lnTo>
                  <a:pt x="3850" y="4340"/>
                </a:lnTo>
                <a:lnTo>
                  <a:pt x="4126" y="4340"/>
                </a:lnTo>
                <a:lnTo>
                  <a:pt x="4126" y="5175"/>
                </a:lnTo>
                <a:close/>
                <a:moveTo>
                  <a:pt x="3733" y="5175"/>
                </a:moveTo>
                <a:lnTo>
                  <a:pt x="2666" y="5175"/>
                </a:lnTo>
                <a:lnTo>
                  <a:pt x="2666" y="4340"/>
                </a:lnTo>
                <a:lnTo>
                  <a:pt x="3733" y="4340"/>
                </a:lnTo>
                <a:lnTo>
                  <a:pt x="3733" y="5175"/>
                </a:lnTo>
                <a:close/>
                <a:moveTo>
                  <a:pt x="2549" y="616"/>
                </a:moveTo>
                <a:lnTo>
                  <a:pt x="2273" y="616"/>
                </a:lnTo>
                <a:lnTo>
                  <a:pt x="2273" y="233"/>
                </a:lnTo>
                <a:lnTo>
                  <a:pt x="2549" y="233"/>
                </a:lnTo>
                <a:lnTo>
                  <a:pt x="2549" y="616"/>
                </a:lnTo>
                <a:close/>
                <a:moveTo>
                  <a:pt x="2549" y="1129"/>
                </a:moveTo>
                <a:lnTo>
                  <a:pt x="2273" y="1129"/>
                </a:lnTo>
                <a:lnTo>
                  <a:pt x="2273" y="746"/>
                </a:lnTo>
                <a:lnTo>
                  <a:pt x="2549" y="746"/>
                </a:lnTo>
                <a:lnTo>
                  <a:pt x="2549" y="1129"/>
                </a:lnTo>
                <a:close/>
                <a:moveTo>
                  <a:pt x="2549" y="1642"/>
                </a:moveTo>
                <a:lnTo>
                  <a:pt x="2273" y="1642"/>
                </a:lnTo>
                <a:lnTo>
                  <a:pt x="2273" y="1259"/>
                </a:lnTo>
                <a:lnTo>
                  <a:pt x="2549" y="1259"/>
                </a:lnTo>
                <a:lnTo>
                  <a:pt x="2549" y="1642"/>
                </a:lnTo>
                <a:close/>
                <a:moveTo>
                  <a:pt x="2549" y="2156"/>
                </a:moveTo>
                <a:lnTo>
                  <a:pt x="2273" y="2156"/>
                </a:lnTo>
                <a:lnTo>
                  <a:pt x="2273" y="1772"/>
                </a:lnTo>
                <a:lnTo>
                  <a:pt x="2549" y="1772"/>
                </a:lnTo>
                <a:lnTo>
                  <a:pt x="2549" y="2156"/>
                </a:lnTo>
                <a:close/>
                <a:moveTo>
                  <a:pt x="2549" y="2669"/>
                </a:moveTo>
                <a:lnTo>
                  <a:pt x="2273" y="2669"/>
                </a:lnTo>
                <a:lnTo>
                  <a:pt x="2273" y="2286"/>
                </a:lnTo>
                <a:lnTo>
                  <a:pt x="2549" y="2286"/>
                </a:lnTo>
                <a:lnTo>
                  <a:pt x="2549" y="2669"/>
                </a:lnTo>
                <a:close/>
                <a:moveTo>
                  <a:pt x="2549" y="3182"/>
                </a:moveTo>
                <a:lnTo>
                  <a:pt x="2273" y="3182"/>
                </a:lnTo>
                <a:lnTo>
                  <a:pt x="2273" y="2799"/>
                </a:lnTo>
                <a:lnTo>
                  <a:pt x="2549" y="2799"/>
                </a:lnTo>
                <a:lnTo>
                  <a:pt x="2549" y="3182"/>
                </a:lnTo>
                <a:close/>
                <a:moveTo>
                  <a:pt x="2549" y="3695"/>
                </a:moveTo>
                <a:lnTo>
                  <a:pt x="2273" y="3695"/>
                </a:lnTo>
                <a:lnTo>
                  <a:pt x="2273" y="3312"/>
                </a:lnTo>
                <a:lnTo>
                  <a:pt x="2549" y="3312"/>
                </a:lnTo>
                <a:lnTo>
                  <a:pt x="2549" y="3695"/>
                </a:lnTo>
                <a:close/>
                <a:moveTo>
                  <a:pt x="2549" y="4208"/>
                </a:moveTo>
                <a:lnTo>
                  <a:pt x="2273" y="4208"/>
                </a:lnTo>
                <a:lnTo>
                  <a:pt x="2273" y="3825"/>
                </a:lnTo>
                <a:lnTo>
                  <a:pt x="2549" y="3825"/>
                </a:lnTo>
                <a:lnTo>
                  <a:pt x="2549" y="4208"/>
                </a:lnTo>
                <a:close/>
                <a:moveTo>
                  <a:pt x="2549" y="5175"/>
                </a:moveTo>
                <a:lnTo>
                  <a:pt x="2273" y="5175"/>
                </a:lnTo>
                <a:lnTo>
                  <a:pt x="2273" y="4340"/>
                </a:lnTo>
                <a:lnTo>
                  <a:pt x="2549" y="4340"/>
                </a:lnTo>
                <a:lnTo>
                  <a:pt x="2549" y="5175"/>
                </a:lnTo>
                <a:close/>
                <a:moveTo>
                  <a:pt x="2668" y="3825"/>
                </a:moveTo>
                <a:lnTo>
                  <a:pt x="2943" y="3825"/>
                </a:lnTo>
                <a:lnTo>
                  <a:pt x="2943" y="4208"/>
                </a:lnTo>
                <a:lnTo>
                  <a:pt x="2668" y="4208"/>
                </a:lnTo>
                <a:lnTo>
                  <a:pt x="2668" y="3825"/>
                </a:lnTo>
                <a:close/>
                <a:moveTo>
                  <a:pt x="2668" y="3312"/>
                </a:moveTo>
                <a:lnTo>
                  <a:pt x="2943" y="3312"/>
                </a:lnTo>
                <a:lnTo>
                  <a:pt x="2943" y="3695"/>
                </a:lnTo>
                <a:lnTo>
                  <a:pt x="2668" y="3695"/>
                </a:lnTo>
                <a:lnTo>
                  <a:pt x="2668" y="3312"/>
                </a:lnTo>
                <a:close/>
                <a:moveTo>
                  <a:pt x="2668" y="2799"/>
                </a:moveTo>
                <a:lnTo>
                  <a:pt x="2943" y="2799"/>
                </a:lnTo>
                <a:lnTo>
                  <a:pt x="2943" y="3182"/>
                </a:lnTo>
                <a:lnTo>
                  <a:pt x="2668" y="3182"/>
                </a:lnTo>
                <a:lnTo>
                  <a:pt x="2668" y="2799"/>
                </a:lnTo>
                <a:close/>
                <a:moveTo>
                  <a:pt x="2668" y="2286"/>
                </a:moveTo>
                <a:lnTo>
                  <a:pt x="2943" y="2286"/>
                </a:lnTo>
                <a:lnTo>
                  <a:pt x="2943" y="2669"/>
                </a:lnTo>
                <a:lnTo>
                  <a:pt x="2668" y="2669"/>
                </a:lnTo>
                <a:lnTo>
                  <a:pt x="2668" y="2286"/>
                </a:lnTo>
                <a:close/>
                <a:moveTo>
                  <a:pt x="2668" y="1772"/>
                </a:moveTo>
                <a:lnTo>
                  <a:pt x="2943" y="1772"/>
                </a:lnTo>
                <a:lnTo>
                  <a:pt x="2943" y="2156"/>
                </a:lnTo>
                <a:lnTo>
                  <a:pt x="2668" y="2156"/>
                </a:lnTo>
                <a:lnTo>
                  <a:pt x="2668" y="1772"/>
                </a:lnTo>
                <a:close/>
                <a:moveTo>
                  <a:pt x="2668" y="1259"/>
                </a:moveTo>
                <a:lnTo>
                  <a:pt x="2943" y="1259"/>
                </a:lnTo>
                <a:lnTo>
                  <a:pt x="2943" y="1642"/>
                </a:lnTo>
                <a:lnTo>
                  <a:pt x="2668" y="1642"/>
                </a:lnTo>
                <a:lnTo>
                  <a:pt x="2668" y="1259"/>
                </a:lnTo>
                <a:close/>
                <a:moveTo>
                  <a:pt x="2668" y="746"/>
                </a:moveTo>
                <a:lnTo>
                  <a:pt x="2943" y="746"/>
                </a:lnTo>
                <a:lnTo>
                  <a:pt x="2943" y="1129"/>
                </a:lnTo>
                <a:lnTo>
                  <a:pt x="2668" y="1129"/>
                </a:lnTo>
                <a:lnTo>
                  <a:pt x="2668" y="746"/>
                </a:lnTo>
                <a:close/>
                <a:moveTo>
                  <a:pt x="2668" y="233"/>
                </a:moveTo>
                <a:lnTo>
                  <a:pt x="2943" y="233"/>
                </a:lnTo>
                <a:lnTo>
                  <a:pt x="2943" y="616"/>
                </a:lnTo>
                <a:lnTo>
                  <a:pt x="2668" y="616"/>
                </a:lnTo>
                <a:lnTo>
                  <a:pt x="2668" y="233"/>
                </a:lnTo>
                <a:close/>
                <a:moveTo>
                  <a:pt x="3062" y="3825"/>
                </a:moveTo>
                <a:lnTo>
                  <a:pt x="3338" y="3825"/>
                </a:lnTo>
                <a:lnTo>
                  <a:pt x="3338" y="4208"/>
                </a:lnTo>
                <a:lnTo>
                  <a:pt x="3062" y="4208"/>
                </a:lnTo>
                <a:lnTo>
                  <a:pt x="3062" y="3825"/>
                </a:lnTo>
                <a:close/>
                <a:moveTo>
                  <a:pt x="3062" y="3312"/>
                </a:moveTo>
                <a:lnTo>
                  <a:pt x="3338" y="3312"/>
                </a:lnTo>
                <a:lnTo>
                  <a:pt x="3338" y="3695"/>
                </a:lnTo>
                <a:lnTo>
                  <a:pt x="3062" y="3695"/>
                </a:lnTo>
                <a:lnTo>
                  <a:pt x="3062" y="3312"/>
                </a:lnTo>
                <a:close/>
                <a:moveTo>
                  <a:pt x="3062" y="2799"/>
                </a:moveTo>
                <a:lnTo>
                  <a:pt x="3338" y="2799"/>
                </a:lnTo>
                <a:lnTo>
                  <a:pt x="3338" y="3182"/>
                </a:lnTo>
                <a:lnTo>
                  <a:pt x="3062" y="3182"/>
                </a:lnTo>
                <a:lnTo>
                  <a:pt x="3062" y="2799"/>
                </a:lnTo>
                <a:close/>
                <a:moveTo>
                  <a:pt x="3062" y="2286"/>
                </a:moveTo>
                <a:lnTo>
                  <a:pt x="3338" y="2286"/>
                </a:lnTo>
                <a:lnTo>
                  <a:pt x="3338" y="2669"/>
                </a:lnTo>
                <a:lnTo>
                  <a:pt x="3062" y="2669"/>
                </a:lnTo>
                <a:lnTo>
                  <a:pt x="3062" y="2286"/>
                </a:lnTo>
                <a:close/>
                <a:moveTo>
                  <a:pt x="3062" y="1772"/>
                </a:moveTo>
                <a:lnTo>
                  <a:pt x="3338" y="1772"/>
                </a:lnTo>
                <a:lnTo>
                  <a:pt x="3338" y="2156"/>
                </a:lnTo>
                <a:lnTo>
                  <a:pt x="3062" y="2156"/>
                </a:lnTo>
                <a:lnTo>
                  <a:pt x="3062" y="1772"/>
                </a:lnTo>
                <a:close/>
                <a:moveTo>
                  <a:pt x="3062" y="1259"/>
                </a:moveTo>
                <a:lnTo>
                  <a:pt x="3338" y="1259"/>
                </a:lnTo>
                <a:lnTo>
                  <a:pt x="3338" y="1642"/>
                </a:lnTo>
                <a:lnTo>
                  <a:pt x="3062" y="1642"/>
                </a:lnTo>
                <a:lnTo>
                  <a:pt x="3062" y="1259"/>
                </a:lnTo>
                <a:close/>
                <a:moveTo>
                  <a:pt x="3062" y="746"/>
                </a:moveTo>
                <a:lnTo>
                  <a:pt x="3338" y="746"/>
                </a:lnTo>
                <a:lnTo>
                  <a:pt x="3338" y="1129"/>
                </a:lnTo>
                <a:lnTo>
                  <a:pt x="3062" y="1129"/>
                </a:lnTo>
                <a:lnTo>
                  <a:pt x="3062" y="746"/>
                </a:lnTo>
                <a:close/>
                <a:moveTo>
                  <a:pt x="3062" y="233"/>
                </a:moveTo>
                <a:lnTo>
                  <a:pt x="3338" y="233"/>
                </a:lnTo>
                <a:lnTo>
                  <a:pt x="3338" y="616"/>
                </a:lnTo>
                <a:lnTo>
                  <a:pt x="3062" y="616"/>
                </a:lnTo>
                <a:lnTo>
                  <a:pt x="3062" y="233"/>
                </a:lnTo>
                <a:close/>
                <a:moveTo>
                  <a:pt x="3456" y="3825"/>
                </a:moveTo>
                <a:lnTo>
                  <a:pt x="3732" y="3825"/>
                </a:lnTo>
                <a:lnTo>
                  <a:pt x="3732" y="4208"/>
                </a:lnTo>
                <a:lnTo>
                  <a:pt x="3456" y="4208"/>
                </a:lnTo>
                <a:lnTo>
                  <a:pt x="3456" y="3825"/>
                </a:lnTo>
                <a:close/>
                <a:moveTo>
                  <a:pt x="3456" y="3312"/>
                </a:moveTo>
                <a:lnTo>
                  <a:pt x="3732" y="3312"/>
                </a:lnTo>
                <a:lnTo>
                  <a:pt x="3732" y="3695"/>
                </a:lnTo>
                <a:lnTo>
                  <a:pt x="3456" y="3695"/>
                </a:lnTo>
                <a:lnTo>
                  <a:pt x="3456" y="3312"/>
                </a:lnTo>
                <a:close/>
                <a:moveTo>
                  <a:pt x="3456" y="2799"/>
                </a:moveTo>
                <a:lnTo>
                  <a:pt x="3732" y="2799"/>
                </a:lnTo>
                <a:lnTo>
                  <a:pt x="3732" y="3182"/>
                </a:lnTo>
                <a:lnTo>
                  <a:pt x="3456" y="3182"/>
                </a:lnTo>
                <a:lnTo>
                  <a:pt x="3456" y="2799"/>
                </a:lnTo>
                <a:close/>
                <a:moveTo>
                  <a:pt x="3456" y="2286"/>
                </a:moveTo>
                <a:lnTo>
                  <a:pt x="3732" y="2286"/>
                </a:lnTo>
                <a:lnTo>
                  <a:pt x="3732" y="2669"/>
                </a:lnTo>
                <a:lnTo>
                  <a:pt x="3456" y="2669"/>
                </a:lnTo>
                <a:lnTo>
                  <a:pt x="3456" y="2286"/>
                </a:lnTo>
                <a:close/>
                <a:moveTo>
                  <a:pt x="3456" y="1772"/>
                </a:moveTo>
                <a:lnTo>
                  <a:pt x="3732" y="1772"/>
                </a:lnTo>
                <a:lnTo>
                  <a:pt x="3732" y="2156"/>
                </a:lnTo>
                <a:lnTo>
                  <a:pt x="3456" y="2156"/>
                </a:lnTo>
                <a:lnTo>
                  <a:pt x="3456" y="1772"/>
                </a:lnTo>
                <a:close/>
                <a:moveTo>
                  <a:pt x="3456" y="1259"/>
                </a:moveTo>
                <a:lnTo>
                  <a:pt x="3732" y="1259"/>
                </a:lnTo>
                <a:lnTo>
                  <a:pt x="3732" y="1642"/>
                </a:lnTo>
                <a:lnTo>
                  <a:pt x="3456" y="1642"/>
                </a:lnTo>
                <a:lnTo>
                  <a:pt x="3456" y="1259"/>
                </a:lnTo>
                <a:close/>
                <a:moveTo>
                  <a:pt x="3456" y="746"/>
                </a:moveTo>
                <a:lnTo>
                  <a:pt x="3732" y="746"/>
                </a:lnTo>
                <a:lnTo>
                  <a:pt x="3732" y="1129"/>
                </a:lnTo>
                <a:lnTo>
                  <a:pt x="3456" y="1129"/>
                </a:lnTo>
                <a:lnTo>
                  <a:pt x="3456" y="746"/>
                </a:lnTo>
                <a:close/>
                <a:moveTo>
                  <a:pt x="3456" y="233"/>
                </a:moveTo>
                <a:lnTo>
                  <a:pt x="3732" y="233"/>
                </a:lnTo>
                <a:lnTo>
                  <a:pt x="3732" y="616"/>
                </a:lnTo>
                <a:lnTo>
                  <a:pt x="3456" y="616"/>
                </a:lnTo>
                <a:lnTo>
                  <a:pt x="3456" y="233"/>
                </a:lnTo>
                <a:close/>
                <a:moveTo>
                  <a:pt x="711" y="4913"/>
                </a:moveTo>
                <a:lnTo>
                  <a:pt x="1094" y="4913"/>
                </a:lnTo>
                <a:lnTo>
                  <a:pt x="1094" y="5175"/>
                </a:lnTo>
                <a:lnTo>
                  <a:pt x="711" y="5175"/>
                </a:lnTo>
                <a:lnTo>
                  <a:pt x="711" y="4913"/>
                </a:lnTo>
                <a:close/>
                <a:moveTo>
                  <a:pt x="711" y="4539"/>
                </a:moveTo>
                <a:lnTo>
                  <a:pt x="1094" y="4539"/>
                </a:lnTo>
                <a:lnTo>
                  <a:pt x="1094" y="4801"/>
                </a:lnTo>
                <a:lnTo>
                  <a:pt x="711" y="4801"/>
                </a:lnTo>
                <a:lnTo>
                  <a:pt x="711" y="4539"/>
                </a:lnTo>
                <a:close/>
                <a:moveTo>
                  <a:pt x="711" y="4165"/>
                </a:moveTo>
                <a:lnTo>
                  <a:pt x="1094" y="4165"/>
                </a:lnTo>
                <a:lnTo>
                  <a:pt x="1094" y="4427"/>
                </a:lnTo>
                <a:lnTo>
                  <a:pt x="711" y="4427"/>
                </a:lnTo>
                <a:lnTo>
                  <a:pt x="711" y="4165"/>
                </a:lnTo>
                <a:close/>
                <a:moveTo>
                  <a:pt x="711" y="3790"/>
                </a:moveTo>
                <a:lnTo>
                  <a:pt x="1094" y="3790"/>
                </a:lnTo>
                <a:lnTo>
                  <a:pt x="1094" y="4052"/>
                </a:lnTo>
                <a:lnTo>
                  <a:pt x="711" y="4052"/>
                </a:lnTo>
                <a:lnTo>
                  <a:pt x="711" y="3790"/>
                </a:lnTo>
                <a:close/>
                <a:moveTo>
                  <a:pt x="711" y="3416"/>
                </a:moveTo>
                <a:lnTo>
                  <a:pt x="1094" y="3416"/>
                </a:lnTo>
                <a:lnTo>
                  <a:pt x="1094" y="3678"/>
                </a:lnTo>
                <a:lnTo>
                  <a:pt x="711" y="3678"/>
                </a:lnTo>
                <a:lnTo>
                  <a:pt x="711" y="3416"/>
                </a:lnTo>
                <a:close/>
                <a:moveTo>
                  <a:pt x="1261" y="4913"/>
                </a:moveTo>
                <a:lnTo>
                  <a:pt x="1644" y="4913"/>
                </a:lnTo>
                <a:lnTo>
                  <a:pt x="1644" y="5175"/>
                </a:lnTo>
                <a:lnTo>
                  <a:pt x="1261" y="5175"/>
                </a:lnTo>
                <a:lnTo>
                  <a:pt x="1261" y="4913"/>
                </a:lnTo>
                <a:close/>
                <a:moveTo>
                  <a:pt x="1261" y="4539"/>
                </a:moveTo>
                <a:lnTo>
                  <a:pt x="1644" y="4539"/>
                </a:lnTo>
                <a:lnTo>
                  <a:pt x="1644" y="4801"/>
                </a:lnTo>
                <a:lnTo>
                  <a:pt x="1261" y="4801"/>
                </a:lnTo>
                <a:lnTo>
                  <a:pt x="1261" y="4539"/>
                </a:lnTo>
                <a:close/>
                <a:moveTo>
                  <a:pt x="1261" y="4165"/>
                </a:moveTo>
                <a:lnTo>
                  <a:pt x="1644" y="4165"/>
                </a:lnTo>
                <a:lnTo>
                  <a:pt x="1644" y="4427"/>
                </a:lnTo>
                <a:lnTo>
                  <a:pt x="1261" y="4427"/>
                </a:lnTo>
                <a:lnTo>
                  <a:pt x="1261" y="4165"/>
                </a:lnTo>
                <a:close/>
                <a:moveTo>
                  <a:pt x="1261" y="3790"/>
                </a:moveTo>
                <a:lnTo>
                  <a:pt x="1644" y="3790"/>
                </a:lnTo>
                <a:lnTo>
                  <a:pt x="1644" y="4052"/>
                </a:lnTo>
                <a:lnTo>
                  <a:pt x="1261" y="4052"/>
                </a:lnTo>
                <a:lnTo>
                  <a:pt x="1261" y="3790"/>
                </a:lnTo>
                <a:close/>
                <a:moveTo>
                  <a:pt x="1261" y="3416"/>
                </a:moveTo>
                <a:lnTo>
                  <a:pt x="1644" y="3416"/>
                </a:lnTo>
                <a:lnTo>
                  <a:pt x="1644" y="3678"/>
                </a:lnTo>
                <a:lnTo>
                  <a:pt x="1261" y="3678"/>
                </a:lnTo>
                <a:lnTo>
                  <a:pt x="1261" y="3416"/>
                </a:lnTo>
                <a:close/>
                <a:moveTo>
                  <a:pt x="5922" y="5175"/>
                </a:moveTo>
                <a:lnTo>
                  <a:pt x="5922" y="1364"/>
                </a:lnTo>
                <a:lnTo>
                  <a:pt x="6078" y="1364"/>
                </a:lnTo>
                <a:lnTo>
                  <a:pt x="6078" y="1131"/>
                </a:lnTo>
                <a:lnTo>
                  <a:pt x="4555" y="1131"/>
                </a:lnTo>
                <a:lnTo>
                  <a:pt x="4555" y="5175"/>
                </a:lnTo>
                <a:lnTo>
                  <a:pt x="4355" y="5175"/>
                </a:lnTo>
                <a:lnTo>
                  <a:pt x="4355" y="233"/>
                </a:lnTo>
                <a:lnTo>
                  <a:pt x="4511" y="233"/>
                </a:lnTo>
                <a:lnTo>
                  <a:pt x="4511" y="0"/>
                </a:lnTo>
                <a:lnTo>
                  <a:pt x="1889" y="0"/>
                </a:lnTo>
                <a:lnTo>
                  <a:pt x="1889" y="233"/>
                </a:lnTo>
                <a:lnTo>
                  <a:pt x="2044" y="233"/>
                </a:lnTo>
                <a:lnTo>
                  <a:pt x="2044" y="5175"/>
                </a:lnTo>
                <a:lnTo>
                  <a:pt x="1844" y="5175"/>
                </a:lnTo>
                <a:lnTo>
                  <a:pt x="1844" y="3183"/>
                </a:lnTo>
                <a:lnTo>
                  <a:pt x="322" y="3183"/>
                </a:lnTo>
                <a:lnTo>
                  <a:pt x="322" y="3416"/>
                </a:lnTo>
                <a:lnTo>
                  <a:pt x="478" y="3416"/>
                </a:lnTo>
                <a:lnTo>
                  <a:pt x="478" y="5175"/>
                </a:lnTo>
                <a:lnTo>
                  <a:pt x="0" y="5175"/>
                </a:lnTo>
                <a:lnTo>
                  <a:pt x="0" y="5525"/>
                </a:lnTo>
                <a:lnTo>
                  <a:pt x="6400" y="5525"/>
                </a:lnTo>
                <a:lnTo>
                  <a:pt x="6400" y="5175"/>
                </a:lnTo>
                <a:lnTo>
                  <a:pt x="5922" y="5175"/>
                </a:ln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73" name="Building4" descr="{&quot;Key&quot;:&quot;POWER_USER_SHAPE_ICON&quot;,&quot;Value&quot;:&quot;POWER_USER_SHAPE_ICON_STYLE_1&quot;}">
            <a:extLst>
              <a:ext uri="{FF2B5EF4-FFF2-40B4-BE49-F238E27FC236}">
                <a16:creationId xmlns:a16="http://schemas.microsoft.com/office/drawing/2014/main" id="{19A6938F-C6C4-4578-B01C-90BCE5CD44AE}"/>
              </a:ext>
            </a:extLst>
          </p:cNvPr>
          <p:cNvGrpSpPr>
            <a:grpSpLocks noChangeAspect="1"/>
          </p:cNvGrpSpPr>
          <p:nvPr/>
        </p:nvGrpSpPr>
        <p:grpSpPr>
          <a:xfrm>
            <a:off x="1002889" y="2798276"/>
            <a:ext cx="422787" cy="644573"/>
            <a:chOff x="9570934" y="4356273"/>
            <a:chExt cx="158842" cy="242168"/>
          </a:xfrm>
          <a:solidFill>
            <a:schemeClr val="accent1">
              <a:lumMod val="75000"/>
            </a:schemeClr>
          </a:solidFill>
        </p:grpSpPr>
        <p:sp>
          <p:nvSpPr>
            <p:cNvPr id="174" name="Building5">
              <a:extLst>
                <a:ext uri="{FF2B5EF4-FFF2-40B4-BE49-F238E27FC236}">
                  <a16:creationId xmlns:a16="http://schemas.microsoft.com/office/drawing/2014/main" id="{B85D2B73-B2C1-4B65-8D81-4BE171550E7C}"/>
                </a:ext>
              </a:extLst>
            </p:cNvPr>
            <p:cNvSpPr>
              <a:spLocks noChangeArrowheads="1"/>
            </p:cNvSpPr>
            <p:nvPr>
              <p:custDataLst>
                <p:tags r:id="rId17"/>
              </p:custDataLst>
            </p:nvPr>
          </p:nvSpPr>
          <p:spPr bwMode="auto">
            <a:xfrm>
              <a:off x="9649053" y="4543758"/>
              <a:ext cx="1302" cy="130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Building5">
              <a:extLst>
                <a:ext uri="{FF2B5EF4-FFF2-40B4-BE49-F238E27FC236}">
                  <a16:creationId xmlns:a16="http://schemas.microsoft.com/office/drawing/2014/main" id="{6756A1F0-5C28-4B4D-8B44-DFE4549CFECC}"/>
                </a:ext>
              </a:extLst>
            </p:cNvPr>
            <p:cNvSpPr>
              <a:spLocks noChangeArrowheads="1"/>
            </p:cNvSpPr>
            <p:nvPr>
              <p:custDataLst>
                <p:tags r:id="rId18"/>
              </p:custDataLst>
            </p:nvPr>
          </p:nvSpPr>
          <p:spPr bwMode="auto">
            <a:xfrm>
              <a:off x="9649053" y="4543758"/>
              <a:ext cx="1302" cy="130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Building5">
              <a:extLst>
                <a:ext uri="{FF2B5EF4-FFF2-40B4-BE49-F238E27FC236}">
                  <a16:creationId xmlns:a16="http://schemas.microsoft.com/office/drawing/2014/main" id="{B3E4C8A9-269E-4E39-BC1C-E12E0C029CA9}"/>
                </a:ext>
              </a:extLst>
            </p:cNvPr>
            <p:cNvSpPr>
              <a:spLocks noChangeArrowheads="1"/>
            </p:cNvSpPr>
            <p:nvPr>
              <p:custDataLst>
                <p:tags r:id="rId19"/>
              </p:custDataLst>
            </p:nvPr>
          </p:nvSpPr>
          <p:spPr bwMode="auto">
            <a:xfrm>
              <a:off x="9650355" y="4543758"/>
              <a:ext cx="1302" cy="130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Building5">
              <a:extLst>
                <a:ext uri="{FF2B5EF4-FFF2-40B4-BE49-F238E27FC236}">
                  <a16:creationId xmlns:a16="http://schemas.microsoft.com/office/drawing/2014/main" id="{6836A47A-A4F3-4DA5-87AA-DDAD6C44E01A}"/>
                </a:ext>
              </a:extLst>
            </p:cNvPr>
            <p:cNvSpPr>
              <a:spLocks/>
            </p:cNvSpPr>
            <p:nvPr>
              <p:custDataLst>
                <p:tags r:id="rId20"/>
              </p:custDataLst>
            </p:nvPr>
          </p:nvSpPr>
          <p:spPr bwMode="auto">
            <a:xfrm>
              <a:off x="9570934" y="4597139"/>
              <a:ext cx="1302" cy="1302"/>
            </a:xfrm>
            <a:custGeom>
              <a:avLst/>
              <a:gdLst>
                <a:gd name="T0" fmla="*/ 2 w 2"/>
                <a:gd name="T1" fmla="*/ 4 h 4"/>
                <a:gd name="T2" fmla="*/ 0 w 2"/>
                <a:gd name="T3" fmla="*/ 4 h 4"/>
                <a:gd name="T4" fmla="*/ 0 w 2"/>
                <a:gd name="T5" fmla="*/ 0 h 4"/>
                <a:gd name="T6" fmla="*/ 2 w 2"/>
                <a:gd name="T7" fmla="*/ 4 h 4"/>
              </a:gdLst>
              <a:ahLst/>
              <a:cxnLst>
                <a:cxn ang="0">
                  <a:pos x="T0" y="T1"/>
                </a:cxn>
                <a:cxn ang="0">
                  <a:pos x="T2" y="T3"/>
                </a:cxn>
                <a:cxn ang="0">
                  <a:pos x="T4" y="T5"/>
                </a:cxn>
                <a:cxn ang="0">
                  <a:pos x="T6" y="T7"/>
                </a:cxn>
              </a:cxnLst>
              <a:rect l="0" t="0" r="r" b="b"/>
              <a:pathLst>
                <a:path w="2" h="4">
                  <a:moveTo>
                    <a:pt x="2" y="4"/>
                  </a:moveTo>
                  <a:lnTo>
                    <a:pt x="0" y="4"/>
                  </a:lnTo>
                  <a:lnTo>
                    <a:pt x="0" y="0"/>
                  </a:lnTo>
                  <a:cubicBezTo>
                    <a:pt x="0" y="1"/>
                    <a:pt x="1" y="2"/>
                    <a:pt x="2"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Building5">
              <a:extLst>
                <a:ext uri="{FF2B5EF4-FFF2-40B4-BE49-F238E27FC236}">
                  <a16:creationId xmlns:a16="http://schemas.microsoft.com/office/drawing/2014/main" id="{8AC28C6D-D5CD-4B05-8DA1-6556CA42154F}"/>
                </a:ext>
              </a:extLst>
            </p:cNvPr>
            <p:cNvSpPr>
              <a:spLocks noEditPoints="1"/>
            </p:cNvSpPr>
            <p:nvPr>
              <p:custDataLst>
                <p:tags r:id="rId21"/>
              </p:custDataLst>
            </p:nvPr>
          </p:nvSpPr>
          <p:spPr bwMode="auto">
            <a:xfrm>
              <a:off x="9577444" y="4356273"/>
              <a:ext cx="144520" cy="221336"/>
            </a:xfrm>
            <a:custGeom>
              <a:avLst/>
              <a:gdLst>
                <a:gd name="T0" fmla="*/ 256 w 296"/>
                <a:gd name="T1" fmla="*/ 400 h 451"/>
                <a:gd name="T2" fmla="*/ 256 w 296"/>
                <a:gd name="T3" fmla="*/ 76 h 451"/>
                <a:gd name="T4" fmla="*/ 40 w 296"/>
                <a:gd name="T5" fmla="*/ 0 h 451"/>
                <a:gd name="T6" fmla="*/ 40 w 296"/>
                <a:gd name="T7" fmla="*/ 400 h 451"/>
                <a:gd name="T8" fmla="*/ 0 w 296"/>
                <a:gd name="T9" fmla="*/ 400 h 451"/>
                <a:gd name="T10" fmla="*/ 0 w 296"/>
                <a:gd name="T11" fmla="*/ 447 h 451"/>
                <a:gd name="T12" fmla="*/ 2 w 296"/>
                <a:gd name="T13" fmla="*/ 451 h 451"/>
                <a:gd name="T14" fmla="*/ 295 w 296"/>
                <a:gd name="T15" fmla="*/ 451 h 451"/>
                <a:gd name="T16" fmla="*/ 296 w 296"/>
                <a:gd name="T17" fmla="*/ 447 h 451"/>
                <a:gd name="T18" fmla="*/ 296 w 296"/>
                <a:gd name="T19" fmla="*/ 400 h 451"/>
                <a:gd name="T20" fmla="*/ 256 w 296"/>
                <a:gd name="T21" fmla="*/ 400 h 451"/>
                <a:gd name="T22" fmla="*/ 234 w 296"/>
                <a:gd name="T23" fmla="*/ 369 h 451"/>
                <a:gd name="T24" fmla="*/ 62 w 296"/>
                <a:gd name="T25" fmla="*/ 369 h 451"/>
                <a:gd name="T26" fmla="*/ 62 w 296"/>
                <a:gd name="T27" fmla="*/ 353 h 451"/>
                <a:gd name="T28" fmla="*/ 234 w 296"/>
                <a:gd name="T29" fmla="*/ 353 h 451"/>
                <a:gd name="T30" fmla="*/ 234 w 296"/>
                <a:gd name="T31" fmla="*/ 369 h 451"/>
                <a:gd name="T32" fmla="*/ 148 w 296"/>
                <a:gd name="T33" fmla="*/ 349 h 451"/>
                <a:gd name="T34" fmla="*/ 148 w 296"/>
                <a:gd name="T35" fmla="*/ 348 h 451"/>
                <a:gd name="T36" fmla="*/ 148 w 296"/>
                <a:gd name="T37" fmla="*/ 348 h 451"/>
                <a:gd name="T38" fmla="*/ 148 w 296"/>
                <a:gd name="T39" fmla="*/ 349 h 451"/>
                <a:gd name="T40" fmla="*/ 234 w 296"/>
                <a:gd name="T41" fmla="*/ 337 h 451"/>
                <a:gd name="T42" fmla="*/ 62 w 296"/>
                <a:gd name="T43" fmla="*/ 337 h 451"/>
                <a:gd name="T44" fmla="*/ 62 w 296"/>
                <a:gd name="T45" fmla="*/ 321 h 451"/>
                <a:gd name="T46" fmla="*/ 234 w 296"/>
                <a:gd name="T47" fmla="*/ 321 h 451"/>
                <a:gd name="T48" fmla="*/ 234 w 296"/>
                <a:gd name="T49" fmla="*/ 337 h 451"/>
                <a:gd name="T50" fmla="*/ 234 w 296"/>
                <a:gd name="T51" fmla="*/ 304 h 451"/>
                <a:gd name="T52" fmla="*/ 62 w 296"/>
                <a:gd name="T53" fmla="*/ 304 h 451"/>
                <a:gd name="T54" fmla="*/ 62 w 296"/>
                <a:gd name="T55" fmla="*/ 288 h 451"/>
                <a:gd name="T56" fmla="*/ 234 w 296"/>
                <a:gd name="T57" fmla="*/ 288 h 451"/>
                <a:gd name="T58" fmla="*/ 234 w 296"/>
                <a:gd name="T59" fmla="*/ 304 h 451"/>
                <a:gd name="T60" fmla="*/ 234 w 296"/>
                <a:gd name="T61" fmla="*/ 272 h 451"/>
                <a:gd name="T62" fmla="*/ 62 w 296"/>
                <a:gd name="T63" fmla="*/ 272 h 451"/>
                <a:gd name="T64" fmla="*/ 62 w 296"/>
                <a:gd name="T65" fmla="*/ 255 h 451"/>
                <a:gd name="T66" fmla="*/ 234 w 296"/>
                <a:gd name="T67" fmla="*/ 255 h 451"/>
                <a:gd name="T68" fmla="*/ 234 w 296"/>
                <a:gd name="T69" fmla="*/ 272 h 451"/>
                <a:gd name="T70" fmla="*/ 234 w 296"/>
                <a:gd name="T71" fmla="*/ 239 h 451"/>
                <a:gd name="T72" fmla="*/ 62 w 296"/>
                <a:gd name="T73" fmla="*/ 239 h 451"/>
                <a:gd name="T74" fmla="*/ 62 w 296"/>
                <a:gd name="T75" fmla="*/ 223 h 451"/>
                <a:gd name="T76" fmla="*/ 234 w 296"/>
                <a:gd name="T77" fmla="*/ 223 h 451"/>
                <a:gd name="T78" fmla="*/ 234 w 296"/>
                <a:gd name="T79" fmla="*/ 239 h 451"/>
                <a:gd name="T80" fmla="*/ 234 w 296"/>
                <a:gd name="T81" fmla="*/ 207 h 451"/>
                <a:gd name="T82" fmla="*/ 62 w 296"/>
                <a:gd name="T83" fmla="*/ 207 h 451"/>
                <a:gd name="T84" fmla="*/ 62 w 296"/>
                <a:gd name="T85" fmla="*/ 190 h 451"/>
                <a:gd name="T86" fmla="*/ 234 w 296"/>
                <a:gd name="T87" fmla="*/ 190 h 451"/>
                <a:gd name="T88" fmla="*/ 234 w 296"/>
                <a:gd name="T89" fmla="*/ 207 h 451"/>
                <a:gd name="T90" fmla="*/ 234 w 296"/>
                <a:gd name="T91" fmla="*/ 174 h 451"/>
                <a:gd name="T92" fmla="*/ 62 w 296"/>
                <a:gd name="T93" fmla="*/ 174 h 451"/>
                <a:gd name="T94" fmla="*/ 62 w 296"/>
                <a:gd name="T95" fmla="*/ 158 h 451"/>
                <a:gd name="T96" fmla="*/ 234 w 296"/>
                <a:gd name="T97" fmla="*/ 158 h 451"/>
                <a:gd name="T98" fmla="*/ 234 w 296"/>
                <a:gd name="T99" fmla="*/ 174 h 451"/>
                <a:gd name="T100" fmla="*/ 234 w 296"/>
                <a:gd name="T101" fmla="*/ 141 h 451"/>
                <a:gd name="T102" fmla="*/ 62 w 296"/>
                <a:gd name="T103" fmla="*/ 141 h 451"/>
                <a:gd name="T104" fmla="*/ 62 w 296"/>
                <a:gd name="T105" fmla="*/ 125 h 451"/>
                <a:gd name="T106" fmla="*/ 234 w 296"/>
                <a:gd name="T107" fmla="*/ 125 h 451"/>
                <a:gd name="T108" fmla="*/ 234 w 296"/>
                <a:gd name="T109" fmla="*/ 14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6" h="451">
                  <a:moveTo>
                    <a:pt x="256" y="400"/>
                  </a:moveTo>
                  <a:lnTo>
                    <a:pt x="256" y="76"/>
                  </a:lnTo>
                  <a:lnTo>
                    <a:pt x="40" y="0"/>
                  </a:lnTo>
                  <a:lnTo>
                    <a:pt x="40" y="400"/>
                  </a:lnTo>
                  <a:lnTo>
                    <a:pt x="0" y="400"/>
                  </a:lnTo>
                  <a:lnTo>
                    <a:pt x="0" y="447"/>
                  </a:lnTo>
                  <a:cubicBezTo>
                    <a:pt x="0" y="449"/>
                    <a:pt x="1" y="450"/>
                    <a:pt x="2" y="451"/>
                  </a:cubicBezTo>
                  <a:lnTo>
                    <a:pt x="295" y="451"/>
                  </a:lnTo>
                  <a:cubicBezTo>
                    <a:pt x="295" y="450"/>
                    <a:pt x="296" y="448"/>
                    <a:pt x="296" y="447"/>
                  </a:cubicBezTo>
                  <a:lnTo>
                    <a:pt x="296" y="400"/>
                  </a:lnTo>
                  <a:lnTo>
                    <a:pt x="256" y="400"/>
                  </a:lnTo>
                  <a:close/>
                  <a:moveTo>
                    <a:pt x="234" y="369"/>
                  </a:moveTo>
                  <a:lnTo>
                    <a:pt x="62" y="369"/>
                  </a:lnTo>
                  <a:lnTo>
                    <a:pt x="62" y="353"/>
                  </a:lnTo>
                  <a:lnTo>
                    <a:pt x="234" y="353"/>
                  </a:lnTo>
                  <a:lnTo>
                    <a:pt x="234" y="369"/>
                  </a:lnTo>
                  <a:close/>
                  <a:moveTo>
                    <a:pt x="148" y="349"/>
                  </a:moveTo>
                  <a:lnTo>
                    <a:pt x="148" y="348"/>
                  </a:lnTo>
                  <a:lnTo>
                    <a:pt x="148" y="348"/>
                  </a:lnTo>
                  <a:lnTo>
                    <a:pt x="148" y="349"/>
                  </a:lnTo>
                  <a:close/>
                  <a:moveTo>
                    <a:pt x="234" y="337"/>
                  </a:moveTo>
                  <a:lnTo>
                    <a:pt x="62" y="337"/>
                  </a:lnTo>
                  <a:lnTo>
                    <a:pt x="62" y="321"/>
                  </a:lnTo>
                  <a:lnTo>
                    <a:pt x="234" y="321"/>
                  </a:lnTo>
                  <a:lnTo>
                    <a:pt x="234" y="337"/>
                  </a:lnTo>
                  <a:close/>
                  <a:moveTo>
                    <a:pt x="234" y="304"/>
                  </a:moveTo>
                  <a:lnTo>
                    <a:pt x="62" y="304"/>
                  </a:lnTo>
                  <a:lnTo>
                    <a:pt x="62" y="288"/>
                  </a:lnTo>
                  <a:lnTo>
                    <a:pt x="234" y="288"/>
                  </a:lnTo>
                  <a:lnTo>
                    <a:pt x="234" y="304"/>
                  </a:lnTo>
                  <a:close/>
                  <a:moveTo>
                    <a:pt x="234" y="272"/>
                  </a:moveTo>
                  <a:lnTo>
                    <a:pt x="62" y="272"/>
                  </a:lnTo>
                  <a:lnTo>
                    <a:pt x="62" y="255"/>
                  </a:lnTo>
                  <a:lnTo>
                    <a:pt x="234" y="255"/>
                  </a:lnTo>
                  <a:lnTo>
                    <a:pt x="234" y="272"/>
                  </a:lnTo>
                  <a:close/>
                  <a:moveTo>
                    <a:pt x="234" y="239"/>
                  </a:moveTo>
                  <a:lnTo>
                    <a:pt x="62" y="239"/>
                  </a:lnTo>
                  <a:lnTo>
                    <a:pt x="62" y="223"/>
                  </a:lnTo>
                  <a:lnTo>
                    <a:pt x="234" y="223"/>
                  </a:lnTo>
                  <a:lnTo>
                    <a:pt x="234" y="239"/>
                  </a:lnTo>
                  <a:close/>
                  <a:moveTo>
                    <a:pt x="234" y="207"/>
                  </a:moveTo>
                  <a:lnTo>
                    <a:pt x="62" y="207"/>
                  </a:lnTo>
                  <a:lnTo>
                    <a:pt x="62" y="190"/>
                  </a:lnTo>
                  <a:lnTo>
                    <a:pt x="234" y="190"/>
                  </a:lnTo>
                  <a:lnTo>
                    <a:pt x="234" y="207"/>
                  </a:lnTo>
                  <a:close/>
                  <a:moveTo>
                    <a:pt x="234" y="174"/>
                  </a:moveTo>
                  <a:lnTo>
                    <a:pt x="62" y="174"/>
                  </a:lnTo>
                  <a:lnTo>
                    <a:pt x="62" y="158"/>
                  </a:lnTo>
                  <a:lnTo>
                    <a:pt x="234" y="158"/>
                  </a:lnTo>
                  <a:lnTo>
                    <a:pt x="234" y="174"/>
                  </a:lnTo>
                  <a:close/>
                  <a:moveTo>
                    <a:pt x="234" y="141"/>
                  </a:moveTo>
                  <a:lnTo>
                    <a:pt x="62" y="141"/>
                  </a:lnTo>
                  <a:lnTo>
                    <a:pt x="62" y="125"/>
                  </a:lnTo>
                  <a:lnTo>
                    <a:pt x="234" y="125"/>
                  </a:lnTo>
                  <a:lnTo>
                    <a:pt x="234" y="14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Building5">
              <a:extLst>
                <a:ext uri="{FF2B5EF4-FFF2-40B4-BE49-F238E27FC236}">
                  <a16:creationId xmlns:a16="http://schemas.microsoft.com/office/drawing/2014/main" id="{E7B10FE8-ECB4-46A5-910E-A9DFDFB339BB}"/>
                </a:ext>
              </a:extLst>
            </p:cNvPr>
            <p:cNvSpPr>
              <a:spLocks/>
            </p:cNvSpPr>
            <p:nvPr>
              <p:custDataLst>
                <p:tags r:id="rId22"/>
              </p:custDataLst>
            </p:nvPr>
          </p:nvSpPr>
          <p:spPr bwMode="auto">
            <a:xfrm>
              <a:off x="9728474" y="4597139"/>
              <a:ext cx="1302" cy="1302"/>
            </a:xfrm>
            <a:custGeom>
              <a:avLst/>
              <a:gdLst>
                <a:gd name="T0" fmla="*/ 3 w 3"/>
                <a:gd name="T1" fmla="*/ 0 h 4"/>
                <a:gd name="T2" fmla="*/ 3 w 3"/>
                <a:gd name="T3" fmla="*/ 4 h 4"/>
                <a:gd name="T4" fmla="*/ 0 w 3"/>
                <a:gd name="T5" fmla="*/ 4 h 4"/>
                <a:gd name="T6" fmla="*/ 3 w 3"/>
                <a:gd name="T7" fmla="*/ 0 h 4"/>
              </a:gdLst>
              <a:ahLst/>
              <a:cxnLst>
                <a:cxn ang="0">
                  <a:pos x="T0" y="T1"/>
                </a:cxn>
                <a:cxn ang="0">
                  <a:pos x="T2" y="T3"/>
                </a:cxn>
                <a:cxn ang="0">
                  <a:pos x="T4" y="T5"/>
                </a:cxn>
                <a:cxn ang="0">
                  <a:pos x="T6" y="T7"/>
                </a:cxn>
              </a:cxnLst>
              <a:rect l="0" t="0" r="r" b="b"/>
              <a:pathLst>
                <a:path w="3" h="4">
                  <a:moveTo>
                    <a:pt x="3" y="0"/>
                  </a:moveTo>
                  <a:lnTo>
                    <a:pt x="3" y="4"/>
                  </a:lnTo>
                  <a:lnTo>
                    <a:pt x="0" y="4"/>
                  </a:lnTo>
                  <a:cubicBezTo>
                    <a:pt x="1" y="2"/>
                    <a:pt x="2" y="1"/>
                    <a:pt x="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 name="Title 2">
            <a:extLst>
              <a:ext uri="{FF2B5EF4-FFF2-40B4-BE49-F238E27FC236}">
                <a16:creationId xmlns:a16="http://schemas.microsoft.com/office/drawing/2014/main" id="{B5C28B91-DC84-4A43-856A-2BCADC684EDB}"/>
              </a:ext>
            </a:extLst>
          </p:cNvPr>
          <p:cNvSpPr>
            <a:spLocks noGrp="1"/>
          </p:cNvSpPr>
          <p:nvPr>
            <p:ph type="title"/>
          </p:nvPr>
        </p:nvSpPr>
        <p:spPr>
          <a:xfrm>
            <a:off x="254541" y="1524860"/>
            <a:ext cx="11460041" cy="504000"/>
          </a:xfrm>
        </p:spPr>
        <p:txBody>
          <a:bodyPr vert="horz"/>
          <a:lstStyle/>
          <a:p>
            <a:r>
              <a:rPr lang="lt-LT" sz="2000" dirty="0">
                <a:solidFill>
                  <a:schemeClr val="tx1">
                    <a:lumMod val="65000"/>
                    <a:lumOff val="35000"/>
                  </a:schemeClr>
                </a:solidFill>
              </a:rPr>
              <a:t>UAB Festo</a:t>
            </a:r>
            <a:r>
              <a:rPr lang="en-US" sz="2000" dirty="0">
                <a:solidFill>
                  <a:schemeClr val="tx1">
                    <a:lumMod val="65000"/>
                    <a:lumOff val="35000"/>
                  </a:schemeClr>
                </a:solidFill>
              </a:rPr>
              <a:t> </a:t>
            </a:r>
            <a:r>
              <a:rPr lang="en-US" sz="2000" dirty="0" err="1">
                <a:solidFill>
                  <a:schemeClr val="tx1">
                    <a:lumMod val="65000"/>
                    <a:lumOff val="35000"/>
                  </a:schemeClr>
                </a:solidFill>
              </a:rPr>
              <a:t>evoliucija</a:t>
            </a:r>
            <a:r>
              <a:rPr lang="lt-LT" sz="2000" dirty="0">
                <a:solidFill>
                  <a:schemeClr val="tx1">
                    <a:lumMod val="65000"/>
                    <a:lumOff val="35000"/>
                  </a:schemeClr>
                </a:solidFill>
              </a:rPr>
              <a:t> </a:t>
            </a:r>
            <a:r>
              <a:rPr lang="en-GB" sz="2000" dirty="0">
                <a:solidFill>
                  <a:schemeClr val="tx1">
                    <a:lumMod val="65000"/>
                    <a:lumOff val="35000"/>
                  </a:schemeClr>
                </a:solidFill>
              </a:rPr>
              <a:t>| </a:t>
            </a:r>
            <a:r>
              <a:rPr lang="lt-LT" sz="2000" dirty="0">
                <a:solidFill>
                  <a:schemeClr val="accent6">
                    <a:lumMod val="60000"/>
                    <a:lumOff val="40000"/>
                  </a:schemeClr>
                </a:solidFill>
              </a:rPr>
              <a:t>Ateities perspektyvos</a:t>
            </a:r>
            <a:endParaRPr lang="en-GB" dirty="0"/>
          </a:p>
        </p:txBody>
      </p:sp>
      <p:sp>
        <p:nvSpPr>
          <p:cNvPr id="170" name="Oval 169">
            <a:extLst>
              <a:ext uri="{FF2B5EF4-FFF2-40B4-BE49-F238E27FC236}">
                <a16:creationId xmlns:a16="http://schemas.microsoft.com/office/drawing/2014/main" id="{26362A74-9A68-4F06-A90B-72BAE3E7E61D}"/>
              </a:ext>
            </a:extLst>
          </p:cNvPr>
          <p:cNvSpPr>
            <a:spLocks noChangeAspect="1"/>
          </p:cNvSpPr>
          <p:nvPr/>
        </p:nvSpPr>
        <p:spPr>
          <a:xfrm>
            <a:off x="8875137" y="4555918"/>
            <a:ext cx="1085679" cy="1085679"/>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171" name="Construction2" descr="{&quot;Key&quot;:&quot;POWER_USER_SHAPE_ICON&quot;,&quot;Value&quot;:&quot;POWER_USER_SHAPE_ICON_STYLE_1&quot;}">
            <a:extLst>
              <a:ext uri="{FF2B5EF4-FFF2-40B4-BE49-F238E27FC236}">
                <a16:creationId xmlns:a16="http://schemas.microsoft.com/office/drawing/2014/main" id="{9861666D-C51B-493B-B6FD-BF8852010EF0}"/>
              </a:ext>
            </a:extLst>
          </p:cNvPr>
          <p:cNvSpPr>
            <a:spLocks noChangeAspect="1" noEditPoints="1"/>
          </p:cNvSpPr>
          <p:nvPr>
            <p:custDataLst>
              <p:tags r:id="rId16"/>
            </p:custDataLst>
          </p:nvPr>
        </p:nvSpPr>
        <p:spPr bwMode="auto">
          <a:xfrm>
            <a:off x="9067449" y="4834217"/>
            <a:ext cx="721355" cy="484314"/>
          </a:xfrm>
          <a:custGeom>
            <a:avLst/>
            <a:gdLst>
              <a:gd name="T0" fmla="*/ 821 w 1127"/>
              <a:gd name="T1" fmla="*/ 408 h 753"/>
              <a:gd name="T2" fmla="*/ 740 w 1127"/>
              <a:gd name="T3" fmla="*/ 424 h 753"/>
              <a:gd name="T4" fmla="*/ 669 w 1127"/>
              <a:gd name="T5" fmla="*/ 526 h 753"/>
              <a:gd name="T6" fmla="*/ 617 w 1127"/>
              <a:gd name="T7" fmla="*/ 512 h 753"/>
              <a:gd name="T8" fmla="*/ 453 w 1127"/>
              <a:gd name="T9" fmla="*/ 482 h 753"/>
              <a:gd name="T10" fmla="*/ 394 w 1127"/>
              <a:gd name="T11" fmla="*/ 355 h 753"/>
              <a:gd name="T12" fmla="*/ 360 w 1127"/>
              <a:gd name="T13" fmla="*/ 169 h 753"/>
              <a:gd name="T14" fmla="*/ 366 w 1127"/>
              <a:gd name="T15" fmla="*/ 141 h 753"/>
              <a:gd name="T16" fmla="*/ 357 w 1127"/>
              <a:gd name="T17" fmla="*/ 0 h 753"/>
              <a:gd name="T18" fmla="*/ 298 w 1127"/>
              <a:gd name="T19" fmla="*/ 109 h 753"/>
              <a:gd name="T20" fmla="*/ 283 w 1127"/>
              <a:gd name="T21" fmla="*/ 138 h 753"/>
              <a:gd name="T22" fmla="*/ 229 w 1127"/>
              <a:gd name="T23" fmla="*/ 140 h 753"/>
              <a:gd name="T24" fmla="*/ 85 w 1127"/>
              <a:gd name="T25" fmla="*/ 223 h 753"/>
              <a:gd name="T26" fmla="*/ 67 w 1127"/>
              <a:gd name="T27" fmla="*/ 333 h 753"/>
              <a:gd name="T28" fmla="*/ 64 w 1127"/>
              <a:gd name="T29" fmla="*/ 355 h 753"/>
              <a:gd name="T30" fmla="*/ 89 w 1127"/>
              <a:gd name="T31" fmla="*/ 371 h 753"/>
              <a:gd name="T32" fmla="*/ 123 w 1127"/>
              <a:gd name="T33" fmla="*/ 363 h 753"/>
              <a:gd name="T34" fmla="*/ 144 w 1127"/>
              <a:gd name="T35" fmla="*/ 367 h 753"/>
              <a:gd name="T36" fmla="*/ 140 w 1127"/>
              <a:gd name="T37" fmla="*/ 528 h 753"/>
              <a:gd name="T38" fmla="*/ 43 w 1127"/>
              <a:gd name="T39" fmla="*/ 684 h 753"/>
              <a:gd name="T40" fmla="*/ 71 w 1127"/>
              <a:gd name="T41" fmla="*/ 708 h 753"/>
              <a:gd name="T42" fmla="*/ 0 w 1127"/>
              <a:gd name="T43" fmla="*/ 718 h 753"/>
              <a:gd name="T44" fmla="*/ 1127 w 1127"/>
              <a:gd name="T45" fmla="*/ 753 h 753"/>
              <a:gd name="T46" fmla="*/ 128 w 1127"/>
              <a:gd name="T47" fmla="*/ 328 h 753"/>
              <a:gd name="T48" fmla="*/ 198 w 1127"/>
              <a:gd name="T49" fmla="*/ 223 h 753"/>
              <a:gd name="T50" fmla="*/ 193 w 1127"/>
              <a:gd name="T51" fmla="*/ 272 h 753"/>
              <a:gd name="T52" fmla="*/ 128 w 1127"/>
              <a:gd name="T53" fmla="*/ 328 h 753"/>
              <a:gd name="T54" fmla="*/ 142 w 1127"/>
              <a:gd name="T55" fmla="*/ 685 h 753"/>
              <a:gd name="T56" fmla="*/ 143 w 1127"/>
              <a:gd name="T57" fmla="*/ 656 h 753"/>
              <a:gd name="T58" fmla="*/ 223 w 1127"/>
              <a:gd name="T59" fmla="*/ 531 h 753"/>
              <a:gd name="T60" fmla="*/ 235 w 1127"/>
              <a:gd name="T61" fmla="*/ 454 h 753"/>
              <a:gd name="T62" fmla="*/ 300 w 1127"/>
              <a:gd name="T63" fmla="*/ 549 h 753"/>
              <a:gd name="T64" fmla="*/ 160 w 1127"/>
              <a:gd name="T65" fmla="*/ 719 h 753"/>
              <a:gd name="T66" fmla="*/ 303 w 1127"/>
              <a:gd name="T67" fmla="*/ 343 h 753"/>
              <a:gd name="T68" fmla="*/ 335 w 1127"/>
              <a:gd name="T69" fmla="*/ 361 h 753"/>
              <a:gd name="T70" fmla="*/ 367 w 1127"/>
              <a:gd name="T71" fmla="*/ 438 h 753"/>
              <a:gd name="T72" fmla="*/ 297 w 1127"/>
              <a:gd name="T73" fmla="*/ 382 h 753"/>
              <a:gd name="T74" fmla="*/ 535 w 1127"/>
              <a:gd name="T75" fmla="*/ 646 h 753"/>
              <a:gd name="T76" fmla="*/ 495 w 1127"/>
              <a:gd name="T77" fmla="*/ 691 h 753"/>
              <a:gd name="T78" fmla="*/ 461 w 1127"/>
              <a:gd name="T79" fmla="*/ 718 h 753"/>
              <a:gd name="T80" fmla="*/ 382 w 1127"/>
              <a:gd name="T81" fmla="*/ 670 h 753"/>
              <a:gd name="T82" fmla="*/ 375 w 1127"/>
              <a:gd name="T83" fmla="*/ 527 h 753"/>
              <a:gd name="T84" fmla="*/ 342 w 1127"/>
              <a:gd name="T85" fmla="*/ 463 h 753"/>
              <a:gd name="T86" fmla="*/ 552 w 1127"/>
              <a:gd name="T87" fmla="*/ 586 h 753"/>
              <a:gd name="T88" fmla="*/ 583 w 1127"/>
              <a:gd name="T89" fmla="*/ 616 h 753"/>
              <a:gd name="T90" fmla="*/ 548 w 1127"/>
              <a:gd name="T91" fmla="*/ 641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7" h="753">
                <a:moveTo>
                  <a:pt x="871" y="399"/>
                </a:moveTo>
                <a:cubicBezTo>
                  <a:pt x="856" y="377"/>
                  <a:pt x="827" y="404"/>
                  <a:pt x="821" y="408"/>
                </a:cubicBezTo>
                <a:cubicBezTo>
                  <a:pt x="814" y="411"/>
                  <a:pt x="818" y="409"/>
                  <a:pt x="792" y="401"/>
                </a:cubicBezTo>
                <a:cubicBezTo>
                  <a:pt x="765" y="394"/>
                  <a:pt x="746" y="411"/>
                  <a:pt x="740" y="424"/>
                </a:cubicBezTo>
                <a:cubicBezTo>
                  <a:pt x="734" y="437"/>
                  <a:pt x="697" y="511"/>
                  <a:pt x="691" y="523"/>
                </a:cubicBezTo>
                <a:cubicBezTo>
                  <a:pt x="684" y="534"/>
                  <a:pt x="669" y="526"/>
                  <a:pt x="669" y="526"/>
                </a:cubicBezTo>
                <a:cubicBezTo>
                  <a:pt x="669" y="526"/>
                  <a:pt x="643" y="511"/>
                  <a:pt x="634" y="507"/>
                </a:cubicBezTo>
                <a:cubicBezTo>
                  <a:pt x="624" y="504"/>
                  <a:pt x="617" y="512"/>
                  <a:pt x="617" y="512"/>
                </a:cubicBezTo>
                <a:lnTo>
                  <a:pt x="586" y="545"/>
                </a:lnTo>
                <a:cubicBezTo>
                  <a:pt x="586" y="545"/>
                  <a:pt x="466" y="489"/>
                  <a:pt x="453" y="482"/>
                </a:cubicBezTo>
                <a:cubicBezTo>
                  <a:pt x="440" y="474"/>
                  <a:pt x="410" y="398"/>
                  <a:pt x="401" y="382"/>
                </a:cubicBezTo>
                <a:cubicBezTo>
                  <a:pt x="392" y="367"/>
                  <a:pt x="394" y="355"/>
                  <a:pt x="394" y="355"/>
                </a:cubicBezTo>
                <a:cubicBezTo>
                  <a:pt x="394" y="355"/>
                  <a:pt x="392" y="322"/>
                  <a:pt x="391" y="262"/>
                </a:cubicBezTo>
                <a:cubicBezTo>
                  <a:pt x="391" y="203"/>
                  <a:pt x="365" y="177"/>
                  <a:pt x="360" y="169"/>
                </a:cubicBezTo>
                <a:cubicBezTo>
                  <a:pt x="355" y="161"/>
                  <a:pt x="360" y="154"/>
                  <a:pt x="360" y="154"/>
                </a:cubicBezTo>
                <a:lnTo>
                  <a:pt x="366" y="141"/>
                </a:lnTo>
                <a:cubicBezTo>
                  <a:pt x="401" y="136"/>
                  <a:pt x="428" y="107"/>
                  <a:pt x="428" y="70"/>
                </a:cubicBezTo>
                <a:cubicBezTo>
                  <a:pt x="428" y="31"/>
                  <a:pt x="396" y="0"/>
                  <a:pt x="357" y="0"/>
                </a:cubicBezTo>
                <a:cubicBezTo>
                  <a:pt x="318" y="0"/>
                  <a:pt x="287" y="31"/>
                  <a:pt x="287" y="70"/>
                </a:cubicBezTo>
                <a:cubicBezTo>
                  <a:pt x="287" y="85"/>
                  <a:pt x="291" y="98"/>
                  <a:pt x="298" y="109"/>
                </a:cubicBezTo>
                <a:cubicBezTo>
                  <a:pt x="297" y="112"/>
                  <a:pt x="297" y="118"/>
                  <a:pt x="296" y="124"/>
                </a:cubicBezTo>
                <a:cubicBezTo>
                  <a:pt x="296" y="135"/>
                  <a:pt x="283" y="138"/>
                  <a:pt x="283" y="138"/>
                </a:cubicBezTo>
                <a:cubicBezTo>
                  <a:pt x="283" y="138"/>
                  <a:pt x="252" y="137"/>
                  <a:pt x="245" y="137"/>
                </a:cubicBezTo>
                <a:cubicBezTo>
                  <a:pt x="237" y="137"/>
                  <a:pt x="229" y="140"/>
                  <a:pt x="229" y="140"/>
                </a:cubicBezTo>
                <a:cubicBezTo>
                  <a:pt x="229" y="140"/>
                  <a:pt x="110" y="200"/>
                  <a:pt x="97" y="207"/>
                </a:cubicBezTo>
                <a:cubicBezTo>
                  <a:pt x="84" y="213"/>
                  <a:pt x="85" y="223"/>
                  <a:pt x="85" y="223"/>
                </a:cubicBezTo>
                <a:lnTo>
                  <a:pt x="76" y="327"/>
                </a:lnTo>
                <a:cubicBezTo>
                  <a:pt x="76" y="327"/>
                  <a:pt x="70" y="331"/>
                  <a:pt x="67" y="333"/>
                </a:cubicBezTo>
                <a:cubicBezTo>
                  <a:pt x="64" y="335"/>
                  <a:pt x="64" y="339"/>
                  <a:pt x="64" y="339"/>
                </a:cubicBezTo>
                <a:lnTo>
                  <a:pt x="64" y="355"/>
                </a:lnTo>
                <a:cubicBezTo>
                  <a:pt x="64" y="360"/>
                  <a:pt x="71" y="362"/>
                  <a:pt x="71" y="362"/>
                </a:cubicBezTo>
                <a:cubicBezTo>
                  <a:pt x="71" y="362"/>
                  <a:pt x="84" y="368"/>
                  <a:pt x="89" y="371"/>
                </a:cubicBezTo>
                <a:cubicBezTo>
                  <a:pt x="95" y="374"/>
                  <a:pt x="97" y="371"/>
                  <a:pt x="97" y="371"/>
                </a:cubicBezTo>
                <a:cubicBezTo>
                  <a:pt x="97" y="371"/>
                  <a:pt x="118" y="365"/>
                  <a:pt x="123" y="363"/>
                </a:cubicBezTo>
                <a:cubicBezTo>
                  <a:pt x="127" y="360"/>
                  <a:pt x="131" y="360"/>
                  <a:pt x="131" y="360"/>
                </a:cubicBezTo>
                <a:lnTo>
                  <a:pt x="144" y="367"/>
                </a:lnTo>
                <a:cubicBezTo>
                  <a:pt x="144" y="367"/>
                  <a:pt x="147" y="491"/>
                  <a:pt x="147" y="506"/>
                </a:cubicBezTo>
                <a:cubicBezTo>
                  <a:pt x="147" y="520"/>
                  <a:pt x="140" y="528"/>
                  <a:pt x="140" y="528"/>
                </a:cubicBezTo>
                <a:cubicBezTo>
                  <a:pt x="140" y="528"/>
                  <a:pt x="51" y="650"/>
                  <a:pt x="41" y="663"/>
                </a:cubicBezTo>
                <a:cubicBezTo>
                  <a:pt x="32" y="676"/>
                  <a:pt x="43" y="684"/>
                  <a:pt x="43" y="684"/>
                </a:cubicBezTo>
                <a:lnTo>
                  <a:pt x="59" y="694"/>
                </a:lnTo>
                <a:cubicBezTo>
                  <a:pt x="59" y="694"/>
                  <a:pt x="71" y="701"/>
                  <a:pt x="71" y="708"/>
                </a:cubicBezTo>
                <a:cubicBezTo>
                  <a:pt x="71" y="715"/>
                  <a:pt x="61" y="718"/>
                  <a:pt x="61" y="718"/>
                </a:cubicBezTo>
                <a:lnTo>
                  <a:pt x="0" y="718"/>
                </a:lnTo>
                <a:lnTo>
                  <a:pt x="0" y="751"/>
                </a:lnTo>
                <a:lnTo>
                  <a:pt x="1127" y="753"/>
                </a:lnTo>
                <a:lnTo>
                  <a:pt x="871" y="399"/>
                </a:lnTo>
                <a:close/>
                <a:moveTo>
                  <a:pt x="128" y="328"/>
                </a:moveTo>
                <a:cubicBezTo>
                  <a:pt x="127" y="324"/>
                  <a:pt x="134" y="255"/>
                  <a:pt x="134" y="255"/>
                </a:cubicBezTo>
                <a:lnTo>
                  <a:pt x="198" y="223"/>
                </a:lnTo>
                <a:cubicBezTo>
                  <a:pt x="198" y="223"/>
                  <a:pt x="205" y="218"/>
                  <a:pt x="204" y="227"/>
                </a:cubicBezTo>
                <a:cubicBezTo>
                  <a:pt x="204" y="236"/>
                  <a:pt x="193" y="272"/>
                  <a:pt x="193" y="272"/>
                </a:cubicBezTo>
                <a:lnTo>
                  <a:pt x="158" y="343"/>
                </a:lnTo>
                <a:cubicBezTo>
                  <a:pt x="158" y="343"/>
                  <a:pt x="130" y="332"/>
                  <a:pt x="128" y="328"/>
                </a:cubicBezTo>
                <a:close/>
                <a:moveTo>
                  <a:pt x="160" y="719"/>
                </a:moveTo>
                <a:lnTo>
                  <a:pt x="142" y="685"/>
                </a:lnTo>
                <a:cubicBezTo>
                  <a:pt x="142" y="685"/>
                  <a:pt x="139" y="676"/>
                  <a:pt x="139" y="670"/>
                </a:cubicBezTo>
                <a:cubicBezTo>
                  <a:pt x="139" y="665"/>
                  <a:pt x="143" y="656"/>
                  <a:pt x="143" y="656"/>
                </a:cubicBezTo>
                <a:lnTo>
                  <a:pt x="216" y="550"/>
                </a:lnTo>
                <a:cubicBezTo>
                  <a:pt x="216" y="550"/>
                  <a:pt x="221" y="541"/>
                  <a:pt x="223" y="531"/>
                </a:cubicBezTo>
                <a:cubicBezTo>
                  <a:pt x="224" y="521"/>
                  <a:pt x="231" y="453"/>
                  <a:pt x="231" y="453"/>
                </a:cubicBezTo>
                <a:cubicBezTo>
                  <a:pt x="231" y="453"/>
                  <a:pt x="233" y="452"/>
                  <a:pt x="235" y="454"/>
                </a:cubicBezTo>
                <a:cubicBezTo>
                  <a:pt x="238" y="457"/>
                  <a:pt x="295" y="533"/>
                  <a:pt x="295" y="533"/>
                </a:cubicBezTo>
                <a:cubicBezTo>
                  <a:pt x="295" y="533"/>
                  <a:pt x="300" y="543"/>
                  <a:pt x="300" y="549"/>
                </a:cubicBezTo>
                <a:cubicBezTo>
                  <a:pt x="300" y="554"/>
                  <a:pt x="302" y="718"/>
                  <a:pt x="302" y="718"/>
                </a:cubicBezTo>
                <a:lnTo>
                  <a:pt x="160" y="719"/>
                </a:lnTo>
                <a:close/>
                <a:moveTo>
                  <a:pt x="297" y="382"/>
                </a:moveTo>
                <a:cubicBezTo>
                  <a:pt x="297" y="368"/>
                  <a:pt x="296" y="353"/>
                  <a:pt x="303" y="343"/>
                </a:cubicBezTo>
                <a:cubicBezTo>
                  <a:pt x="311" y="333"/>
                  <a:pt x="333" y="308"/>
                  <a:pt x="333" y="308"/>
                </a:cubicBezTo>
                <a:lnTo>
                  <a:pt x="335" y="361"/>
                </a:lnTo>
                <a:cubicBezTo>
                  <a:pt x="335" y="361"/>
                  <a:pt x="335" y="375"/>
                  <a:pt x="340" y="386"/>
                </a:cubicBezTo>
                <a:cubicBezTo>
                  <a:pt x="345" y="396"/>
                  <a:pt x="367" y="438"/>
                  <a:pt x="367" y="438"/>
                </a:cubicBezTo>
                <a:lnTo>
                  <a:pt x="314" y="415"/>
                </a:lnTo>
                <a:cubicBezTo>
                  <a:pt x="314" y="415"/>
                  <a:pt x="297" y="396"/>
                  <a:pt x="297" y="382"/>
                </a:cubicBezTo>
                <a:close/>
                <a:moveTo>
                  <a:pt x="548" y="641"/>
                </a:moveTo>
                <a:cubicBezTo>
                  <a:pt x="548" y="641"/>
                  <a:pt x="540" y="644"/>
                  <a:pt x="535" y="646"/>
                </a:cubicBezTo>
                <a:cubicBezTo>
                  <a:pt x="530" y="648"/>
                  <a:pt x="518" y="650"/>
                  <a:pt x="513" y="665"/>
                </a:cubicBezTo>
                <a:cubicBezTo>
                  <a:pt x="509" y="679"/>
                  <a:pt x="506" y="689"/>
                  <a:pt x="495" y="691"/>
                </a:cubicBezTo>
                <a:cubicBezTo>
                  <a:pt x="485" y="693"/>
                  <a:pt x="483" y="695"/>
                  <a:pt x="476" y="702"/>
                </a:cubicBezTo>
                <a:cubicBezTo>
                  <a:pt x="469" y="709"/>
                  <a:pt x="467" y="717"/>
                  <a:pt x="461" y="718"/>
                </a:cubicBezTo>
                <a:cubicBezTo>
                  <a:pt x="455" y="719"/>
                  <a:pt x="413" y="719"/>
                  <a:pt x="413" y="719"/>
                </a:cubicBezTo>
                <a:lnTo>
                  <a:pt x="382" y="670"/>
                </a:lnTo>
                <a:cubicBezTo>
                  <a:pt x="382" y="670"/>
                  <a:pt x="379" y="663"/>
                  <a:pt x="379" y="656"/>
                </a:cubicBezTo>
                <a:cubicBezTo>
                  <a:pt x="379" y="649"/>
                  <a:pt x="375" y="527"/>
                  <a:pt x="375" y="527"/>
                </a:cubicBezTo>
                <a:cubicBezTo>
                  <a:pt x="375" y="527"/>
                  <a:pt x="374" y="517"/>
                  <a:pt x="369" y="509"/>
                </a:cubicBezTo>
                <a:cubicBezTo>
                  <a:pt x="365" y="502"/>
                  <a:pt x="342" y="463"/>
                  <a:pt x="342" y="463"/>
                </a:cubicBezTo>
                <a:lnTo>
                  <a:pt x="564" y="571"/>
                </a:lnTo>
                <a:lnTo>
                  <a:pt x="552" y="586"/>
                </a:lnTo>
                <a:cubicBezTo>
                  <a:pt x="552" y="586"/>
                  <a:pt x="542" y="598"/>
                  <a:pt x="554" y="603"/>
                </a:cubicBezTo>
                <a:cubicBezTo>
                  <a:pt x="565" y="608"/>
                  <a:pt x="583" y="616"/>
                  <a:pt x="583" y="616"/>
                </a:cubicBezTo>
                <a:lnTo>
                  <a:pt x="584" y="621"/>
                </a:lnTo>
                <a:lnTo>
                  <a:pt x="548" y="641"/>
                </a:lnTo>
                <a:close/>
              </a:path>
            </a:pathLst>
          </a:custGeom>
          <a:solidFill>
            <a:schemeClr val="bg1"/>
          </a:solidFill>
          <a:ln w="0">
            <a:noFill/>
            <a:prstDash val="solid"/>
            <a:round/>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191" name="TextBox 190">
            <a:extLst>
              <a:ext uri="{FF2B5EF4-FFF2-40B4-BE49-F238E27FC236}">
                <a16:creationId xmlns:a16="http://schemas.microsoft.com/office/drawing/2014/main" id="{B3F1F015-8036-4024-8D97-7A588898A0EB}"/>
              </a:ext>
            </a:extLst>
          </p:cNvPr>
          <p:cNvSpPr txBox="1"/>
          <p:nvPr/>
        </p:nvSpPr>
        <p:spPr>
          <a:xfrm>
            <a:off x="9604062" y="5109016"/>
            <a:ext cx="1997064" cy="1126462"/>
          </a:xfrm>
          <a:prstGeom prst="rect">
            <a:avLst/>
          </a:prstGeom>
          <a:noFill/>
        </p:spPr>
        <p:txBody>
          <a:bodyPr wrap="square" rtlCol="0">
            <a:spAutoFit/>
          </a:bodyPr>
          <a:lstStyle/>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600" b="1" i="0" u="none" strike="noStrike" kern="1200" cap="none" spc="0" normalizeH="0" baseline="0" noProof="0" dirty="0">
                <a:ln>
                  <a:noFill/>
                </a:ln>
                <a:solidFill>
                  <a:srgbClr val="0091DC"/>
                </a:solidFill>
                <a:effectLst/>
                <a:uLnTx/>
                <a:uFillTx/>
                <a:latin typeface="MetaPlusLF"/>
                <a:ea typeface="+mn-ea"/>
              </a:rPr>
              <a:t>20</a:t>
            </a:r>
            <a:r>
              <a:rPr kumimoji="0" lang="en-US" sz="1600" b="1" i="0" u="none" strike="noStrike" kern="1200" cap="none" spc="0" normalizeH="0" baseline="0" noProof="0" dirty="0">
                <a:ln>
                  <a:noFill/>
                </a:ln>
                <a:solidFill>
                  <a:srgbClr val="0091DC"/>
                </a:solidFill>
                <a:effectLst/>
                <a:uLnTx/>
                <a:uFillTx/>
                <a:latin typeface="MetaPlusLF"/>
                <a:ea typeface="+mn-ea"/>
              </a:rPr>
              <a:t>21</a:t>
            </a:r>
            <a:r>
              <a:rPr kumimoji="0" lang="en-GB" sz="1600" b="1" i="0" u="none" strike="noStrike" kern="1200" cap="none" spc="0" normalizeH="0" baseline="0" noProof="0" dirty="0">
                <a:ln>
                  <a:noFill/>
                </a:ln>
                <a:solidFill>
                  <a:srgbClr val="0091DC"/>
                </a:solidFill>
                <a:effectLst/>
                <a:uLnTx/>
                <a:uFillTx/>
                <a:latin typeface="MetaPlusLF"/>
                <a:ea typeface="+mn-ea"/>
              </a:rPr>
              <a:t> </a:t>
            </a:r>
          </a:p>
          <a:p>
            <a:pPr marL="0" marR="0" lvl="0" indent="0" algn="ctr" defTabSz="914439" rtl="0" eaLnBrk="1" fontAlgn="base" latinLnBrk="0" hangingPunct="1">
              <a:lnSpc>
                <a:spcPct val="100000"/>
              </a:lnSpc>
              <a:spcBef>
                <a:spcPct val="20000"/>
              </a:spcBef>
              <a:spcAft>
                <a:spcPct val="0"/>
              </a:spcAft>
              <a:buClrTx/>
              <a:buSzTx/>
              <a:buFontTx/>
              <a:buNone/>
              <a:tabLst/>
              <a:defRPr/>
            </a:pPr>
            <a:r>
              <a:rPr lang="en-GB" sz="1600" dirty="0">
                <a:latin typeface="MetaPlusLF"/>
              </a:rPr>
              <a:t>The SSC moving towards Competence </a:t>
            </a:r>
            <a:r>
              <a:rPr lang="en-GB" sz="1600" dirty="0" err="1">
                <a:latin typeface="MetaPlusLF"/>
              </a:rPr>
              <a:t>Center</a:t>
            </a:r>
            <a:endParaRPr kumimoji="0" lang="en-GB" sz="1600" i="0" u="none" strike="noStrike" kern="1200" cap="none" spc="0" normalizeH="0" baseline="0" noProof="0" dirty="0">
              <a:ln>
                <a:noFill/>
              </a:ln>
              <a:effectLst/>
              <a:uLnTx/>
              <a:uFillTx/>
              <a:latin typeface="MetaPlusLF"/>
            </a:endParaRPr>
          </a:p>
        </p:txBody>
      </p:sp>
      <p:sp>
        <p:nvSpPr>
          <p:cNvPr id="180" name="Oval 179">
            <a:extLst>
              <a:ext uri="{FF2B5EF4-FFF2-40B4-BE49-F238E27FC236}">
                <a16:creationId xmlns:a16="http://schemas.microsoft.com/office/drawing/2014/main" id="{93A86758-53C3-41AC-9145-7E876FB33288}"/>
              </a:ext>
            </a:extLst>
          </p:cNvPr>
          <p:cNvSpPr>
            <a:spLocks noChangeAspect="1"/>
          </p:cNvSpPr>
          <p:nvPr/>
        </p:nvSpPr>
        <p:spPr>
          <a:xfrm>
            <a:off x="8969348" y="4645121"/>
            <a:ext cx="897255" cy="897255"/>
          </a:xfrm>
          <a:prstGeom prst="ellipse">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pic>
        <p:nvPicPr>
          <p:cNvPr id="31752" name="Picture 8" descr="See the source image">
            <a:extLst>
              <a:ext uri="{FF2B5EF4-FFF2-40B4-BE49-F238E27FC236}">
                <a16:creationId xmlns:a16="http://schemas.microsoft.com/office/drawing/2014/main" id="{E300E295-40AE-47E2-9C10-068D94025992}"/>
              </a:ext>
            </a:extLst>
          </p:cNvPr>
          <p:cNvPicPr>
            <a:picLocks noChangeAspect="1" noChangeArrowheads="1"/>
          </p:cNvPicPr>
          <p:nvPr/>
        </p:nvPicPr>
        <p:blipFill>
          <a:blip r:embed="rId37" cstate="print">
            <a:extLst>
              <a:ext uri="{BEBA8EAE-BF5A-486C-A8C5-ECC9F3942E4B}">
                <a14:imgProps xmlns:a14="http://schemas.microsoft.com/office/drawing/2010/main">
                  <a14:imgLayer r:embed="rId38">
                    <a14:imgEffect>
                      <a14:colorTemperature colorTemp="4700"/>
                    </a14:imgEffect>
                    <a14:imgEffect>
                      <a14:brightnessContrast bright="100000" contrast="-30000"/>
                    </a14:imgEffect>
                  </a14:imgLayer>
                </a14:imgProps>
              </a:ext>
              <a:ext uri="{28A0092B-C50C-407E-A947-70E740481C1C}">
                <a14:useLocalDpi xmlns:a14="http://schemas.microsoft.com/office/drawing/2010/main" val="0"/>
              </a:ext>
            </a:extLst>
          </a:blip>
          <a:srcRect/>
          <a:stretch>
            <a:fillRect/>
          </a:stretch>
        </p:blipFill>
        <p:spPr bwMode="auto">
          <a:xfrm>
            <a:off x="9064215" y="4747815"/>
            <a:ext cx="733262" cy="733262"/>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63088D0F-6ACE-4AA4-8667-0F2392CB8BE8}"/>
              </a:ext>
            </a:extLst>
          </p:cNvPr>
          <p:cNvGrpSpPr/>
          <p:nvPr/>
        </p:nvGrpSpPr>
        <p:grpSpPr>
          <a:xfrm>
            <a:off x="8866577" y="4495973"/>
            <a:ext cx="2769641" cy="1775232"/>
            <a:chOff x="8866577" y="4495973"/>
            <a:chExt cx="2769641" cy="1478961"/>
          </a:xfrm>
        </p:grpSpPr>
        <p:sp>
          <p:nvSpPr>
            <p:cNvPr id="172" name="Rectangle 171">
              <a:extLst>
                <a:ext uri="{FF2B5EF4-FFF2-40B4-BE49-F238E27FC236}">
                  <a16:creationId xmlns:a16="http://schemas.microsoft.com/office/drawing/2014/main" id="{6BFFEBB8-2987-45A4-AECC-7A08924D97DC}"/>
                </a:ext>
              </a:extLst>
            </p:cNvPr>
            <p:cNvSpPr/>
            <p:nvPr/>
          </p:nvSpPr>
          <p:spPr>
            <a:xfrm>
              <a:off x="8866577" y="4495973"/>
              <a:ext cx="2769641" cy="1478961"/>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lt-LT"/>
            </a:p>
          </p:txBody>
        </p:sp>
        <p:sp>
          <p:nvSpPr>
            <p:cNvPr id="185" name="TextBox 184">
              <a:extLst>
                <a:ext uri="{FF2B5EF4-FFF2-40B4-BE49-F238E27FC236}">
                  <a16:creationId xmlns:a16="http://schemas.microsoft.com/office/drawing/2014/main" id="{BD238F84-BA23-40AF-B310-11EA0A5A7375}"/>
                </a:ext>
              </a:extLst>
            </p:cNvPr>
            <p:cNvSpPr txBox="1"/>
            <p:nvPr/>
          </p:nvSpPr>
          <p:spPr>
            <a:xfrm>
              <a:off x="10402402" y="4668321"/>
              <a:ext cx="933955" cy="338554"/>
            </a:xfrm>
            <a:prstGeom prst="rect">
              <a:avLst/>
            </a:prstGeom>
            <a:noFill/>
          </p:spPr>
          <p:txBody>
            <a:bodyPr wrap="square" rtlCol="0">
              <a:spAutoFit/>
            </a:bodyPr>
            <a:lstStyle/>
            <a:p>
              <a:r>
                <a:rPr lang="lt-LT" sz="1600" b="1" dirty="0">
                  <a:solidFill>
                    <a:srgbClr val="00B050"/>
                  </a:solidFill>
                  <a:latin typeface="+mn-lt"/>
                </a:rPr>
                <a:t>460</a:t>
              </a:r>
              <a:endParaRPr lang="en-US" sz="1600" b="1" dirty="0">
                <a:solidFill>
                  <a:srgbClr val="00B050"/>
                </a:solidFill>
                <a:latin typeface="+mn-lt"/>
              </a:endParaRPr>
            </a:p>
          </p:txBody>
        </p:sp>
        <p:pic>
          <p:nvPicPr>
            <p:cNvPr id="187" name="Graphic 186" descr="Man with solid fill">
              <a:extLst>
                <a:ext uri="{FF2B5EF4-FFF2-40B4-BE49-F238E27FC236}">
                  <a16:creationId xmlns:a16="http://schemas.microsoft.com/office/drawing/2014/main" id="{8BC8F790-720D-4576-AE4F-95884EE05626}"/>
                </a:ext>
              </a:extLst>
            </p:cNvPr>
            <p:cNvPicPr>
              <a:picLocks noChangeAspect="1"/>
            </p:cNvPicPr>
            <p:nvPr/>
          </p:nvPicPr>
          <p:blipFill>
            <a:blip r:embed="rId39" cstate="print">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10816185" y="4688300"/>
              <a:ext cx="353172" cy="353172"/>
            </a:xfrm>
            <a:prstGeom prst="rect">
              <a:avLst/>
            </a:prstGeom>
          </p:spPr>
        </p:pic>
      </p:grpSp>
    </p:spTree>
    <p:extLst>
      <p:ext uri="{BB962C8B-B14F-4D97-AF65-F5344CB8AC3E}">
        <p14:creationId xmlns:p14="http://schemas.microsoft.com/office/powerpoint/2010/main" val="19070782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0A446F0-5F96-4807-B160-012C4A7BB086}"/>
              </a:ext>
            </a:extLst>
          </p:cNvPr>
          <p:cNvSpPr>
            <a:spLocks noGrp="1"/>
          </p:cNvSpPr>
          <p:nvPr>
            <p:ph type="sldNum" sz="quarter" idx="4"/>
          </p:nvPr>
        </p:nvSpPr>
        <p:spPr/>
        <p:txBody>
          <a:bodyPr/>
          <a:lstStyle/>
          <a:p>
            <a:fld id="{EA182149-5FEE-46AB-9490-B3CD4011A729}" type="slidenum">
              <a:rPr lang="en-GB" smtClean="0"/>
              <a:pPr/>
              <a:t>15</a:t>
            </a:fld>
            <a:endParaRPr lang="en-GB" dirty="0"/>
          </a:p>
        </p:txBody>
      </p:sp>
      <p:sp>
        <p:nvSpPr>
          <p:cNvPr id="7" name="Title 1">
            <a:extLst>
              <a:ext uri="{FF2B5EF4-FFF2-40B4-BE49-F238E27FC236}">
                <a16:creationId xmlns:a16="http://schemas.microsoft.com/office/drawing/2014/main" id="{281CA35F-0041-4FE7-9B5D-055290BD1955}"/>
              </a:ext>
            </a:extLst>
          </p:cNvPr>
          <p:cNvSpPr txBox="1">
            <a:spLocks/>
          </p:cNvSpPr>
          <p:nvPr/>
        </p:nvSpPr>
        <p:spPr>
          <a:xfrm>
            <a:off x="223536" y="1423070"/>
            <a:ext cx="11301413" cy="354013"/>
          </a:xfrm>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pPr>
              <a:buClr>
                <a:schemeClr val="accent6">
                  <a:lumMod val="60000"/>
                  <a:lumOff val="40000"/>
                </a:schemeClr>
              </a:buClr>
            </a:pPr>
            <a:r>
              <a:rPr lang="lt-LT" sz="2400" dirty="0">
                <a:solidFill>
                  <a:schemeClr val="accent3">
                    <a:lumMod val="75000"/>
                  </a:schemeClr>
                </a:solidFill>
              </a:rPr>
              <a:t>Finansų ir apskaitos paslaugų centras </a:t>
            </a:r>
            <a:r>
              <a:rPr lang="en-GB" sz="2400" dirty="0"/>
              <a:t>| </a:t>
            </a:r>
            <a:r>
              <a:rPr lang="lt-LT" sz="2400" dirty="0">
                <a:solidFill>
                  <a:schemeClr val="accent6">
                    <a:lumMod val="60000"/>
                    <a:lumOff val="40000"/>
                  </a:schemeClr>
                </a:solidFill>
              </a:rPr>
              <a:t>Globalus FSSC kompetencijų centras</a:t>
            </a:r>
            <a:br>
              <a:rPr lang="lt-LT" sz="2400" dirty="0">
                <a:solidFill>
                  <a:schemeClr val="accent3">
                    <a:lumMod val="75000"/>
                  </a:schemeClr>
                </a:solidFill>
              </a:rPr>
            </a:br>
            <a:endParaRPr lang="lt-LT" sz="2400" dirty="0">
              <a:solidFill>
                <a:schemeClr val="accent3">
                  <a:lumMod val="75000"/>
                </a:schemeClr>
              </a:solidFill>
            </a:endParaRPr>
          </a:p>
        </p:txBody>
      </p:sp>
      <p:sp>
        <p:nvSpPr>
          <p:cNvPr id="4" name="Content Placeholder 3">
            <a:extLst>
              <a:ext uri="{FF2B5EF4-FFF2-40B4-BE49-F238E27FC236}">
                <a16:creationId xmlns:a16="http://schemas.microsoft.com/office/drawing/2014/main" id="{CF9A2F3E-CEDB-4156-BB2E-5A5F4863AA1C}"/>
              </a:ext>
            </a:extLst>
          </p:cNvPr>
          <p:cNvSpPr>
            <a:spLocks noGrp="1"/>
          </p:cNvSpPr>
          <p:nvPr>
            <p:ph sz="quarter" idx="15"/>
          </p:nvPr>
        </p:nvSpPr>
        <p:spPr/>
        <p:txBody>
          <a:bodyPr/>
          <a:lstStyle/>
          <a:p>
            <a:pPr lvl="0"/>
            <a:endParaRPr lang="lt-LT" dirty="0"/>
          </a:p>
          <a:p>
            <a:pPr lvl="0"/>
            <a:endParaRPr lang="lt-LT" dirty="0"/>
          </a:p>
          <a:p>
            <a:pPr lvl="0"/>
            <a:endParaRPr lang="lt-LT" dirty="0"/>
          </a:p>
          <a:p>
            <a:endParaRPr lang="en-US" dirty="0"/>
          </a:p>
        </p:txBody>
      </p:sp>
      <p:sp>
        <p:nvSpPr>
          <p:cNvPr id="45" name="Slide Number Placeholder 16">
            <a:extLst>
              <a:ext uri="{FF2B5EF4-FFF2-40B4-BE49-F238E27FC236}">
                <a16:creationId xmlns:a16="http://schemas.microsoft.com/office/drawing/2014/main" id="{871AB805-93A2-46CF-8FB2-A2EB2489B5B6}"/>
              </a:ext>
            </a:extLst>
          </p:cNvPr>
          <p:cNvSpPr txBox="1">
            <a:spLocks/>
          </p:cNvSpPr>
          <p:nvPr/>
        </p:nvSpPr>
        <p:spPr>
          <a:xfrm>
            <a:off x="10775236" y="6640509"/>
            <a:ext cx="1170344" cy="205452"/>
          </a:xfrm>
          <a:prstGeom prst="rect">
            <a:avLst/>
          </a:prstGeom>
        </p:spPr>
        <p:txBody>
          <a:bodyPr vert="horz" wrap="none" lIns="0" tIns="0" rIns="0" bIns="0" rtlCol="0" anchor="ctr"/>
          <a:lstStyle>
            <a:defPPr>
              <a:defRPr lang="en-US"/>
            </a:defPPr>
            <a:lvl1pPr algn="r" rtl="0" fontAlgn="base">
              <a:spcBef>
                <a:spcPct val="0"/>
              </a:spcBef>
              <a:spcAft>
                <a:spcPct val="0"/>
              </a:spcAft>
              <a:defRPr sz="700" kern="1200">
                <a:solidFill>
                  <a:schemeClr val="tx1"/>
                </a:solidFill>
                <a:latin typeface="MetaPlusLF" panose="02000503060000020004" pitchFamily="2" charset="-70"/>
                <a:ea typeface="+mn-ea"/>
                <a:cs typeface="MetaPlusLF" charset="0"/>
              </a:defRPr>
            </a:lvl1pPr>
            <a:lvl2pPr marL="457200" algn="l" rtl="0" fontAlgn="base">
              <a:spcBef>
                <a:spcPct val="0"/>
              </a:spcBef>
              <a:spcAft>
                <a:spcPct val="0"/>
              </a:spcAft>
              <a:defRPr kern="1200">
                <a:solidFill>
                  <a:schemeClr val="tx1"/>
                </a:solidFill>
                <a:latin typeface="MetaPlusLF" charset="0"/>
                <a:ea typeface="+mn-ea"/>
                <a:cs typeface="MetaPlusLF" charset="0"/>
              </a:defRPr>
            </a:lvl2pPr>
            <a:lvl3pPr marL="914400" algn="l" rtl="0" fontAlgn="base">
              <a:spcBef>
                <a:spcPct val="0"/>
              </a:spcBef>
              <a:spcAft>
                <a:spcPct val="0"/>
              </a:spcAft>
              <a:defRPr kern="1200">
                <a:solidFill>
                  <a:schemeClr val="tx1"/>
                </a:solidFill>
                <a:latin typeface="MetaPlusLF" charset="0"/>
                <a:ea typeface="+mn-ea"/>
                <a:cs typeface="MetaPlusLF" charset="0"/>
              </a:defRPr>
            </a:lvl3pPr>
            <a:lvl4pPr marL="1371600" algn="l" rtl="0" fontAlgn="base">
              <a:spcBef>
                <a:spcPct val="0"/>
              </a:spcBef>
              <a:spcAft>
                <a:spcPct val="0"/>
              </a:spcAft>
              <a:defRPr kern="1200">
                <a:solidFill>
                  <a:schemeClr val="tx1"/>
                </a:solidFill>
                <a:latin typeface="MetaPlusLF" charset="0"/>
                <a:ea typeface="+mn-ea"/>
                <a:cs typeface="MetaPlusLF" charset="0"/>
              </a:defRPr>
            </a:lvl4pPr>
            <a:lvl5pPr marL="1828800" algn="l" rtl="0" fontAlgn="base">
              <a:spcBef>
                <a:spcPct val="0"/>
              </a:spcBef>
              <a:spcAft>
                <a:spcPct val="0"/>
              </a:spcAft>
              <a:defRPr kern="1200">
                <a:solidFill>
                  <a:schemeClr val="tx1"/>
                </a:solidFill>
                <a:latin typeface="MetaPlusLF" charset="0"/>
                <a:ea typeface="+mn-ea"/>
                <a:cs typeface="MetaPlusLF" charset="0"/>
              </a:defRPr>
            </a:lvl5pPr>
            <a:lvl6pPr marL="2286000" algn="l" defTabSz="914400" rtl="0" eaLnBrk="1" latinLnBrk="0" hangingPunct="1">
              <a:defRPr kern="1200">
                <a:solidFill>
                  <a:schemeClr val="tx1"/>
                </a:solidFill>
                <a:latin typeface="MetaPlusLF" charset="0"/>
                <a:ea typeface="+mn-ea"/>
                <a:cs typeface="MetaPlusLF" charset="0"/>
              </a:defRPr>
            </a:lvl6pPr>
            <a:lvl7pPr marL="2743200" algn="l" defTabSz="914400" rtl="0" eaLnBrk="1" latinLnBrk="0" hangingPunct="1">
              <a:defRPr kern="1200">
                <a:solidFill>
                  <a:schemeClr val="tx1"/>
                </a:solidFill>
                <a:latin typeface="MetaPlusLF" charset="0"/>
                <a:ea typeface="+mn-ea"/>
                <a:cs typeface="MetaPlusLF" charset="0"/>
              </a:defRPr>
            </a:lvl7pPr>
            <a:lvl8pPr marL="3200400" algn="l" defTabSz="914400" rtl="0" eaLnBrk="1" latinLnBrk="0" hangingPunct="1">
              <a:defRPr kern="1200">
                <a:solidFill>
                  <a:schemeClr val="tx1"/>
                </a:solidFill>
                <a:latin typeface="MetaPlusLF" charset="0"/>
                <a:ea typeface="+mn-ea"/>
                <a:cs typeface="MetaPlusLF" charset="0"/>
              </a:defRPr>
            </a:lvl8pPr>
            <a:lvl9pPr marL="3657600" algn="l" defTabSz="914400" rtl="0" eaLnBrk="1" latinLnBrk="0" hangingPunct="1">
              <a:defRPr kern="1200">
                <a:solidFill>
                  <a:schemeClr val="tx1"/>
                </a:solidFill>
                <a:latin typeface="MetaPlusLF" charset="0"/>
                <a:ea typeface="+mn-ea"/>
                <a:cs typeface="MetaPlusLF" charset="0"/>
              </a:defRPr>
            </a:lvl9pPr>
          </a:lstStyle>
          <a:p>
            <a:fld id="{EA182149-5FEE-46AB-9490-B3CD4011A729}" type="slidenum">
              <a:rPr lang="en-GB" smtClean="0"/>
              <a:pPr/>
              <a:t>15</a:t>
            </a:fld>
            <a:endParaRPr lang="en-GB"/>
          </a:p>
        </p:txBody>
      </p:sp>
      <p:cxnSp>
        <p:nvCxnSpPr>
          <p:cNvPr id="47" name="Google Shape;705;p61">
            <a:extLst>
              <a:ext uri="{FF2B5EF4-FFF2-40B4-BE49-F238E27FC236}">
                <a16:creationId xmlns:a16="http://schemas.microsoft.com/office/drawing/2014/main" id="{254BD1CE-8D71-4E18-9489-D5E4BD904F6B}"/>
              </a:ext>
            </a:extLst>
          </p:cNvPr>
          <p:cNvCxnSpPr>
            <a:cxnSpLocks/>
          </p:cNvCxnSpPr>
          <p:nvPr/>
        </p:nvCxnSpPr>
        <p:spPr>
          <a:xfrm>
            <a:off x="5537206" y="3441024"/>
            <a:ext cx="0" cy="1500919"/>
          </a:xfrm>
          <a:prstGeom prst="straightConnector1">
            <a:avLst/>
          </a:prstGeom>
          <a:solidFill>
            <a:schemeClr val="accent5"/>
          </a:solidFill>
          <a:ln w="28575" cap="flat" cmpd="sng">
            <a:solidFill>
              <a:schemeClr val="tx2"/>
            </a:solidFill>
            <a:prstDash val="solid"/>
            <a:round/>
            <a:headEnd type="none" w="med" len="med"/>
            <a:tailEnd type="none" w="med" len="med"/>
          </a:ln>
        </p:spPr>
      </p:cxnSp>
      <p:cxnSp>
        <p:nvCxnSpPr>
          <p:cNvPr id="48" name="Google Shape;706;p61">
            <a:extLst>
              <a:ext uri="{FF2B5EF4-FFF2-40B4-BE49-F238E27FC236}">
                <a16:creationId xmlns:a16="http://schemas.microsoft.com/office/drawing/2014/main" id="{BD90EC9A-98DD-48AA-9F1E-93BCB5672459}"/>
              </a:ext>
            </a:extLst>
          </p:cNvPr>
          <p:cNvCxnSpPr>
            <a:cxnSpLocks/>
          </p:cNvCxnSpPr>
          <p:nvPr/>
        </p:nvCxnSpPr>
        <p:spPr>
          <a:xfrm flipH="1">
            <a:off x="2562073" y="4227873"/>
            <a:ext cx="937" cy="714069"/>
          </a:xfrm>
          <a:prstGeom prst="straightConnector1">
            <a:avLst/>
          </a:prstGeom>
          <a:solidFill>
            <a:schemeClr val="accent5"/>
          </a:solidFill>
          <a:ln w="28575" cap="flat" cmpd="sng">
            <a:solidFill>
              <a:schemeClr val="tx2"/>
            </a:solidFill>
            <a:prstDash val="solid"/>
            <a:round/>
            <a:headEnd type="none" w="med" len="med"/>
            <a:tailEnd type="none" w="med" len="med"/>
          </a:ln>
        </p:spPr>
      </p:cxnSp>
      <p:cxnSp>
        <p:nvCxnSpPr>
          <p:cNvPr id="49" name="Google Shape;707;p61">
            <a:extLst>
              <a:ext uri="{FF2B5EF4-FFF2-40B4-BE49-F238E27FC236}">
                <a16:creationId xmlns:a16="http://schemas.microsoft.com/office/drawing/2014/main" id="{D2132DB3-A378-4019-98B5-94CB8BFC824E}"/>
              </a:ext>
            </a:extLst>
          </p:cNvPr>
          <p:cNvCxnSpPr>
            <a:cxnSpLocks/>
          </p:cNvCxnSpPr>
          <p:nvPr/>
        </p:nvCxnSpPr>
        <p:spPr>
          <a:xfrm>
            <a:off x="8510206" y="4724325"/>
            <a:ext cx="0" cy="217658"/>
          </a:xfrm>
          <a:prstGeom prst="straightConnector1">
            <a:avLst/>
          </a:prstGeom>
          <a:solidFill>
            <a:schemeClr val="accent5"/>
          </a:solidFill>
          <a:ln w="28575" cap="flat" cmpd="sng">
            <a:solidFill>
              <a:schemeClr val="tx2"/>
            </a:solidFill>
            <a:prstDash val="solid"/>
            <a:round/>
            <a:headEnd type="none" w="med" len="med"/>
            <a:tailEnd type="none" w="med" len="med"/>
          </a:ln>
        </p:spPr>
      </p:cxnSp>
      <p:sp>
        <p:nvSpPr>
          <p:cNvPr id="50" name="Google Shape;708;p61">
            <a:extLst>
              <a:ext uri="{FF2B5EF4-FFF2-40B4-BE49-F238E27FC236}">
                <a16:creationId xmlns:a16="http://schemas.microsoft.com/office/drawing/2014/main" id="{DD6B272C-EDAA-4233-966B-5C9F5A335D19}"/>
              </a:ext>
            </a:extLst>
          </p:cNvPr>
          <p:cNvSpPr txBox="1"/>
          <p:nvPr/>
        </p:nvSpPr>
        <p:spPr>
          <a:xfrm>
            <a:off x="7521340" y="5121189"/>
            <a:ext cx="2204776" cy="900305"/>
          </a:xfrm>
          <a:prstGeom prst="rect">
            <a:avLst/>
          </a:prstGeom>
          <a:solidFill>
            <a:schemeClr val="accent2">
              <a:lumMod val="20000"/>
              <a:lumOff val="80000"/>
            </a:schemeClr>
          </a:solidFill>
          <a:ln>
            <a:noFill/>
          </a:ln>
        </p:spPr>
        <p:txBody>
          <a:bodyPr spcFirstLastPara="1" wrap="square" lIns="90000" tIns="90000" rIns="90000" bIns="90000" anchor="t" anchorCtr="0">
            <a:noAutofit/>
          </a:bodyPr>
          <a:lstStyle/>
          <a:p>
            <a:pPr>
              <a:spcBef>
                <a:spcPts val="0"/>
              </a:spcBef>
              <a:spcAft>
                <a:spcPts val="0"/>
              </a:spcAft>
            </a:pPr>
            <a:r>
              <a:rPr lang="lt-LT" sz="1400" b="1" dirty="0">
                <a:solidFill>
                  <a:srgbClr val="7FC8ED"/>
                </a:solidFill>
                <a:latin typeface="+mj-lt"/>
                <a:ea typeface="Squada One"/>
                <a:cs typeface="Squada One"/>
                <a:sym typeface="Squada One"/>
              </a:rPr>
              <a:t>Automatizavimas</a:t>
            </a:r>
            <a:endParaRPr lang="en-US" sz="1400" b="1" dirty="0">
              <a:solidFill>
                <a:srgbClr val="7FC8ED"/>
              </a:solidFill>
              <a:latin typeface="+mj-lt"/>
              <a:ea typeface="Squada One"/>
              <a:cs typeface="Squada One"/>
              <a:sym typeface="Squada One"/>
            </a:endParaRPr>
          </a:p>
          <a:p>
            <a:pPr>
              <a:spcBef>
                <a:spcPts val="0"/>
              </a:spcBef>
              <a:spcAft>
                <a:spcPts val="0"/>
              </a:spcAft>
            </a:pPr>
            <a:r>
              <a:rPr lang="lt-LT" sz="1400" dirty="0"/>
              <a:t>Tolesnis standartinių procesų automatizavimas</a:t>
            </a:r>
            <a:endParaRPr lang="en-US" sz="1400" dirty="0">
              <a:latin typeface="+mj-lt"/>
              <a:ea typeface="Roboto Condensed Light"/>
              <a:cs typeface="Roboto Condensed Light"/>
              <a:sym typeface="Roboto Condensed Light"/>
            </a:endParaRPr>
          </a:p>
        </p:txBody>
      </p:sp>
      <p:sp>
        <p:nvSpPr>
          <p:cNvPr id="51" name="Google Shape;709;p61">
            <a:extLst>
              <a:ext uri="{FF2B5EF4-FFF2-40B4-BE49-F238E27FC236}">
                <a16:creationId xmlns:a16="http://schemas.microsoft.com/office/drawing/2014/main" id="{046F2503-9365-4CFF-9B12-210BCAB8071D}"/>
              </a:ext>
            </a:extLst>
          </p:cNvPr>
          <p:cNvSpPr txBox="1"/>
          <p:nvPr/>
        </p:nvSpPr>
        <p:spPr>
          <a:xfrm>
            <a:off x="4564357" y="5121190"/>
            <a:ext cx="1980000" cy="739200"/>
          </a:xfrm>
          <a:prstGeom prst="rect">
            <a:avLst/>
          </a:prstGeom>
          <a:solidFill>
            <a:schemeClr val="accent2">
              <a:lumMod val="20000"/>
              <a:lumOff val="80000"/>
            </a:schemeClr>
          </a:solidFill>
          <a:ln>
            <a:noFill/>
          </a:ln>
        </p:spPr>
        <p:txBody>
          <a:bodyPr spcFirstLastPara="1" wrap="square" lIns="90000" tIns="90000" rIns="90000" bIns="90000" anchor="t" anchorCtr="0">
            <a:noAutofit/>
          </a:bodyPr>
          <a:lstStyle/>
          <a:p>
            <a:pPr>
              <a:spcBef>
                <a:spcPts val="0"/>
              </a:spcBef>
              <a:spcAft>
                <a:spcPts val="0"/>
              </a:spcAft>
            </a:pPr>
            <a:r>
              <a:rPr lang="lt-LT" sz="1400" b="1" dirty="0">
                <a:solidFill>
                  <a:srgbClr val="7FC8ED"/>
                </a:solidFill>
                <a:latin typeface="+mj-lt"/>
                <a:ea typeface="Squada One"/>
                <a:cs typeface="Squada One"/>
                <a:sym typeface="Squada One"/>
              </a:rPr>
              <a:t>Eksperto lygis</a:t>
            </a:r>
            <a:endParaRPr lang="en-US" sz="1400" b="1" dirty="0">
              <a:solidFill>
                <a:srgbClr val="7FC8ED"/>
              </a:solidFill>
              <a:latin typeface="+mj-lt"/>
              <a:ea typeface="Squada One"/>
              <a:cs typeface="Squada One"/>
              <a:sym typeface="Squada One"/>
            </a:endParaRPr>
          </a:p>
          <a:p>
            <a:pPr>
              <a:spcBef>
                <a:spcPts val="0"/>
              </a:spcBef>
              <a:spcAft>
                <a:spcPts val="0"/>
              </a:spcAft>
            </a:pPr>
            <a:r>
              <a:rPr lang="lt-LT" sz="1400" dirty="0"/>
              <a:t>Procesų gilus išmanymas (</a:t>
            </a:r>
            <a:r>
              <a:rPr lang="lt-LT" sz="1400" dirty="0" err="1"/>
              <a:t>ownership</a:t>
            </a:r>
            <a:r>
              <a:rPr lang="lt-LT" sz="1400" dirty="0"/>
              <a:t>)</a:t>
            </a:r>
            <a:endParaRPr lang="en-US" sz="1400" dirty="0">
              <a:latin typeface="+mj-lt"/>
              <a:ea typeface="Roboto Condensed Light"/>
              <a:cs typeface="Roboto Condensed Light"/>
              <a:sym typeface="Roboto Condensed Light"/>
            </a:endParaRPr>
          </a:p>
        </p:txBody>
      </p:sp>
      <p:sp>
        <p:nvSpPr>
          <p:cNvPr id="52" name="Google Shape;710;p61">
            <a:extLst>
              <a:ext uri="{FF2B5EF4-FFF2-40B4-BE49-F238E27FC236}">
                <a16:creationId xmlns:a16="http://schemas.microsoft.com/office/drawing/2014/main" id="{73B244CF-4686-440E-8D48-7668EC387EB9}"/>
              </a:ext>
            </a:extLst>
          </p:cNvPr>
          <p:cNvSpPr txBox="1"/>
          <p:nvPr/>
        </p:nvSpPr>
        <p:spPr>
          <a:xfrm>
            <a:off x="1607372" y="5121190"/>
            <a:ext cx="1980000" cy="739200"/>
          </a:xfrm>
          <a:prstGeom prst="rect">
            <a:avLst/>
          </a:prstGeom>
          <a:solidFill>
            <a:schemeClr val="accent2">
              <a:lumMod val="20000"/>
              <a:lumOff val="80000"/>
            </a:schemeClr>
          </a:solidFill>
          <a:ln>
            <a:noFill/>
          </a:ln>
        </p:spPr>
        <p:txBody>
          <a:bodyPr spcFirstLastPara="1" wrap="square" lIns="90000" tIns="90000" rIns="90000" bIns="90000" anchor="t" anchorCtr="0">
            <a:noAutofit/>
          </a:bodyPr>
          <a:lstStyle/>
          <a:p>
            <a:pPr>
              <a:spcBef>
                <a:spcPts val="0"/>
              </a:spcBef>
              <a:spcAft>
                <a:spcPts val="0"/>
              </a:spcAft>
            </a:pPr>
            <a:r>
              <a:rPr lang="lt-LT" sz="1400" b="1" dirty="0">
                <a:solidFill>
                  <a:srgbClr val="7FC8ED"/>
                </a:solidFill>
                <a:latin typeface="+mj-lt"/>
                <a:ea typeface="Squada One"/>
                <a:cs typeface="Squada One"/>
                <a:sym typeface="Squada One"/>
              </a:rPr>
              <a:t>Analitika ir planavimas</a:t>
            </a:r>
          </a:p>
          <a:p>
            <a:pPr>
              <a:spcBef>
                <a:spcPts val="0"/>
              </a:spcBef>
              <a:spcAft>
                <a:spcPts val="0"/>
              </a:spcAft>
            </a:pPr>
            <a:r>
              <a:rPr lang="lt-LT" sz="1400" dirty="0">
                <a:latin typeface="+mj-lt"/>
                <a:ea typeface="Roboto Condensed Light"/>
                <a:cs typeface="Roboto Condensed Light"/>
                <a:sym typeface="Squada One"/>
              </a:rPr>
              <a:t>Verslo sprendimų priėmimui</a:t>
            </a:r>
            <a:endParaRPr lang="en-US" sz="1400" dirty="0">
              <a:latin typeface="+mj-lt"/>
              <a:ea typeface="Roboto Condensed Light"/>
              <a:cs typeface="Roboto Condensed Light"/>
              <a:sym typeface="Roboto Condensed Light"/>
            </a:endParaRPr>
          </a:p>
        </p:txBody>
      </p:sp>
      <p:grpSp>
        <p:nvGrpSpPr>
          <p:cNvPr id="53" name="Group 52">
            <a:extLst>
              <a:ext uri="{FF2B5EF4-FFF2-40B4-BE49-F238E27FC236}">
                <a16:creationId xmlns:a16="http://schemas.microsoft.com/office/drawing/2014/main" id="{DCA8DAB1-8A7E-4120-A482-414E2F351DAD}"/>
              </a:ext>
            </a:extLst>
          </p:cNvPr>
          <p:cNvGrpSpPr/>
          <p:nvPr/>
        </p:nvGrpSpPr>
        <p:grpSpPr>
          <a:xfrm rot="19800000">
            <a:off x="4834524" y="2015505"/>
            <a:ext cx="1405290" cy="1625208"/>
            <a:chOff x="5362312" y="2510370"/>
            <a:chExt cx="1405290" cy="1625208"/>
          </a:xfrm>
        </p:grpSpPr>
        <p:sp>
          <p:nvSpPr>
            <p:cNvPr id="54" name="Google Shape;711;p61">
              <a:extLst>
                <a:ext uri="{FF2B5EF4-FFF2-40B4-BE49-F238E27FC236}">
                  <a16:creationId xmlns:a16="http://schemas.microsoft.com/office/drawing/2014/main" id="{FD7B766F-1B46-4C25-84A7-311EF9BF3178}"/>
                </a:ext>
              </a:extLst>
            </p:cNvPr>
            <p:cNvSpPr/>
            <p:nvPr/>
          </p:nvSpPr>
          <p:spPr>
            <a:xfrm>
              <a:off x="5362312" y="2510370"/>
              <a:ext cx="703725" cy="469151"/>
            </a:xfrm>
            <a:custGeom>
              <a:avLst/>
              <a:gdLst/>
              <a:ahLst/>
              <a:cxnLst/>
              <a:rect l="l" t="t" r="r" b="b"/>
              <a:pathLst>
                <a:path w="23874" h="15916" extrusionOk="0">
                  <a:moveTo>
                    <a:pt x="23874" y="0"/>
                  </a:moveTo>
                  <a:lnTo>
                    <a:pt x="1" y="13788"/>
                  </a:lnTo>
                  <a:lnTo>
                    <a:pt x="3644" y="15915"/>
                  </a:lnTo>
                  <a:lnTo>
                    <a:pt x="23874" y="4183"/>
                  </a:lnTo>
                  <a:lnTo>
                    <a:pt x="23874" y="0"/>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spcFirstLastPara="1" wrap="square" lIns="121900" tIns="121900" rIns="121900" bIns="121900" anchor="ctr" anchorCtr="0">
              <a:noAutofit/>
            </a:bodyPr>
            <a:lstStyle/>
            <a:p>
              <a:pPr>
                <a:spcBef>
                  <a:spcPts val="0"/>
                </a:spcBef>
                <a:spcAft>
                  <a:spcPts val="0"/>
                </a:spcAft>
              </a:pPr>
              <a:endParaRPr/>
            </a:p>
          </p:txBody>
        </p:sp>
        <p:sp>
          <p:nvSpPr>
            <p:cNvPr id="55" name="Google Shape;712;p61">
              <a:extLst>
                <a:ext uri="{FF2B5EF4-FFF2-40B4-BE49-F238E27FC236}">
                  <a16:creationId xmlns:a16="http://schemas.microsoft.com/office/drawing/2014/main" id="{B69A21E0-9CDA-4750-AEBB-6107301590B3}"/>
                </a:ext>
              </a:extLst>
            </p:cNvPr>
            <p:cNvSpPr/>
            <p:nvPr/>
          </p:nvSpPr>
          <p:spPr>
            <a:xfrm>
              <a:off x="6067736" y="3670289"/>
              <a:ext cx="699864" cy="465289"/>
            </a:xfrm>
            <a:custGeom>
              <a:avLst/>
              <a:gdLst/>
              <a:ahLst/>
              <a:cxnLst/>
              <a:rect l="l" t="t" r="r" b="b"/>
              <a:pathLst>
                <a:path w="23743" h="15785" extrusionOk="0">
                  <a:moveTo>
                    <a:pt x="20040" y="0"/>
                  </a:moveTo>
                  <a:lnTo>
                    <a:pt x="0" y="11602"/>
                  </a:lnTo>
                  <a:lnTo>
                    <a:pt x="0" y="15785"/>
                  </a:lnTo>
                  <a:lnTo>
                    <a:pt x="23742" y="2070"/>
                  </a:lnTo>
                  <a:lnTo>
                    <a:pt x="20040" y="0"/>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spcFirstLastPara="1" wrap="square" lIns="121900" tIns="121900" rIns="121900" bIns="121900" anchor="ctr" anchorCtr="0">
              <a:noAutofit/>
            </a:bodyPr>
            <a:lstStyle/>
            <a:p>
              <a:pPr>
                <a:spcBef>
                  <a:spcPts val="0"/>
                </a:spcBef>
                <a:spcAft>
                  <a:spcPts val="0"/>
                </a:spcAft>
              </a:pPr>
              <a:endParaRPr/>
            </a:p>
          </p:txBody>
        </p:sp>
        <p:sp>
          <p:nvSpPr>
            <p:cNvPr id="56" name="Google Shape;713;p61">
              <a:extLst>
                <a:ext uri="{FF2B5EF4-FFF2-40B4-BE49-F238E27FC236}">
                  <a16:creationId xmlns:a16="http://schemas.microsoft.com/office/drawing/2014/main" id="{6CD165FE-D7EE-4B9D-B9E6-B44E47C4625C}"/>
                </a:ext>
              </a:extLst>
            </p:cNvPr>
            <p:cNvSpPr/>
            <p:nvPr/>
          </p:nvSpPr>
          <p:spPr>
            <a:xfrm>
              <a:off x="5362313" y="3666840"/>
              <a:ext cx="705465" cy="468737"/>
            </a:xfrm>
            <a:custGeom>
              <a:avLst/>
              <a:gdLst/>
              <a:ahLst/>
              <a:cxnLst/>
              <a:rect l="l" t="t" r="r" b="b"/>
              <a:pathLst>
                <a:path w="23933" h="15902" extrusionOk="0">
                  <a:moveTo>
                    <a:pt x="3644" y="1"/>
                  </a:moveTo>
                  <a:lnTo>
                    <a:pt x="1" y="2114"/>
                  </a:lnTo>
                  <a:lnTo>
                    <a:pt x="23932" y="15902"/>
                  </a:lnTo>
                  <a:lnTo>
                    <a:pt x="23932" y="11719"/>
                  </a:lnTo>
                  <a:lnTo>
                    <a:pt x="3644" y="1"/>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spcFirstLastPara="1" wrap="square" lIns="121900" tIns="121900" rIns="121900" bIns="121900" anchor="ctr" anchorCtr="0">
              <a:noAutofit/>
            </a:bodyPr>
            <a:lstStyle/>
            <a:p>
              <a:pPr>
                <a:spcBef>
                  <a:spcPts val="0"/>
                </a:spcBef>
                <a:spcAft>
                  <a:spcPts val="0"/>
                </a:spcAft>
              </a:pPr>
              <a:endParaRPr/>
            </a:p>
          </p:txBody>
        </p:sp>
        <p:sp>
          <p:nvSpPr>
            <p:cNvPr id="57" name="Google Shape;714;p61">
              <a:extLst>
                <a:ext uri="{FF2B5EF4-FFF2-40B4-BE49-F238E27FC236}">
                  <a16:creationId xmlns:a16="http://schemas.microsoft.com/office/drawing/2014/main" id="{5B4AB2F4-4B69-4585-BEBA-39A97F85246B}"/>
                </a:ext>
              </a:extLst>
            </p:cNvPr>
            <p:cNvSpPr/>
            <p:nvPr/>
          </p:nvSpPr>
          <p:spPr>
            <a:xfrm>
              <a:off x="6065998" y="2510370"/>
              <a:ext cx="701604" cy="469151"/>
            </a:xfrm>
            <a:custGeom>
              <a:avLst/>
              <a:gdLst/>
              <a:ahLst/>
              <a:cxnLst/>
              <a:rect l="l" t="t" r="r" b="b"/>
              <a:pathLst>
                <a:path w="23802" h="15916" extrusionOk="0">
                  <a:moveTo>
                    <a:pt x="1" y="0"/>
                  </a:moveTo>
                  <a:lnTo>
                    <a:pt x="1" y="4183"/>
                  </a:lnTo>
                  <a:lnTo>
                    <a:pt x="20158" y="15915"/>
                  </a:lnTo>
                  <a:lnTo>
                    <a:pt x="23801" y="13788"/>
                  </a:lnTo>
                  <a:lnTo>
                    <a:pt x="1" y="0"/>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spcFirstLastPara="1" wrap="square" lIns="121900" tIns="121900" rIns="121900" bIns="121900" anchor="ctr" anchorCtr="0">
              <a:noAutofit/>
            </a:bodyPr>
            <a:lstStyle/>
            <a:p>
              <a:pPr>
                <a:spcBef>
                  <a:spcPts val="0"/>
                </a:spcBef>
                <a:spcAft>
                  <a:spcPts val="0"/>
                </a:spcAft>
              </a:pPr>
              <a:endParaRPr/>
            </a:p>
          </p:txBody>
        </p:sp>
        <p:sp>
          <p:nvSpPr>
            <p:cNvPr id="58" name="Google Shape;715;p61">
              <a:extLst>
                <a:ext uri="{FF2B5EF4-FFF2-40B4-BE49-F238E27FC236}">
                  <a16:creationId xmlns:a16="http://schemas.microsoft.com/office/drawing/2014/main" id="{B2E07A3B-EA55-405F-AC88-BEDFBC9B4CC9}"/>
                </a:ext>
              </a:extLst>
            </p:cNvPr>
            <p:cNvSpPr/>
            <p:nvPr/>
          </p:nvSpPr>
          <p:spPr>
            <a:xfrm>
              <a:off x="5362312" y="2916758"/>
              <a:ext cx="107443" cy="812436"/>
            </a:xfrm>
            <a:custGeom>
              <a:avLst/>
              <a:gdLst/>
              <a:ahLst/>
              <a:cxnLst/>
              <a:rect l="l" t="t" r="r" b="b"/>
              <a:pathLst>
                <a:path w="3645" h="27562" extrusionOk="0">
                  <a:moveTo>
                    <a:pt x="1" y="1"/>
                  </a:moveTo>
                  <a:lnTo>
                    <a:pt x="1" y="27561"/>
                  </a:lnTo>
                  <a:lnTo>
                    <a:pt x="3644" y="25448"/>
                  </a:lnTo>
                  <a:lnTo>
                    <a:pt x="3644" y="2128"/>
                  </a:lnTo>
                  <a:lnTo>
                    <a:pt x="1" y="1"/>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spcFirstLastPara="1" wrap="square" lIns="121900" tIns="121900" rIns="121900" bIns="121900" anchor="ctr" anchorCtr="0">
              <a:noAutofit/>
            </a:bodyPr>
            <a:lstStyle/>
            <a:p>
              <a:pPr>
                <a:spcBef>
                  <a:spcPts val="0"/>
                </a:spcBef>
                <a:spcAft>
                  <a:spcPts val="0"/>
                </a:spcAft>
              </a:pPr>
              <a:endParaRPr/>
            </a:p>
          </p:txBody>
        </p:sp>
        <p:sp>
          <p:nvSpPr>
            <p:cNvPr id="59" name="Google Shape;716;p61">
              <a:extLst>
                <a:ext uri="{FF2B5EF4-FFF2-40B4-BE49-F238E27FC236}">
                  <a16:creationId xmlns:a16="http://schemas.microsoft.com/office/drawing/2014/main" id="{D7BD805C-C297-4193-AA74-EEA4F360484E}"/>
                </a:ext>
              </a:extLst>
            </p:cNvPr>
            <p:cNvSpPr/>
            <p:nvPr/>
          </p:nvSpPr>
          <p:spPr>
            <a:xfrm>
              <a:off x="6658439" y="2916758"/>
              <a:ext cx="109152" cy="814559"/>
            </a:xfrm>
            <a:custGeom>
              <a:avLst/>
              <a:gdLst/>
              <a:ahLst/>
              <a:cxnLst/>
              <a:rect l="l" t="t" r="r" b="b"/>
              <a:pathLst>
                <a:path w="3703" h="27634" extrusionOk="0">
                  <a:moveTo>
                    <a:pt x="3702" y="1"/>
                  </a:moveTo>
                  <a:lnTo>
                    <a:pt x="59" y="2128"/>
                  </a:lnTo>
                  <a:lnTo>
                    <a:pt x="0" y="25564"/>
                  </a:lnTo>
                  <a:lnTo>
                    <a:pt x="3702" y="27634"/>
                  </a:lnTo>
                  <a:lnTo>
                    <a:pt x="3702" y="1"/>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spcFirstLastPara="1" wrap="square" lIns="121900" tIns="121900" rIns="121900" bIns="121900" anchor="ctr" anchorCtr="0">
              <a:noAutofit/>
            </a:bodyPr>
            <a:lstStyle/>
            <a:p>
              <a:pPr>
                <a:spcBef>
                  <a:spcPts val="0"/>
                </a:spcBef>
                <a:spcAft>
                  <a:spcPts val="0"/>
                </a:spcAft>
              </a:pPr>
              <a:endParaRPr/>
            </a:p>
          </p:txBody>
        </p:sp>
      </p:grpSp>
      <p:grpSp>
        <p:nvGrpSpPr>
          <p:cNvPr id="60" name="Group 59">
            <a:extLst>
              <a:ext uri="{FF2B5EF4-FFF2-40B4-BE49-F238E27FC236}">
                <a16:creationId xmlns:a16="http://schemas.microsoft.com/office/drawing/2014/main" id="{809EB72D-0FEB-4763-8257-B4230D914EDB}"/>
              </a:ext>
            </a:extLst>
          </p:cNvPr>
          <p:cNvGrpSpPr/>
          <p:nvPr/>
        </p:nvGrpSpPr>
        <p:grpSpPr>
          <a:xfrm rot="19800000">
            <a:off x="1925080" y="2785125"/>
            <a:ext cx="1405290" cy="1625208"/>
            <a:chOff x="2387112" y="3243237"/>
            <a:chExt cx="1405290" cy="1625208"/>
          </a:xfrm>
        </p:grpSpPr>
        <p:sp>
          <p:nvSpPr>
            <p:cNvPr id="61" name="Google Shape;717;p61">
              <a:extLst>
                <a:ext uri="{FF2B5EF4-FFF2-40B4-BE49-F238E27FC236}">
                  <a16:creationId xmlns:a16="http://schemas.microsoft.com/office/drawing/2014/main" id="{AC75A845-12B0-4A09-BC47-01F4FB69E041}"/>
                </a:ext>
              </a:extLst>
            </p:cNvPr>
            <p:cNvSpPr/>
            <p:nvPr/>
          </p:nvSpPr>
          <p:spPr>
            <a:xfrm>
              <a:off x="2387112" y="3243237"/>
              <a:ext cx="703725" cy="469151"/>
            </a:xfrm>
            <a:custGeom>
              <a:avLst/>
              <a:gdLst/>
              <a:ahLst/>
              <a:cxnLst/>
              <a:rect l="l" t="t" r="r" b="b"/>
              <a:pathLst>
                <a:path w="23874" h="15916" extrusionOk="0">
                  <a:moveTo>
                    <a:pt x="23874" y="0"/>
                  </a:moveTo>
                  <a:lnTo>
                    <a:pt x="1" y="13788"/>
                  </a:lnTo>
                  <a:lnTo>
                    <a:pt x="3644" y="15915"/>
                  </a:lnTo>
                  <a:lnTo>
                    <a:pt x="23874" y="4183"/>
                  </a:lnTo>
                  <a:lnTo>
                    <a:pt x="23874" y="0"/>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spcFirstLastPara="1" wrap="square" lIns="121900" tIns="121900" rIns="121900" bIns="121900" anchor="ctr" anchorCtr="0">
              <a:noAutofit/>
            </a:bodyPr>
            <a:lstStyle/>
            <a:p>
              <a:pPr>
                <a:spcBef>
                  <a:spcPts val="0"/>
                </a:spcBef>
                <a:spcAft>
                  <a:spcPts val="0"/>
                </a:spcAft>
              </a:pPr>
              <a:endParaRPr/>
            </a:p>
          </p:txBody>
        </p:sp>
        <p:sp>
          <p:nvSpPr>
            <p:cNvPr id="62" name="Google Shape;718;p61">
              <a:extLst>
                <a:ext uri="{FF2B5EF4-FFF2-40B4-BE49-F238E27FC236}">
                  <a16:creationId xmlns:a16="http://schemas.microsoft.com/office/drawing/2014/main" id="{FEE6DED2-BD71-4E27-A9D6-205CA4515E40}"/>
                </a:ext>
              </a:extLst>
            </p:cNvPr>
            <p:cNvSpPr/>
            <p:nvPr/>
          </p:nvSpPr>
          <p:spPr>
            <a:xfrm>
              <a:off x="3092536" y="4403156"/>
              <a:ext cx="699864" cy="465289"/>
            </a:xfrm>
            <a:custGeom>
              <a:avLst/>
              <a:gdLst/>
              <a:ahLst/>
              <a:cxnLst/>
              <a:rect l="l" t="t" r="r" b="b"/>
              <a:pathLst>
                <a:path w="23743" h="15785" extrusionOk="0">
                  <a:moveTo>
                    <a:pt x="20040" y="0"/>
                  </a:moveTo>
                  <a:lnTo>
                    <a:pt x="0" y="11602"/>
                  </a:lnTo>
                  <a:lnTo>
                    <a:pt x="0" y="15785"/>
                  </a:lnTo>
                  <a:lnTo>
                    <a:pt x="23742" y="2070"/>
                  </a:lnTo>
                  <a:lnTo>
                    <a:pt x="20040" y="0"/>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spcFirstLastPara="1" wrap="square" lIns="121900" tIns="121900" rIns="121900" bIns="121900" anchor="ctr" anchorCtr="0">
              <a:noAutofit/>
            </a:bodyPr>
            <a:lstStyle/>
            <a:p>
              <a:pPr>
                <a:spcBef>
                  <a:spcPts val="0"/>
                </a:spcBef>
                <a:spcAft>
                  <a:spcPts val="0"/>
                </a:spcAft>
              </a:pPr>
              <a:endParaRPr/>
            </a:p>
          </p:txBody>
        </p:sp>
        <p:sp>
          <p:nvSpPr>
            <p:cNvPr id="63" name="Google Shape;719;p61">
              <a:extLst>
                <a:ext uri="{FF2B5EF4-FFF2-40B4-BE49-F238E27FC236}">
                  <a16:creationId xmlns:a16="http://schemas.microsoft.com/office/drawing/2014/main" id="{2B3899DE-CB84-4F62-B483-77B03BDFC1D3}"/>
                </a:ext>
              </a:extLst>
            </p:cNvPr>
            <p:cNvSpPr/>
            <p:nvPr/>
          </p:nvSpPr>
          <p:spPr>
            <a:xfrm>
              <a:off x="2387113" y="4390182"/>
              <a:ext cx="705465" cy="468737"/>
            </a:xfrm>
            <a:custGeom>
              <a:avLst/>
              <a:gdLst/>
              <a:ahLst/>
              <a:cxnLst/>
              <a:rect l="l" t="t" r="r" b="b"/>
              <a:pathLst>
                <a:path w="23933" h="15902" extrusionOk="0">
                  <a:moveTo>
                    <a:pt x="3644" y="1"/>
                  </a:moveTo>
                  <a:lnTo>
                    <a:pt x="1" y="2114"/>
                  </a:lnTo>
                  <a:lnTo>
                    <a:pt x="23932" y="15902"/>
                  </a:lnTo>
                  <a:lnTo>
                    <a:pt x="23932" y="11719"/>
                  </a:lnTo>
                  <a:lnTo>
                    <a:pt x="3644" y="1"/>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spcFirstLastPara="1" wrap="square" lIns="121900" tIns="121900" rIns="121900" bIns="121900" anchor="ctr" anchorCtr="0">
              <a:noAutofit/>
            </a:bodyPr>
            <a:lstStyle/>
            <a:p>
              <a:pPr>
                <a:spcBef>
                  <a:spcPts val="0"/>
                </a:spcBef>
                <a:spcAft>
                  <a:spcPts val="0"/>
                </a:spcAft>
              </a:pPr>
              <a:endParaRPr/>
            </a:p>
          </p:txBody>
        </p:sp>
        <p:sp>
          <p:nvSpPr>
            <p:cNvPr id="64" name="Google Shape;720;p61">
              <a:extLst>
                <a:ext uri="{FF2B5EF4-FFF2-40B4-BE49-F238E27FC236}">
                  <a16:creationId xmlns:a16="http://schemas.microsoft.com/office/drawing/2014/main" id="{970C6981-9BA0-4628-98B4-0315D77625A3}"/>
                </a:ext>
              </a:extLst>
            </p:cNvPr>
            <p:cNvSpPr/>
            <p:nvPr/>
          </p:nvSpPr>
          <p:spPr>
            <a:xfrm>
              <a:off x="3090798" y="3243237"/>
              <a:ext cx="701604" cy="469151"/>
            </a:xfrm>
            <a:custGeom>
              <a:avLst/>
              <a:gdLst/>
              <a:ahLst/>
              <a:cxnLst/>
              <a:rect l="l" t="t" r="r" b="b"/>
              <a:pathLst>
                <a:path w="23802" h="15916" extrusionOk="0">
                  <a:moveTo>
                    <a:pt x="1" y="0"/>
                  </a:moveTo>
                  <a:lnTo>
                    <a:pt x="1" y="4183"/>
                  </a:lnTo>
                  <a:lnTo>
                    <a:pt x="20158" y="15915"/>
                  </a:lnTo>
                  <a:lnTo>
                    <a:pt x="23801" y="13788"/>
                  </a:lnTo>
                  <a:lnTo>
                    <a:pt x="1" y="0"/>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spcFirstLastPara="1" wrap="square" lIns="121900" tIns="121900" rIns="121900" bIns="121900" anchor="ctr" anchorCtr="0">
              <a:noAutofit/>
            </a:bodyPr>
            <a:lstStyle/>
            <a:p>
              <a:pPr>
                <a:spcBef>
                  <a:spcPts val="0"/>
                </a:spcBef>
                <a:spcAft>
                  <a:spcPts val="0"/>
                </a:spcAft>
              </a:pPr>
              <a:endParaRPr/>
            </a:p>
          </p:txBody>
        </p:sp>
        <p:sp>
          <p:nvSpPr>
            <p:cNvPr id="65" name="Google Shape;721;p61">
              <a:extLst>
                <a:ext uri="{FF2B5EF4-FFF2-40B4-BE49-F238E27FC236}">
                  <a16:creationId xmlns:a16="http://schemas.microsoft.com/office/drawing/2014/main" id="{D8198CB0-8C3C-4BCC-8848-03FC3350C348}"/>
                </a:ext>
              </a:extLst>
            </p:cNvPr>
            <p:cNvSpPr/>
            <p:nvPr/>
          </p:nvSpPr>
          <p:spPr>
            <a:xfrm>
              <a:off x="2387112" y="3649625"/>
              <a:ext cx="107443" cy="812436"/>
            </a:xfrm>
            <a:custGeom>
              <a:avLst/>
              <a:gdLst/>
              <a:ahLst/>
              <a:cxnLst/>
              <a:rect l="l" t="t" r="r" b="b"/>
              <a:pathLst>
                <a:path w="3645" h="27562" extrusionOk="0">
                  <a:moveTo>
                    <a:pt x="1" y="1"/>
                  </a:moveTo>
                  <a:lnTo>
                    <a:pt x="1" y="27561"/>
                  </a:lnTo>
                  <a:lnTo>
                    <a:pt x="3644" y="25448"/>
                  </a:lnTo>
                  <a:lnTo>
                    <a:pt x="3644" y="2128"/>
                  </a:lnTo>
                  <a:lnTo>
                    <a:pt x="1" y="1"/>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spcFirstLastPara="1" wrap="square" lIns="121900" tIns="121900" rIns="121900" bIns="121900" anchor="ctr" anchorCtr="0">
              <a:noAutofit/>
            </a:bodyPr>
            <a:lstStyle/>
            <a:p>
              <a:pPr>
                <a:spcBef>
                  <a:spcPts val="0"/>
                </a:spcBef>
                <a:spcAft>
                  <a:spcPts val="0"/>
                </a:spcAft>
              </a:pPr>
              <a:endParaRPr/>
            </a:p>
          </p:txBody>
        </p:sp>
        <p:sp>
          <p:nvSpPr>
            <p:cNvPr id="66" name="Google Shape;722;p61">
              <a:extLst>
                <a:ext uri="{FF2B5EF4-FFF2-40B4-BE49-F238E27FC236}">
                  <a16:creationId xmlns:a16="http://schemas.microsoft.com/office/drawing/2014/main" id="{78A56C2C-DCBF-4524-A226-F8A157A89800}"/>
                </a:ext>
              </a:extLst>
            </p:cNvPr>
            <p:cNvSpPr/>
            <p:nvPr/>
          </p:nvSpPr>
          <p:spPr>
            <a:xfrm>
              <a:off x="3683239" y="3649625"/>
              <a:ext cx="109152" cy="814559"/>
            </a:xfrm>
            <a:custGeom>
              <a:avLst/>
              <a:gdLst/>
              <a:ahLst/>
              <a:cxnLst/>
              <a:rect l="l" t="t" r="r" b="b"/>
              <a:pathLst>
                <a:path w="3703" h="27634" extrusionOk="0">
                  <a:moveTo>
                    <a:pt x="3702" y="1"/>
                  </a:moveTo>
                  <a:lnTo>
                    <a:pt x="59" y="2128"/>
                  </a:lnTo>
                  <a:lnTo>
                    <a:pt x="0" y="25564"/>
                  </a:lnTo>
                  <a:lnTo>
                    <a:pt x="3702" y="27634"/>
                  </a:lnTo>
                  <a:lnTo>
                    <a:pt x="3702" y="1"/>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spcFirstLastPara="1" wrap="square" lIns="121900" tIns="121900" rIns="121900" bIns="121900" anchor="ctr" anchorCtr="0">
              <a:noAutofit/>
            </a:bodyPr>
            <a:lstStyle/>
            <a:p>
              <a:pPr>
                <a:spcBef>
                  <a:spcPts val="0"/>
                </a:spcBef>
                <a:spcAft>
                  <a:spcPts val="0"/>
                </a:spcAft>
              </a:pPr>
              <a:endParaRPr/>
            </a:p>
          </p:txBody>
        </p:sp>
      </p:grpSp>
      <p:grpSp>
        <p:nvGrpSpPr>
          <p:cNvPr id="67" name="Group 66">
            <a:extLst>
              <a:ext uri="{FF2B5EF4-FFF2-40B4-BE49-F238E27FC236}">
                <a16:creationId xmlns:a16="http://schemas.microsoft.com/office/drawing/2014/main" id="{8A1D4B3F-1145-45D2-ABD4-F809AC93B60C}"/>
              </a:ext>
            </a:extLst>
          </p:cNvPr>
          <p:cNvGrpSpPr/>
          <p:nvPr/>
        </p:nvGrpSpPr>
        <p:grpSpPr>
          <a:xfrm rot="19800000">
            <a:off x="7793773" y="3250729"/>
            <a:ext cx="1405290" cy="1625208"/>
            <a:chOff x="8337479" y="3777037"/>
            <a:chExt cx="1405290" cy="1625208"/>
          </a:xfrm>
        </p:grpSpPr>
        <p:sp>
          <p:nvSpPr>
            <p:cNvPr id="68" name="Google Shape;723;p61">
              <a:extLst>
                <a:ext uri="{FF2B5EF4-FFF2-40B4-BE49-F238E27FC236}">
                  <a16:creationId xmlns:a16="http://schemas.microsoft.com/office/drawing/2014/main" id="{C020941E-4B88-49BC-BB6B-15944A25AF4D}"/>
                </a:ext>
              </a:extLst>
            </p:cNvPr>
            <p:cNvSpPr/>
            <p:nvPr/>
          </p:nvSpPr>
          <p:spPr>
            <a:xfrm>
              <a:off x="8337479" y="3777037"/>
              <a:ext cx="703725" cy="469151"/>
            </a:xfrm>
            <a:custGeom>
              <a:avLst/>
              <a:gdLst/>
              <a:ahLst/>
              <a:cxnLst/>
              <a:rect l="l" t="t" r="r" b="b"/>
              <a:pathLst>
                <a:path w="23874" h="15916" extrusionOk="0">
                  <a:moveTo>
                    <a:pt x="23874" y="0"/>
                  </a:moveTo>
                  <a:lnTo>
                    <a:pt x="1" y="13788"/>
                  </a:lnTo>
                  <a:lnTo>
                    <a:pt x="3644" y="15915"/>
                  </a:lnTo>
                  <a:lnTo>
                    <a:pt x="23874" y="4183"/>
                  </a:lnTo>
                  <a:lnTo>
                    <a:pt x="23874" y="0"/>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spcFirstLastPara="1" wrap="square" lIns="121900" tIns="121900" rIns="121900" bIns="121900" anchor="ctr" anchorCtr="0">
              <a:noAutofit/>
            </a:bodyPr>
            <a:lstStyle/>
            <a:p>
              <a:pPr>
                <a:spcBef>
                  <a:spcPts val="0"/>
                </a:spcBef>
                <a:spcAft>
                  <a:spcPts val="0"/>
                </a:spcAft>
              </a:pPr>
              <a:endParaRPr/>
            </a:p>
          </p:txBody>
        </p:sp>
        <p:sp>
          <p:nvSpPr>
            <p:cNvPr id="69" name="Google Shape;724;p61">
              <a:extLst>
                <a:ext uri="{FF2B5EF4-FFF2-40B4-BE49-F238E27FC236}">
                  <a16:creationId xmlns:a16="http://schemas.microsoft.com/office/drawing/2014/main" id="{24804F3D-9FCF-4C97-B5C7-0B512B5D471B}"/>
                </a:ext>
              </a:extLst>
            </p:cNvPr>
            <p:cNvSpPr/>
            <p:nvPr/>
          </p:nvSpPr>
          <p:spPr>
            <a:xfrm>
              <a:off x="9042903" y="4936956"/>
              <a:ext cx="699864" cy="465289"/>
            </a:xfrm>
            <a:custGeom>
              <a:avLst/>
              <a:gdLst/>
              <a:ahLst/>
              <a:cxnLst/>
              <a:rect l="l" t="t" r="r" b="b"/>
              <a:pathLst>
                <a:path w="23743" h="15785" extrusionOk="0">
                  <a:moveTo>
                    <a:pt x="20040" y="0"/>
                  </a:moveTo>
                  <a:lnTo>
                    <a:pt x="0" y="11602"/>
                  </a:lnTo>
                  <a:lnTo>
                    <a:pt x="0" y="15785"/>
                  </a:lnTo>
                  <a:lnTo>
                    <a:pt x="23742" y="2070"/>
                  </a:lnTo>
                  <a:lnTo>
                    <a:pt x="20040" y="0"/>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spcFirstLastPara="1" wrap="square" lIns="121900" tIns="121900" rIns="121900" bIns="121900" anchor="ctr" anchorCtr="0">
              <a:noAutofit/>
            </a:bodyPr>
            <a:lstStyle/>
            <a:p>
              <a:pPr>
                <a:spcBef>
                  <a:spcPts val="0"/>
                </a:spcBef>
                <a:spcAft>
                  <a:spcPts val="0"/>
                </a:spcAft>
              </a:pPr>
              <a:endParaRPr/>
            </a:p>
          </p:txBody>
        </p:sp>
        <p:sp>
          <p:nvSpPr>
            <p:cNvPr id="70" name="Google Shape;725;p61">
              <a:extLst>
                <a:ext uri="{FF2B5EF4-FFF2-40B4-BE49-F238E27FC236}">
                  <a16:creationId xmlns:a16="http://schemas.microsoft.com/office/drawing/2014/main" id="{AF2166B8-7B88-40CC-8393-D58B2699E426}"/>
                </a:ext>
              </a:extLst>
            </p:cNvPr>
            <p:cNvSpPr/>
            <p:nvPr/>
          </p:nvSpPr>
          <p:spPr>
            <a:xfrm>
              <a:off x="8337480" y="4923982"/>
              <a:ext cx="705465" cy="468737"/>
            </a:xfrm>
            <a:custGeom>
              <a:avLst/>
              <a:gdLst/>
              <a:ahLst/>
              <a:cxnLst/>
              <a:rect l="l" t="t" r="r" b="b"/>
              <a:pathLst>
                <a:path w="23933" h="15902" extrusionOk="0">
                  <a:moveTo>
                    <a:pt x="3644" y="1"/>
                  </a:moveTo>
                  <a:lnTo>
                    <a:pt x="1" y="2114"/>
                  </a:lnTo>
                  <a:lnTo>
                    <a:pt x="23932" y="15902"/>
                  </a:lnTo>
                  <a:lnTo>
                    <a:pt x="23932" y="11719"/>
                  </a:lnTo>
                  <a:lnTo>
                    <a:pt x="3644" y="1"/>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spcFirstLastPara="1" wrap="square" lIns="121900" tIns="121900" rIns="121900" bIns="121900" anchor="ctr" anchorCtr="0">
              <a:noAutofit/>
            </a:bodyPr>
            <a:lstStyle/>
            <a:p>
              <a:pPr>
                <a:spcBef>
                  <a:spcPts val="0"/>
                </a:spcBef>
                <a:spcAft>
                  <a:spcPts val="0"/>
                </a:spcAft>
              </a:pPr>
              <a:endParaRPr/>
            </a:p>
          </p:txBody>
        </p:sp>
        <p:sp>
          <p:nvSpPr>
            <p:cNvPr id="71" name="Google Shape;726;p61">
              <a:extLst>
                <a:ext uri="{FF2B5EF4-FFF2-40B4-BE49-F238E27FC236}">
                  <a16:creationId xmlns:a16="http://schemas.microsoft.com/office/drawing/2014/main" id="{75BD3F5D-8298-442D-B7B5-188DBD323570}"/>
                </a:ext>
              </a:extLst>
            </p:cNvPr>
            <p:cNvSpPr/>
            <p:nvPr/>
          </p:nvSpPr>
          <p:spPr>
            <a:xfrm>
              <a:off x="9041165" y="3777037"/>
              <a:ext cx="701604" cy="469151"/>
            </a:xfrm>
            <a:custGeom>
              <a:avLst/>
              <a:gdLst/>
              <a:ahLst/>
              <a:cxnLst/>
              <a:rect l="l" t="t" r="r" b="b"/>
              <a:pathLst>
                <a:path w="23802" h="15916" extrusionOk="0">
                  <a:moveTo>
                    <a:pt x="1" y="0"/>
                  </a:moveTo>
                  <a:lnTo>
                    <a:pt x="1" y="4183"/>
                  </a:lnTo>
                  <a:lnTo>
                    <a:pt x="20158" y="15915"/>
                  </a:lnTo>
                  <a:lnTo>
                    <a:pt x="23801" y="13788"/>
                  </a:lnTo>
                  <a:lnTo>
                    <a:pt x="1" y="0"/>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spcFirstLastPara="1" wrap="square" lIns="121900" tIns="121900" rIns="121900" bIns="121900" anchor="ctr" anchorCtr="0">
              <a:noAutofit/>
            </a:bodyPr>
            <a:lstStyle/>
            <a:p>
              <a:pPr>
                <a:spcBef>
                  <a:spcPts val="0"/>
                </a:spcBef>
                <a:spcAft>
                  <a:spcPts val="0"/>
                </a:spcAft>
              </a:pPr>
              <a:endParaRPr/>
            </a:p>
          </p:txBody>
        </p:sp>
        <p:sp>
          <p:nvSpPr>
            <p:cNvPr id="72" name="Google Shape;727;p61">
              <a:extLst>
                <a:ext uri="{FF2B5EF4-FFF2-40B4-BE49-F238E27FC236}">
                  <a16:creationId xmlns:a16="http://schemas.microsoft.com/office/drawing/2014/main" id="{F45CE439-E297-4335-87DF-8664512FA9C0}"/>
                </a:ext>
              </a:extLst>
            </p:cNvPr>
            <p:cNvSpPr/>
            <p:nvPr/>
          </p:nvSpPr>
          <p:spPr>
            <a:xfrm>
              <a:off x="8337479" y="4183425"/>
              <a:ext cx="107443" cy="812436"/>
            </a:xfrm>
            <a:custGeom>
              <a:avLst/>
              <a:gdLst/>
              <a:ahLst/>
              <a:cxnLst/>
              <a:rect l="l" t="t" r="r" b="b"/>
              <a:pathLst>
                <a:path w="3645" h="27562" extrusionOk="0">
                  <a:moveTo>
                    <a:pt x="1" y="1"/>
                  </a:moveTo>
                  <a:lnTo>
                    <a:pt x="1" y="27561"/>
                  </a:lnTo>
                  <a:lnTo>
                    <a:pt x="3644" y="25448"/>
                  </a:lnTo>
                  <a:lnTo>
                    <a:pt x="3644" y="2128"/>
                  </a:lnTo>
                  <a:lnTo>
                    <a:pt x="1" y="1"/>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spcFirstLastPara="1" wrap="square" lIns="121900" tIns="121900" rIns="121900" bIns="121900" anchor="ctr" anchorCtr="0">
              <a:noAutofit/>
            </a:bodyPr>
            <a:lstStyle/>
            <a:p>
              <a:pPr>
                <a:spcBef>
                  <a:spcPts val="0"/>
                </a:spcBef>
                <a:spcAft>
                  <a:spcPts val="0"/>
                </a:spcAft>
              </a:pPr>
              <a:endParaRPr/>
            </a:p>
          </p:txBody>
        </p:sp>
        <p:sp>
          <p:nvSpPr>
            <p:cNvPr id="73" name="Google Shape;728;p61">
              <a:extLst>
                <a:ext uri="{FF2B5EF4-FFF2-40B4-BE49-F238E27FC236}">
                  <a16:creationId xmlns:a16="http://schemas.microsoft.com/office/drawing/2014/main" id="{F074DA3A-3E3E-4522-977A-40BB839A6DBF}"/>
                </a:ext>
              </a:extLst>
            </p:cNvPr>
            <p:cNvSpPr/>
            <p:nvPr/>
          </p:nvSpPr>
          <p:spPr>
            <a:xfrm>
              <a:off x="9633605" y="4183425"/>
              <a:ext cx="109152" cy="814559"/>
            </a:xfrm>
            <a:custGeom>
              <a:avLst/>
              <a:gdLst/>
              <a:ahLst/>
              <a:cxnLst/>
              <a:rect l="l" t="t" r="r" b="b"/>
              <a:pathLst>
                <a:path w="3703" h="27634" extrusionOk="0">
                  <a:moveTo>
                    <a:pt x="3702" y="1"/>
                  </a:moveTo>
                  <a:lnTo>
                    <a:pt x="59" y="2128"/>
                  </a:lnTo>
                  <a:lnTo>
                    <a:pt x="0" y="25564"/>
                  </a:lnTo>
                  <a:lnTo>
                    <a:pt x="3702" y="27634"/>
                  </a:lnTo>
                  <a:lnTo>
                    <a:pt x="3702" y="1"/>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spcFirstLastPara="1" wrap="square" lIns="121900" tIns="121900" rIns="121900" bIns="121900" anchor="ctr" anchorCtr="0">
              <a:noAutofit/>
            </a:bodyPr>
            <a:lstStyle/>
            <a:p>
              <a:pPr>
                <a:spcBef>
                  <a:spcPts val="0"/>
                </a:spcBef>
                <a:spcAft>
                  <a:spcPts val="0"/>
                </a:spcAft>
              </a:pPr>
              <a:endParaRPr/>
            </a:p>
          </p:txBody>
        </p:sp>
      </p:grpSp>
      <p:pic>
        <p:nvPicPr>
          <p:cNvPr id="74" name="Graphic 73" descr="Statistics">
            <a:extLst>
              <a:ext uri="{FF2B5EF4-FFF2-40B4-BE49-F238E27FC236}">
                <a16:creationId xmlns:a16="http://schemas.microsoft.com/office/drawing/2014/main" id="{4E453D05-C30F-4E96-9C71-FCDD25E6E82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335398" y="3278069"/>
            <a:ext cx="642011" cy="642011"/>
          </a:xfrm>
          <a:prstGeom prst="rect">
            <a:avLst/>
          </a:prstGeom>
        </p:spPr>
      </p:pic>
      <p:pic>
        <p:nvPicPr>
          <p:cNvPr id="75" name="Graphic 74" descr="Gears">
            <a:extLst>
              <a:ext uri="{FF2B5EF4-FFF2-40B4-BE49-F238E27FC236}">
                <a16:creationId xmlns:a16="http://schemas.microsoft.com/office/drawing/2014/main" id="{DADED21A-AF43-44A6-A4F4-2A2AB4E1F59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30407" y="3692383"/>
            <a:ext cx="642011" cy="642011"/>
          </a:xfrm>
          <a:prstGeom prst="rect">
            <a:avLst/>
          </a:prstGeom>
        </p:spPr>
      </p:pic>
      <p:pic>
        <p:nvPicPr>
          <p:cNvPr id="6" name="Graphic 5" descr="Brain in head with solid fill">
            <a:extLst>
              <a:ext uri="{FF2B5EF4-FFF2-40B4-BE49-F238E27FC236}">
                <a16:creationId xmlns:a16="http://schemas.microsoft.com/office/drawing/2014/main" id="{2C1E1D53-BE06-4002-A082-ADD99A6D51D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070757" y="2281321"/>
            <a:ext cx="914400" cy="914400"/>
          </a:xfrm>
          <a:prstGeom prst="rect">
            <a:avLst/>
          </a:prstGeom>
        </p:spPr>
      </p:pic>
      <p:cxnSp>
        <p:nvCxnSpPr>
          <p:cNvPr id="77" name="Google Shape;704;p61">
            <a:extLst>
              <a:ext uri="{FF2B5EF4-FFF2-40B4-BE49-F238E27FC236}">
                <a16:creationId xmlns:a16="http://schemas.microsoft.com/office/drawing/2014/main" id="{D0083D19-2882-404D-9724-C5485BCD8BC3}"/>
              </a:ext>
            </a:extLst>
          </p:cNvPr>
          <p:cNvCxnSpPr>
            <a:cxnSpLocks/>
          </p:cNvCxnSpPr>
          <p:nvPr/>
        </p:nvCxnSpPr>
        <p:spPr>
          <a:xfrm>
            <a:off x="1661220" y="4952330"/>
            <a:ext cx="7898570" cy="0"/>
          </a:xfrm>
          <a:prstGeom prst="straightConnector1">
            <a:avLst/>
          </a:prstGeom>
          <a:solidFill>
            <a:schemeClr val="accent5"/>
          </a:solidFill>
          <a:ln w="28575" cap="flat" cmpd="sng">
            <a:solidFill>
              <a:schemeClr val="tx2"/>
            </a:solidFill>
            <a:prstDash val="solid"/>
            <a:round/>
            <a:headEnd type="none" w="med" len="med"/>
            <a:tailEnd type="none" w="med" len="med"/>
          </a:ln>
        </p:spPr>
      </p:cxnSp>
    </p:spTree>
    <p:extLst>
      <p:ext uri="{BB962C8B-B14F-4D97-AF65-F5344CB8AC3E}">
        <p14:creationId xmlns:p14="http://schemas.microsoft.com/office/powerpoint/2010/main" val="40454407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19E167E6-EE7F-42D4-925A-3055C4ABC044}"/>
              </a:ext>
            </a:extLst>
          </p:cNvPr>
          <p:cNvSpPr txBox="1"/>
          <p:nvPr/>
        </p:nvSpPr>
        <p:spPr>
          <a:xfrm>
            <a:off x="4872092" y="1852538"/>
            <a:ext cx="2300751" cy="1354217"/>
          </a:xfrm>
          <a:prstGeom prst="rect">
            <a:avLst/>
          </a:prstGeom>
          <a:noFill/>
        </p:spPr>
        <p:txBody>
          <a:bodyPr wrap="square" rtlCol="0">
            <a:spAutoFit/>
          </a:bodyPr>
          <a:lstStyle/>
          <a:p>
            <a:pPr>
              <a:buClr>
                <a:srgbClr val="00B0F0"/>
              </a:buClr>
            </a:pPr>
            <a:r>
              <a:rPr lang="lt-LT" sz="2000" b="1" dirty="0">
                <a:solidFill>
                  <a:srgbClr val="00B050"/>
                </a:solidFill>
                <a:latin typeface="+mn-lt"/>
                <a:hlinkClick r:id="rId3">
                  <a:extLst>
                    <a:ext uri="{A12FA001-AC4F-418D-AE19-62706E023703}">
                      <ahyp:hlinkClr xmlns:ahyp="http://schemas.microsoft.com/office/drawing/2018/hyperlinkcolor" val="tx"/>
                    </a:ext>
                  </a:extLst>
                </a:hlinkClick>
              </a:rPr>
              <a:t>Ateities perspektyvos</a:t>
            </a:r>
            <a:endParaRPr lang="lt-LT" sz="2000" b="1" dirty="0">
              <a:solidFill>
                <a:srgbClr val="00B050"/>
              </a:solidFill>
              <a:latin typeface="+mn-lt"/>
            </a:endParaRPr>
          </a:p>
          <a:p>
            <a:pPr>
              <a:buClr>
                <a:srgbClr val="00B0F0"/>
              </a:buClr>
            </a:pPr>
            <a:endParaRPr lang="lt-LT" sz="1400" b="1" dirty="0">
              <a:solidFill>
                <a:srgbClr val="00B050"/>
              </a:solidFill>
              <a:latin typeface="+mn-lt"/>
            </a:endParaRPr>
          </a:p>
          <a:p>
            <a:pPr>
              <a:buClr>
                <a:srgbClr val="00B0F0"/>
              </a:buClr>
            </a:pPr>
            <a:endParaRPr lang="lt-LT" sz="1400" b="1" dirty="0">
              <a:solidFill>
                <a:srgbClr val="00B050"/>
              </a:solidFill>
              <a:latin typeface="+mn-lt"/>
            </a:endParaRPr>
          </a:p>
          <a:p>
            <a:pPr>
              <a:buClr>
                <a:srgbClr val="00B0F0"/>
              </a:buClr>
            </a:pPr>
            <a:endParaRPr lang="lt-LT" sz="1400" b="1" dirty="0">
              <a:solidFill>
                <a:srgbClr val="00B050"/>
              </a:solidFill>
              <a:latin typeface="+mn-lt"/>
            </a:endParaRPr>
          </a:p>
        </p:txBody>
      </p:sp>
    </p:spTree>
    <p:extLst>
      <p:ext uri="{BB962C8B-B14F-4D97-AF65-F5344CB8AC3E}">
        <p14:creationId xmlns:p14="http://schemas.microsoft.com/office/powerpoint/2010/main" val="38702260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BF72F539-07DA-4425-927F-A3E401BBAE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4" name="Object 13" hidden="1">
                        <a:extLst>
                          <a:ext uri="{FF2B5EF4-FFF2-40B4-BE49-F238E27FC236}">
                            <a16:creationId xmlns:a16="http://schemas.microsoft.com/office/drawing/2014/main" id="{BF72F539-07DA-4425-927F-A3E401BBAE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5C822968-8D56-4A02-BF51-2AAF232F2348}"/>
              </a:ext>
            </a:extLst>
          </p:cNvPr>
          <p:cNvSpPr>
            <a:spLocks noGrp="1"/>
          </p:cNvSpPr>
          <p:nvPr>
            <p:ph type="body" sz="quarter" idx="11"/>
          </p:nvPr>
        </p:nvSpPr>
        <p:spPr/>
        <p:txBody>
          <a:bodyPr/>
          <a:lstStyle/>
          <a:p>
            <a:r>
              <a:rPr lang="en-GB" dirty="0"/>
              <a:t>Main topics 2022 within Finance in regards of HOSA (Harmonization, Optimization, Standardization, Automation)</a:t>
            </a:r>
          </a:p>
        </p:txBody>
      </p:sp>
      <p:sp>
        <p:nvSpPr>
          <p:cNvPr id="5" name="Slide Number Placeholder 4">
            <a:extLst>
              <a:ext uri="{FF2B5EF4-FFF2-40B4-BE49-F238E27FC236}">
                <a16:creationId xmlns:a16="http://schemas.microsoft.com/office/drawing/2014/main" id="{339AAF28-D9AC-4929-9568-AC8A120C7BB7}"/>
              </a:ext>
            </a:extLst>
          </p:cNvPr>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A182149-5FEE-46AB-9490-B3CD4011A729}" type="slidenum">
              <a:rPr kumimoji="0" lang="en-GB" sz="700" b="0" i="0" u="none" strike="noStrike" kern="1200" cap="none" spc="0" normalizeH="0" baseline="0" noProof="0" smtClean="0">
                <a:ln>
                  <a:noFill/>
                </a:ln>
                <a:solidFill>
                  <a:srgbClr val="000000"/>
                </a:solidFill>
                <a:effectLst/>
                <a:uLnTx/>
                <a:uFillTx/>
                <a:latin typeface="MetaPlusLF" panose="02000503060000020004" pitchFamily="2" charset="-70"/>
                <a:ea typeface="+mn-ea"/>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GB" sz="700" b="0" i="0" u="none" strike="noStrike" kern="1200" cap="none" spc="0" normalizeH="0" baseline="0" noProof="0" dirty="0">
              <a:ln>
                <a:noFill/>
              </a:ln>
              <a:solidFill>
                <a:srgbClr val="000000"/>
              </a:solidFill>
              <a:effectLst/>
              <a:uLnTx/>
              <a:uFillTx/>
              <a:latin typeface="MetaPlusLF" panose="02000503060000020004" pitchFamily="2" charset="-70"/>
              <a:ea typeface="+mn-ea"/>
            </a:endParaRPr>
          </a:p>
        </p:txBody>
      </p:sp>
      <p:sp>
        <p:nvSpPr>
          <p:cNvPr id="9" name="Cloud 8">
            <a:extLst>
              <a:ext uri="{FF2B5EF4-FFF2-40B4-BE49-F238E27FC236}">
                <a16:creationId xmlns:a16="http://schemas.microsoft.com/office/drawing/2014/main" id="{49F93432-DB39-4C53-9E5A-02BCE7F65907}"/>
              </a:ext>
            </a:extLst>
          </p:cNvPr>
          <p:cNvSpPr/>
          <p:nvPr/>
        </p:nvSpPr>
        <p:spPr>
          <a:xfrm>
            <a:off x="7669360" y="3565782"/>
            <a:ext cx="3473152" cy="1236069"/>
          </a:xfrm>
          <a:prstGeom prst="cloud">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MetaPlusLF"/>
                <a:ea typeface="+mn-ea"/>
                <a:cs typeface="+mn-cs"/>
              </a:rPr>
              <a:t>Continuous controls and financial transaction monitoring (DE)</a:t>
            </a:r>
          </a:p>
        </p:txBody>
      </p:sp>
      <p:sp>
        <p:nvSpPr>
          <p:cNvPr id="11" name="Cloud 10">
            <a:extLst>
              <a:ext uri="{FF2B5EF4-FFF2-40B4-BE49-F238E27FC236}">
                <a16:creationId xmlns:a16="http://schemas.microsoft.com/office/drawing/2014/main" id="{5DFCAD56-3BB1-4183-BAE6-48D08EA553B0}"/>
              </a:ext>
            </a:extLst>
          </p:cNvPr>
          <p:cNvSpPr/>
          <p:nvPr/>
        </p:nvSpPr>
        <p:spPr>
          <a:xfrm>
            <a:off x="270258" y="5426357"/>
            <a:ext cx="4142106" cy="1008206"/>
          </a:xfrm>
          <a:prstGeom prst="cloud">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chemeClr val="tx1"/>
                </a:solidFill>
                <a:effectLst/>
                <a:uLnTx/>
                <a:uFillTx/>
                <a:latin typeface="MetaPlusLF"/>
                <a:ea typeface="+mn-ea"/>
                <a:cs typeface="+mn-cs"/>
              </a:rPr>
              <a:t>NGE (Next Generation ERP)</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chemeClr val="tx1"/>
                </a:solidFill>
                <a:effectLst/>
                <a:uLnTx/>
                <a:uFillTx/>
                <a:latin typeface="MetaPlusLF"/>
                <a:ea typeface="+mn-ea"/>
                <a:cs typeface="+mn-cs"/>
              </a:rPr>
              <a:t>S/4HANA migration</a:t>
            </a:r>
          </a:p>
        </p:txBody>
      </p:sp>
      <p:sp>
        <p:nvSpPr>
          <p:cNvPr id="13" name="Cloud 12">
            <a:extLst>
              <a:ext uri="{FF2B5EF4-FFF2-40B4-BE49-F238E27FC236}">
                <a16:creationId xmlns:a16="http://schemas.microsoft.com/office/drawing/2014/main" id="{8F6ADF93-58AB-4FAA-B827-E2F0FBCFA49A}"/>
              </a:ext>
            </a:extLst>
          </p:cNvPr>
          <p:cNvSpPr/>
          <p:nvPr/>
        </p:nvSpPr>
        <p:spPr>
          <a:xfrm>
            <a:off x="252268" y="2345733"/>
            <a:ext cx="2424672" cy="1254161"/>
          </a:xfrm>
          <a:prstGeom prst="cloud">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MetaPlusLF"/>
                <a:ea typeface="+mn-ea"/>
                <a:cs typeface="+mn-cs"/>
              </a:rPr>
              <a:t>FIT/YAMBS automation</a:t>
            </a:r>
          </a:p>
        </p:txBody>
      </p:sp>
      <p:sp>
        <p:nvSpPr>
          <p:cNvPr id="15" name="Cloud 14">
            <a:extLst>
              <a:ext uri="{FF2B5EF4-FFF2-40B4-BE49-F238E27FC236}">
                <a16:creationId xmlns:a16="http://schemas.microsoft.com/office/drawing/2014/main" id="{C5672C2A-31D1-4F65-8385-870B903AD0EA}"/>
              </a:ext>
            </a:extLst>
          </p:cNvPr>
          <p:cNvSpPr/>
          <p:nvPr/>
        </p:nvSpPr>
        <p:spPr>
          <a:xfrm>
            <a:off x="4926003" y="2269589"/>
            <a:ext cx="3324954" cy="1095117"/>
          </a:xfrm>
          <a:prstGeom prst="cloud">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MetaPlusLF"/>
                <a:ea typeface="+mn-ea"/>
                <a:cs typeface="+mn-cs"/>
              </a:rPr>
              <a:t>Purchase-to-Pay process harmonization and improvement</a:t>
            </a:r>
          </a:p>
        </p:txBody>
      </p:sp>
      <p:sp>
        <p:nvSpPr>
          <p:cNvPr id="17" name="Cloud 16">
            <a:extLst>
              <a:ext uri="{FF2B5EF4-FFF2-40B4-BE49-F238E27FC236}">
                <a16:creationId xmlns:a16="http://schemas.microsoft.com/office/drawing/2014/main" id="{B7EA943C-A016-4C7B-8928-ABC03695FBF0}"/>
              </a:ext>
            </a:extLst>
          </p:cNvPr>
          <p:cNvSpPr/>
          <p:nvPr/>
        </p:nvSpPr>
        <p:spPr>
          <a:xfrm>
            <a:off x="2464538" y="2972813"/>
            <a:ext cx="2673867" cy="1041394"/>
          </a:xfrm>
          <a:prstGeom prst="cloud">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MetaPlusLF"/>
                <a:ea typeface="+mn-ea"/>
                <a:cs typeface="+mn-cs"/>
              </a:rPr>
              <a:t>Optimization of Intercompany invoice process</a:t>
            </a:r>
          </a:p>
        </p:txBody>
      </p:sp>
      <p:sp>
        <p:nvSpPr>
          <p:cNvPr id="18" name="Cloud 17">
            <a:extLst>
              <a:ext uri="{FF2B5EF4-FFF2-40B4-BE49-F238E27FC236}">
                <a16:creationId xmlns:a16="http://schemas.microsoft.com/office/drawing/2014/main" id="{746F8269-4A0C-4D6F-9A5D-41A2414F56E2}"/>
              </a:ext>
            </a:extLst>
          </p:cNvPr>
          <p:cNvSpPr/>
          <p:nvPr/>
        </p:nvSpPr>
        <p:spPr>
          <a:xfrm>
            <a:off x="465382" y="4106717"/>
            <a:ext cx="3600399" cy="1168740"/>
          </a:xfrm>
          <a:prstGeom prst="cloud">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MetaPlusLF"/>
                <a:ea typeface="+mn-ea"/>
                <a:cs typeface="+mn-cs"/>
              </a:rPr>
              <a:t> Process automation with RPA - Customer Portal &amp; Other Scenarios</a:t>
            </a:r>
          </a:p>
        </p:txBody>
      </p:sp>
      <p:sp>
        <p:nvSpPr>
          <p:cNvPr id="19" name="Cloud 18">
            <a:extLst>
              <a:ext uri="{FF2B5EF4-FFF2-40B4-BE49-F238E27FC236}">
                <a16:creationId xmlns:a16="http://schemas.microsoft.com/office/drawing/2014/main" id="{F01F692A-D135-4758-AFC4-EBEF16E14C51}"/>
              </a:ext>
            </a:extLst>
          </p:cNvPr>
          <p:cNvSpPr/>
          <p:nvPr/>
        </p:nvSpPr>
        <p:spPr>
          <a:xfrm>
            <a:off x="4558892" y="5316135"/>
            <a:ext cx="3781313" cy="1168740"/>
          </a:xfrm>
          <a:prstGeom prst="cloud">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MetaPlusLF"/>
                <a:ea typeface="+mn-ea"/>
                <a:cs typeface="+mn-cs"/>
              </a:rPr>
              <a:t>Further roll-out of Credit Management tool in DACH</a:t>
            </a:r>
          </a:p>
        </p:txBody>
      </p:sp>
      <p:sp>
        <p:nvSpPr>
          <p:cNvPr id="20" name="Cloud 19">
            <a:extLst>
              <a:ext uri="{FF2B5EF4-FFF2-40B4-BE49-F238E27FC236}">
                <a16:creationId xmlns:a16="http://schemas.microsoft.com/office/drawing/2014/main" id="{CAE3EBB4-D704-4262-8D84-442F3B5858D5}"/>
              </a:ext>
            </a:extLst>
          </p:cNvPr>
          <p:cNvSpPr/>
          <p:nvPr/>
        </p:nvSpPr>
        <p:spPr>
          <a:xfrm>
            <a:off x="8340205" y="4869318"/>
            <a:ext cx="3372103" cy="1168740"/>
          </a:xfrm>
          <a:prstGeom prst="cloud">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MetaPlusLF"/>
                <a:ea typeface="+mn-ea"/>
                <a:cs typeface="+mn-cs"/>
              </a:rPr>
              <a:t>Optimization cash collection incl. dunning and cash pooling</a:t>
            </a:r>
          </a:p>
        </p:txBody>
      </p:sp>
      <p:sp>
        <p:nvSpPr>
          <p:cNvPr id="16" name="Cloud 15">
            <a:extLst>
              <a:ext uri="{FF2B5EF4-FFF2-40B4-BE49-F238E27FC236}">
                <a16:creationId xmlns:a16="http://schemas.microsoft.com/office/drawing/2014/main" id="{F1B9C172-F82A-44FF-B9B4-608FCFC2AF53}"/>
              </a:ext>
            </a:extLst>
          </p:cNvPr>
          <p:cNvSpPr/>
          <p:nvPr/>
        </p:nvSpPr>
        <p:spPr>
          <a:xfrm>
            <a:off x="8457799" y="2338112"/>
            <a:ext cx="2900640" cy="1236069"/>
          </a:xfrm>
          <a:prstGeom prst="cloud">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MetaPlusLF"/>
                <a:ea typeface="+mn-ea"/>
                <a:cs typeface="+mn-cs"/>
              </a:rPr>
              <a:t>Digitalization and Automation of Internal Controls</a:t>
            </a:r>
          </a:p>
        </p:txBody>
      </p:sp>
      <p:sp>
        <p:nvSpPr>
          <p:cNvPr id="10" name="Cloud 9">
            <a:extLst>
              <a:ext uri="{FF2B5EF4-FFF2-40B4-BE49-F238E27FC236}">
                <a16:creationId xmlns:a16="http://schemas.microsoft.com/office/drawing/2014/main" id="{4C79D016-57DF-4816-8E46-91E6F86BE4F5}"/>
              </a:ext>
            </a:extLst>
          </p:cNvPr>
          <p:cNvSpPr/>
          <p:nvPr/>
        </p:nvSpPr>
        <p:spPr>
          <a:xfrm>
            <a:off x="4156238" y="4080801"/>
            <a:ext cx="3513122" cy="1168740"/>
          </a:xfrm>
          <a:prstGeom prst="cloud">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MetaPlusLF"/>
                <a:ea typeface="+mn-ea"/>
                <a:cs typeface="+mn-cs"/>
              </a:rPr>
              <a:t>Travel Expense process and tool standardization</a:t>
            </a:r>
          </a:p>
        </p:txBody>
      </p:sp>
    </p:spTree>
    <p:extLst>
      <p:ext uri="{BB962C8B-B14F-4D97-AF65-F5344CB8AC3E}">
        <p14:creationId xmlns:p14="http://schemas.microsoft.com/office/powerpoint/2010/main" val="792980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2100" b="1" dirty="0">
              <a:latin typeface="MetaPlusLF" panose="02000503060000020004" pitchFamily="2" charset="0"/>
              <a:sym typeface="MetaPlusLF" panose="02000503060000020004" pitchFamily="2" charset="0"/>
            </a:endParaRPr>
          </a:p>
        </p:txBody>
      </p:sp>
      <p:sp>
        <p:nvSpPr>
          <p:cNvPr id="10" name="Textfeld 9"/>
          <p:cNvSpPr txBox="1"/>
          <p:nvPr/>
        </p:nvSpPr>
        <p:spPr>
          <a:xfrm>
            <a:off x="648497" y="2915800"/>
            <a:ext cx="5886309" cy="360867"/>
          </a:xfrm>
          <a:prstGeom prst="rect">
            <a:avLst/>
          </a:prstGeom>
          <a:noFill/>
          <a:ln>
            <a:noFill/>
          </a:ln>
        </p:spPr>
        <p:txBody>
          <a:bodyPr wrap="square" lIns="81519" tIns="32608" rIns="32608" bIns="32608" rtlCol="0">
            <a:noAutofit/>
          </a:bodyPr>
          <a:lstStyle/>
          <a:p>
            <a:r>
              <a:rPr lang="lt-LT" sz="1400" b="1" dirty="0">
                <a:solidFill>
                  <a:srgbClr val="7FC8ED"/>
                </a:solidFill>
                <a:latin typeface="+mj-lt"/>
              </a:rPr>
              <a:t>Teigiamos pusės atskirai įmonei</a:t>
            </a:r>
            <a:endParaRPr lang="en-GB" sz="1400" b="1" dirty="0">
              <a:solidFill>
                <a:srgbClr val="7FC8ED"/>
              </a:solidFill>
              <a:latin typeface="+mj-lt"/>
            </a:endParaRPr>
          </a:p>
        </p:txBody>
      </p:sp>
      <p:sp>
        <p:nvSpPr>
          <p:cNvPr id="12" name="Gleichschenkliges Dreieck 63"/>
          <p:cNvSpPr/>
          <p:nvPr/>
        </p:nvSpPr>
        <p:spPr>
          <a:xfrm rot="10800000">
            <a:off x="1765788" y="2475731"/>
            <a:ext cx="8431824" cy="370932"/>
          </a:xfrm>
          <a:prstGeom prst="triangle">
            <a:avLst/>
          </a:prstGeom>
          <a:solidFill>
            <a:srgbClr val="7FC8E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049" tIns="36525" rIns="73049" bIns="36525" numCol="1" spcCol="0" rtlCol="0" fromWordArt="0" anchor="ctr" anchorCtr="0" forceAA="0" compatLnSpc="1">
            <a:prstTxWarp prst="textNoShape">
              <a:avLst/>
            </a:prstTxWarp>
            <a:noAutofit/>
          </a:bodyPr>
          <a:lstStyle/>
          <a:p>
            <a:pPr algn="ctr"/>
            <a:endParaRPr lang="de-DE" sz="1439" dirty="0">
              <a:solidFill>
                <a:schemeClr val="accent1">
                  <a:lumMod val="50000"/>
                </a:schemeClr>
              </a:solidFill>
            </a:endParaRPr>
          </a:p>
        </p:txBody>
      </p:sp>
      <p:sp>
        <p:nvSpPr>
          <p:cNvPr id="2" name="Rechteck 1"/>
          <p:cNvSpPr/>
          <p:nvPr/>
        </p:nvSpPr>
        <p:spPr>
          <a:xfrm>
            <a:off x="252265" y="3276667"/>
            <a:ext cx="11460041" cy="325601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spcAft>
                <a:spcPts val="200"/>
              </a:spcAft>
            </a:pPr>
            <a:r>
              <a:rPr lang="lt-LT" sz="1200" b="1" dirty="0">
                <a:solidFill>
                  <a:schemeClr val="tx1"/>
                </a:solidFill>
              </a:rPr>
              <a:t>Pridėtinė vertė:</a:t>
            </a:r>
            <a:endParaRPr lang="de-DE" sz="1200" b="1" dirty="0">
              <a:solidFill>
                <a:schemeClr val="tx1"/>
              </a:solidFill>
            </a:endParaRPr>
          </a:p>
          <a:p>
            <a:pPr lvl="1">
              <a:spcAft>
                <a:spcPts val="200"/>
              </a:spcAft>
              <a:tabLst>
                <a:tab pos="623888" algn="l"/>
              </a:tabLst>
            </a:pPr>
            <a:r>
              <a:rPr lang="en-US" sz="1200" dirty="0">
                <a:solidFill>
                  <a:schemeClr val="tx1"/>
                </a:solidFill>
              </a:rPr>
              <a:t>- 	Possibility to focus on critical controlling and Finance activities rather than on transactional processes</a:t>
            </a:r>
            <a:endParaRPr lang="de-DE" sz="1200" dirty="0">
              <a:solidFill>
                <a:schemeClr val="tx1"/>
              </a:solidFill>
            </a:endParaRPr>
          </a:p>
          <a:p>
            <a:pPr lvl="1">
              <a:spcAft>
                <a:spcPts val="200"/>
              </a:spcAft>
              <a:tabLst>
                <a:tab pos="623888" algn="l"/>
              </a:tabLst>
            </a:pPr>
            <a:r>
              <a:rPr lang="en-US" sz="1200" dirty="0">
                <a:solidFill>
                  <a:schemeClr val="tx1"/>
                </a:solidFill>
              </a:rPr>
              <a:t>- 	More time to perform critical and direct customer-related activities</a:t>
            </a:r>
            <a:endParaRPr lang="de-DE" sz="1200" dirty="0">
              <a:solidFill>
                <a:schemeClr val="tx1"/>
              </a:solidFill>
            </a:endParaRPr>
          </a:p>
          <a:p>
            <a:pPr lvl="0">
              <a:spcAft>
                <a:spcPts val="200"/>
              </a:spcAft>
            </a:pPr>
            <a:r>
              <a:rPr lang="lt-LT" sz="1200" b="1" dirty="0">
                <a:solidFill>
                  <a:schemeClr val="tx1"/>
                </a:solidFill>
              </a:rPr>
              <a:t>Kaštų taupymo nauda</a:t>
            </a:r>
            <a:r>
              <a:rPr lang="en-GB" sz="1200" b="1" dirty="0">
                <a:solidFill>
                  <a:schemeClr val="tx1"/>
                </a:solidFill>
              </a:rPr>
              <a:t>: </a:t>
            </a:r>
            <a:endParaRPr lang="de-DE" sz="1200" b="1" dirty="0">
              <a:solidFill>
                <a:schemeClr val="tx1"/>
              </a:solidFill>
            </a:endParaRPr>
          </a:p>
          <a:p>
            <a:pPr lvl="1">
              <a:spcAft>
                <a:spcPts val="200"/>
              </a:spcAft>
              <a:tabLst>
                <a:tab pos="623888" algn="l"/>
              </a:tabLst>
            </a:pPr>
            <a:r>
              <a:rPr lang="en-US" sz="1200" dirty="0">
                <a:solidFill>
                  <a:schemeClr val="tx1"/>
                </a:solidFill>
              </a:rPr>
              <a:t>- 	Total cost to perform the transactional Accounting processes on local level is reduced through efficiency gains and/or labor arbitrage (at least equals prior situation)</a:t>
            </a:r>
            <a:endParaRPr lang="de-DE" sz="1200" dirty="0">
              <a:solidFill>
                <a:schemeClr val="tx1"/>
              </a:solidFill>
            </a:endParaRPr>
          </a:p>
          <a:p>
            <a:pPr lvl="1">
              <a:spcAft>
                <a:spcPts val="200"/>
              </a:spcAft>
              <a:tabLst>
                <a:tab pos="623888" algn="l"/>
              </a:tabLst>
            </a:pPr>
            <a:r>
              <a:rPr lang="en-US" sz="1200" dirty="0">
                <a:solidFill>
                  <a:schemeClr val="tx1"/>
                </a:solidFill>
              </a:rPr>
              <a:t>-	Development of a variable cost structure which increases or decreases dependent on the business volume </a:t>
            </a:r>
            <a:endParaRPr lang="de-DE" sz="1200" dirty="0">
              <a:solidFill>
                <a:schemeClr val="tx1"/>
              </a:solidFill>
            </a:endParaRPr>
          </a:p>
          <a:p>
            <a:pPr lvl="0">
              <a:spcAft>
                <a:spcPts val="200"/>
              </a:spcAft>
            </a:pPr>
            <a:r>
              <a:rPr lang="lt-LT" sz="1200" b="1" dirty="0">
                <a:solidFill>
                  <a:schemeClr val="tx1"/>
                </a:solidFill>
              </a:rPr>
              <a:t>Rizikos valdymas ir atitiktis</a:t>
            </a:r>
            <a:r>
              <a:rPr lang="en-US" sz="1200" b="1" dirty="0">
                <a:solidFill>
                  <a:schemeClr val="tx1"/>
                </a:solidFill>
              </a:rPr>
              <a:t>:</a:t>
            </a:r>
            <a:endParaRPr lang="de-DE" sz="1200" b="1" dirty="0">
              <a:solidFill>
                <a:schemeClr val="tx1"/>
              </a:solidFill>
            </a:endParaRPr>
          </a:p>
          <a:p>
            <a:pPr lvl="1">
              <a:spcAft>
                <a:spcPts val="200"/>
              </a:spcAft>
              <a:tabLst>
                <a:tab pos="623888" algn="l"/>
              </a:tabLst>
            </a:pPr>
            <a:r>
              <a:rPr lang="en-US" sz="1200" dirty="0">
                <a:solidFill>
                  <a:schemeClr val="tx1"/>
                </a:solidFill>
              </a:rPr>
              <a:t>-	Segregation of duties for critical processes is ensured at all times, also for smaller entities</a:t>
            </a:r>
            <a:endParaRPr lang="de-DE" sz="1200" dirty="0">
              <a:solidFill>
                <a:schemeClr val="tx1"/>
              </a:solidFill>
            </a:endParaRPr>
          </a:p>
          <a:p>
            <a:pPr lvl="1">
              <a:spcAft>
                <a:spcPts val="200"/>
              </a:spcAft>
              <a:tabLst>
                <a:tab pos="623888" algn="l"/>
              </a:tabLst>
            </a:pPr>
            <a:r>
              <a:rPr lang="en-US" sz="1200" dirty="0">
                <a:solidFill>
                  <a:schemeClr val="tx1"/>
                </a:solidFill>
              </a:rPr>
              <a:t>-	Possible risks of local absences without replacement is mitigated, especially in smaller entities </a:t>
            </a:r>
            <a:endParaRPr lang="de-DE" sz="1200" dirty="0">
              <a:solidFill>
                <a:schemeClr val="tx1"/>
              </a:solidFill>
            </a:endParaRPr>
          </a:p>
          <a:p>
            <a:pPr lvl="1">
              <a:spcAft>
                <a:spcPts val="200"/>
              </a:spcAft>
              <a:tabLst>
                <a:tab pos="623888" algn="l"/>
              </a:tabLst>
            </a:pPr>
            <a:r>
              <a:rPr lang="en-US" sz="1200" dirty="0">
                <a:solidFill>
                  <a:schemeClr val="tx1"/>
                </a:solidFill>
              </a:rPr>
              <a:t>-	Annual certification of adherence to relevant internal controls (ISAE 3402) is provided which can be used for local audits</a:t>
            </a:r>
            <a:endParaRPr lang="de-DE" sz="1200" dirty="0">
              <a:solidFill>
                <a:schemeClr val="tx1"/>
              </a:solidFill>
            </a:endParaRPr>
          </a:p>
          <a:p>
            <a:pPr lvl="0">
              <a:spcAft>
                <a:spcPts val="200"/>
              </a:spcAft>
            </a:pPr>
            <a:r>
              <a:rPr lang="lt-LT" sz="1200" b="1" dirty="0">
                <a:solidFill>
                  <a:schemeClr val="tx1"/>
                </a:solidFill>
              </a:rPr>
              <a:t>Geriausios </a:t>
            </a:r>
            <a:r>
              <a:rPr lang="lt-LT" sz="1200" b="1" dirty="0" err="1">
                <a:solidFill>
                  <a:schemeClr val="tx1"/>
                </a:solidFill>
              </a:rPr>
              <a:t>praktios</a:t>
            </a:r>
            <a:r>
              <a:rPr lang="lt-LT" sz="1200" b="1" dirty="0">
                <a:solidFill>
                  <a:schemeClr val="tx1"/>
                </a:solidFill>
              </a:rPr>
              <a:t> ir įrankių diegimas </a:t>
            </a:r>
            <a:r>
              <a:rPr lang="en-US" sz="1200" b="1" dirty="0">
                <a:solidFill>
                  <a:schemeClr val="tx1"/>
                </a:solidFill>
              </a:rPr>
              <a:t>(FIT, YAMBS):</a:t>
            </a:r>
          </a:p>
          <a:p>
            <a:pPr lvl="0">
              <a:spcAft>
                <a:spcPts val="200"/>
              </a:spcAft>
              <a:tabLst>
                <a:tab pos="449263" algn="l"/>
                <a:tab pos="625475" algn="l"/>
              </a:tabLst>
            </a:pPr>
            <a:r>
              <a:rPr lang="en-US" sz="1200" b="1" dirty="0">
                <a:solidFill>
                  <a:schemeClr val="tx1"/>
                </a:solidFill>
              </a:rPr>
              <a:t>	</a:t>
            </a:r>
            <a:r>
              <a:rPr lang="en-US" sz="1200" dirty="0">
                <a:solidFill>
                  <a:schemeClr val="tx1"/>
                </a:solidFill>
              </a:rPr>
              <a:t>-</a:t>
            </a:r>
            <a:r>
              <a:rPr lang="en-US" sz="1200" b="1" dirty="0">
                <a:solidFill>
                  <a:schemeClr val="tx1"/>
                </a:solidFill>
              </a:rPr>
              <a:t>	</a:t>
            </a:r>
            <a:r>
              <a:rPr lang="en-US" sz="1200" dirty="0">
                <a:solidFill>
                  <a:schemeClr val="tx1"/>
                </a:solidFill>
              </a:rPr>
              <a:t>Consistent usage of tools and systems which have been chosen as global best practice for the respective processes (FIT, YAMBS) is ensured</a:t>
            </a:r>
          </a:p>
          <a:p>
            <a:pPr>
              <a:spcAft>
                <a:spcPts val="200"/>
              </a:spcAft>
              <a:tabLst>
                <a:tab pos="449263" algn="l"/>
                <a:tab pos="625475" algn="l"/>
              </a:tabLst>
            </a:pPr>
            <a:r>
              <a:rPr lang="en-US" sz="1200" dirty="0">
                <a:solidFill>
                  <a:schemeClr val="tx1"/>
                </a:solidFill>
              </a:rPr>
              <a:t>	-	Specific tools and process improvements identified on local or central level are leveraged through shared services to all Festo entities</a:t>
            </a:r>
            <a:endParaRPr lang="de-DE" sz="1200" dirty="0">
              <a:solidFill>
                <a:schemeClr val="tx1"/>
              </a:solidFill>
            </a:endParaRPr>
          </a:p>
        </p:txBody>
      </p:sp>
      <p:sp>
        <p:nvSpPr>
          <p:cNvPr id="36" name="Textplatzhalter 4"/>
          <p:cNvSpPr>
            <a:spLocks noGrp="1"/>
          </p:cNvSpPr>
          <p:nvPr>
            <p:ph type="body" sz="quarter" idx="12"/>
          </p:nvPr>
        </p:nvSpPr>
        <p:spPr>
          <a:xfrm>
            <a:off x="252267" y="2068513"/>
            <a:ext cx="11460041" cy="431800"/>
          </a:xfrm>
        </p:spPr>
        <p:txBody>
          <a:bodyPr/>
          <a:lstStyle/>
          <a:p>
            <a:r>
              <a:rPr lang="lt-LT" dirty="0"/>
              <a:t>Teigiami aspektai Festo įmonėms visame pasaulyje</a:t>
            </a:r>
            <a:endParaRPr lang="en-GB" dirty="0"/>
          </a:p>
        </p:txBody>
      </p:sp>
      <p:grpSp>
        <p:nvGrpSpPr>
          <p:cNvPr id="8" name="Gruppieren 7"/>
          <p:cNvGrpSpPr/>
          <p:nvPr/>
        </p:nvGrpSpPr>
        <p:grpSpPr>
          <a:xfrm>
            <a:off x="251092" y="2678953"/>
            <a:ext cx="397405" cy="546498"/>
            <a:chOff x="6036815" y="243148"/>
            <a:chExt cx="583837" cy="892539"/>
          </a:xfrm>
          <a:solidFill>
            <a:srgbClr val="7FC8ED"/>
          </a:solidFill>
        </p:grpSpPr>
        <p:sp>
          <p:nvSpPr>
            <p:cNvPr id="37" name="Freeform 5"/>
            <p:cNvSpPr>
              <a:spLocks/>
            </p:cNvSpPr>
            <p:nvPr/>
          </p:nvSpPr>
          <p:spPr bwMode="auto">
            <a:xfrm>
              <a:off x="6036815" y="578398"/>
              <a:ext cx="583837" cy="557289"/>
            </a:xfrm>
            <a:custGeom>
              <a:avLst/>
              <a:gdLst/>
              <a:ahLst/>
              <a:cxnLst>
                <a:cxn ang="0">
                  <a:pos x="5133" y="2766"/>
                </a:cxn>
                <a:cxn ang="0">
                  <a:pos x="5159" y="2919"/>
                </a:cxn>
                <a:cxn ang="0">
                  <a:pos x="4998" y="2515"/>
                </a:cxn>
                <a:cxn ang="0">
                  <a:pos x="4686" y="2320"/>
                </a:cxn>
                <a:cxn ang="0">
                  <a:pos x="4411" y="2760"/>
                </a:cxn>
                <a:cxn ang="0">
                  <a:pos x="4236" y="3084"/>
                </a:cxn>
                <a:cxn ang="0">
                  <a:pos x="4055" y="2695"/>
                </a:cxn>
                <a:cxn ang="0">
                  <a:pos x="3823" y="2450"/>
                </a:cxn>
                <a:cxn ang="0">
                  <a:pos x="3446" y="2356"/>
                </a:cxn>
                <a:cxn ang="0">
                  <a:pos x="2945" y="2263"/>
                </a:cxn>
                <a:cxn ang="0">
                  <a:pos x="2727" y="2234"/>
                </a:cxn>
                <a:cxn ang="0">
                  <a:pos x="3025" y="2436"/>
                </a:cxn>
                <a:cxn ang="0">
                  <a:pos x="3046" y="2875"/>
                </a:cxn>
                <a:cxn ang="0">
                  <a:pos x="2422" y="3142"/>
                </a:cxn>
                <a:cxn ang="0">
                  <a:pos x="2299" y="2782"/>
                </a:cxn>
                <a:cxn ang="0">
                  <a:pos x="2176" y="2508"/>
                </a:cxn>
                <a:cxn ang="0">
                  <a:pos x="1886" y="2075"/>
                </a:cxn>
                <a:cxn ang="0">
                  <a:pos x="2139" y="2782"/>
                </a:cxn>
                <a:cxn ang="0">
                  <a:pos x="2415" y="3171"/>
                </a:cxn>
                <a:cxn ang="0">
                  <a:pos x="2865" y="3221"/>
                </a:cxn>
                <a:cxn ang="0">
                  <a:pos x="2705" y="3589"/>
                </a:cxn>
                <a:cxn ang="0">
                  <a:pos x="2422" y="3827"/>
                </a:cxn>
                <a:cxn ang="0">
                  <a:pos x="2263" y="4425"/>
                </a:cxn>
                <a:cxn ang="0">
                  <a:pos x="2016" y="4771"/>
                </a:cxn>
                <a:cxn ang="0">
                  <a:pos x="1668" y="5074"/>
                </a:cxn>
                <a:cxn ang="0">
                  <a:pos x="1232" y="4807"/>
                </a:cxn>
                <a:cxn ang="0">
                  <a:pos x="964" y="4461"/>
                </a:cxn>
                <a:cxn ang="0">
                  <a:pos x="855" y="3978"/>
                </a:cxn>
                <a:cxn ang="0">
                  <a:pos x="739" y="3762"/>
                </a:cxn>
                <a:cxn ang="0">
                  <a:pos x="667" y="3495"/>
                </a:cxn>
                <a:cxn ang="0">
                  <a:pos x="282" y="3120"/>
                </a:cxn>
                <a:cxn ang="0">
                  <a:pos x="13" y="2378"/>
                </a:cxn>
                <a:cxn ang="0">
                  <a:pos x="144" y="1953"/>
                </a:cxn>
                <a:cxn ang="0">
                  <a:pos x="471" y="1556"/>
                </a:cxn>
                <a:cxn ang="0">
                  <a:pos x="913" y="1513"/>
                </a:cxn>
                <a:cxn ang="0">
                  <a:pos x="1247" y="1938"/>
                </a:cxn>
                <a:cxn ang="0">
                  <a:pos x="1675" y="1989"/>
                </a:cxn>
                <a:cxn ang="0">
                  <a:pos x="2052" y="1895"/>
                </a:cxn>
                <a:cxn ang="0">
                  <a:pos x="1798" y="1693"/>
                </a:cxn>
                <a:cxn ang="0">
                  <a:pos x="1632" y="1448"/>
                </a:cxn>
                <a:cxn ang="0">
                  <a:pos x="1486" y="1383"/>
                </a:cxn>
                <a:cxn ang="0">
                  <a:pos x="1363" y="1325"/>
                </a:cxn>
                <a:cxn ang="0">
                  <a:pos x="1305" y="1390"/>
                </a:cxn>
                <a:cxn ang="0">
                  <a:pos x="761" y="1412"/>
                </a:cxn>
                <a:cxn ang="0">
                  <a:pos x="746" y="1116"/>
                </a:cxn>
                <a:cxn ang="0">
                  <a:pos x="1022" y="951"/>
                </a:cxn>
                <a:cxn ang="0">
                  <a:pos x="1443" y="742"/>
                </a:cxn>
                <a:cxn ang="0">
                  <a:pos x="1530" y="706"/>
                </a:cxn>
                <a:cxn ang="0">
                  <a:pos x="2052" y="576"/>
                </a:cxn>
                <a:cxn ang="0">
                  <a:pos x="2139" y="352"/>
                </a:cxn>
                <a:cxn ang="0">
                  <a:pos x="1777" y="626"/>
                </a:cxn>
                <a:cxn ang="0">
                  <a:pos x="1675" y="424"/>
                </a:cxn>
                <a:cxn ang="0">
                  <a:pos x="2096" y="251"/>
                </a:cxn>
                <a:cxn ang="0">
                  <a:pos x="2393" y="259"/>
                </a:cxn>
                <a:cxn ang="0">
                  <a:pos x="2597" y="367"/>
                </a:cxn>
                <a:cxn ang="0">
                  <a:pos x="3032" y="172"/>
                </a:cxn>
                <a:cxn ang="0">
                  <a:pos x="3155" y="208"/>
                </a:cxn>
                <a:cxn ang="0">
                  <a:pos x="3395" y="28"/>
                </a:cxn>
                <a:cxn ang="0">
                  <a:pos x="5194" y="2241"/>
                </a:cxn>
                <a:cxn ang="0">
                  <a:pos x="5339" y="2565"/>
                </a:cxn>
              </a:cxnLst>
              <a:rect l="0" t="0" r="r" b="b"/>
              <a:pathLst>
                <a:path w="5340" h="5093">
                  <a:moveTo>
                    <a:pt x="5325" y="2623"/>
                  </a:moveTo>
                  <a:cubicBezTo>
                    <a:pt x="5319" y="2639"/>
                    <a:pt x="5319" y="2656"/>
                    <a:pt x="5303" y="2674"/>
                  </a:cubicBezTo>
                  <a:cubicBezTo>
                    <a:pt x="5309" y="2721"/>
                    <a:pt x="5290" y="2742"/>
                    <a:pt x="5281" y="2774"/>
                  </a:cubicBezTo>
                  <a:cubicBezTo>
                    <a:pt x="5265" y="2771"/>
                    <a:pt x="5278" y="2739"/>
                    <a:pt x="5274" y="2724"/>
                  </a:cubicBezTo>
                  <a:cubicBezTo>
                    <a:pt x="5269" y="2714"/>
                    <a:pt x="5258" y="2711"/>
                    <a:pt x="5245" y="2710"/>
                  </a:cubicBezTo>
                  <a:cubicBezTo>
                    <a:pt x="5238" y="2705"/>
                    <a:pt x="5237" y="2693"/>
                    <a:pt x="5223" y="2695"/>
                  </a:cubicBezTo>
                  <a:cubicBezTo>
                    <a:pt x="5227" y="2672"/>
                    <a:pt x="5213" y="2667"/>
                    <a:pt x="5209" y="2652"/>
                  </a:cubicBezTo>
                  <a:cubicBezTo>
                    <a:pt x="5198" y="2652"/>
                    <a:pt x="5179" y="2625"/>
                    <a:pt x="5172" y="2645"/>
                  </a:cubicBezTo>
                  <a:cubicBezTo>
                    <a:pt x="5157" y="2644"/>
                    <a:pt x="5157" y="2627"/>
                    <a:pt x="5158" y="2609"/>
                  </a:cubicBezTo>
                  <a:cubicBezTo>
                    <a:pt x="5110" y="2611"/>
                    <a:pt x="5138" y="2657"/>
                    <a:pt x="5136" y="2688"/>
                  </a:cubicBezTo>
                  <a:cubicBezTo>
                    <a:pt x="5133" y="2731"/>
                    <a:pt x="5119" y="2705"/>
                    <a:pt x="5122" y="2750"/>
                  </a:cubicBezTo>
                  <a:cubicBezTo>
                    <a:pt x="5120" y="2765"/>
                    <a:pt x="5128" y="2759"/>
                    <a:pt x="5133" y="2766"/>
                  </a:cubicBezTo>
                  <a:cubicBezTo>
                    <a:pt x="5138" y="2771"/>
                    <a:pt x="5140" y="2778"/>
                    <a:pt x="5147" y="2781"/>
                  </a:cubicBezTo>
                  <a:cubicBezTo>
                    <a:pt x="5142" y="2810"/>
                    <a:pt x="5161" y="2819"/>
                    <a:pt x="5157" y="2847"/>
                  </a:cubicBezTo>
                  <a:cubicBezTo>
                    <a:pt x="5161" y="2870"/>
                    <a:pt x="5192" y="2870"/>
                    <a:pt x="5205" y="2886"/>
                  </a:cubicBezTo>
                  <a:cubicBezTo>
                    <a:pt x="5208" y="2900"/>
                    <a:pt x="5216" y="2910"/>
                    <a:pt x="5224" y="2924"/>
                  </a:cubicBezTo>
                  <a:cubicBezTo>
                    <a:pt x="5233" y="2939"/>
                    <a:pt x="5224" y="2984"/>
                    <a:pt x="5224" y="3025"/>
                  </a:cubicBezTo>
                  <a:cubicBezTo>
                    <a:pt x="5225" y="3057"/>
                    <a:pt x="5244" y="3081"/>
                    <a:pt x="5226" y="3097"/>
                  </a:cubicBezTo>
                  <a:cubicBezTo>
                    <a:pt x="5196" y="3097"/>
                    <a:pt x="5191" y="3074"/>
                    <a:pt x="5171" y="3065"/>
                  </a:cubicBezTo>
                  <a:cubicBezTo>
                    <a:pt x="5169" y="3058"/>
                    <a:pt x="5174" y="3050"/>
                    <a:pt x="5172" y="3043"/>
                  </a:cubicBezTo>
                  <a:cubicBezTo>
                    <a:pt x="5170" y="3036"/>
                    <a:pt x="5168" y="3031"/>
                    <a:pt x="5166" y="3021"/>
                  </a:cubicBezTo>
                  <a:cubicBezTo>
                    <a:pt x="5165" y="3013"/>
                    <a:pt x="5163" y="3006"/>
                    <a:pt x="5162" y="2985"/>
                  </a:cubicBezTo>
                  <a:cubicBezTo>
                    <a:pt x="5161" y="2973"/>
                    <a:pt x="5156" y="2972"/>
                    <a:pt x="5156" y="2963"/>
                  </a:cubicBezTo>
                  <a:cubicBezTo>
                    <a:pt x="5155" y="2949"/>
                    <a:pt x="5162" y="2933"/>
                    <a:pt x="5159" y="2919"/>
                  </a:cubicBezTo>
                  <a:cubicBezTo>
                    <a:pt x="5155" y="2899"/>
                    <a:pt x="5143" y="2876"/>
                    <a:pt x="5134" y="2860"/>
                  </a:cubicBezTo>
                  <a:cubicBezTo>
                    <a:pt x="5130" y="2853"/>
                    <a:pt x="5121" y="2845"/>
                    <a:pt x="5121" y="2837"/>
                  </a:cubicBezTo>
                  <a:cubicBezTo>
                    <a:pt x="5121" y="2825"/>
                    <a:pt x="5108" y="2828"/>
                    <a:pt x="5101" y="2814"/>
                  </a:cubicBezTo>
                  <a:cubicBezTo>
                    <a:pt x="5103" y="2745"/>
                    <a:pt x="5121" y="2773"/>
                    <a:pt x="5107" y="2717"/>
                  </a:cubicBezTo>
                  <a:cubicBezTo>
                    <a:pt x="5106" y="2712"/>
                    <a:pt x="5100" y="2710"/>
                    <a:pt x="5100" y="2710"/>
                  </a:cubicBezTo>
                  <a:cubicBezTo>
                    <a:pt x="5097" y="2694"/>
                    <a:pt x="5103" y="2678"/>
                    <a:pt x="5100" y="2666"/>
                  </a:cubicBezTo>
                  <a:cubicBezTo>
                    <a:pt x="5096" y="2651"/>
                    <a:pt x="5085" y="2637"/>
                    <a:pt x="5078" y="2623"/>
                  </a:cubicBezTo>
                  <a:cubicBezTo>
                    <a:pt x="5075" y="2615"/>
                    <a:pt x="5075" y="2605"/>
                    <a:pt x="5071" y="2594"/>
                  </a:cubicBezTo>
                  <a:cubicBezTo>
                    <a:pt x="5069" y="2590"/>
                    <a:pt x="5057" y="2583"/>
                    <a:pt x="5056" y="2580"/>
                  </a:cubicBezTo>
                  <a:cubicBezTo>
                    <a:pt x="5051" y="2564"/>
                    <a:pt x="5054" y="2546"/>
                    <a:pt x="5049" y="2529"/>
                  </a:cubicBezTo>
                  <a:cubicBezTo>
                    <a:pt x="5042" y="2508"/>
                    <a:pt x="5031" y="2497"/>
                    <a:pt x="5020" y="2479"/>
                  </a:cubicBezTo>
                  <a:cubicBezTo>
                    <a:pt x="5004" y="2480"/>
                    <a:pt x="5007" y="2501"/>
                    <a:pt x="4998" y="2515"/>
                  </a:cubicBezTo>
                  <a:cubicBezTo>
                    <a:pt x="4996" y="2518"/>
                    <a:pt x="4992" y="2521"/>
                    <a:pt x="4991" y="2522"/>
                  </a:cubicBezTo>
                  <a:cubicBezTo>
                    <a:pt x="4984" y="2535"/>
                    <a:pt x="4985" y="2566"/>
                    <a:pt x="4962" y="2565"/>
                  </a:cubicBezTo>
                  <a:cubicBezTo>
                    <a:pt x="4925" y="2565"/>
                    <a:pt x="4945" y="2523"/>
                    <a:pt x="4940" y="2501"/>
                  </a:cubicBezTo>
                  <a:cubicBezTo>
                    <a:pt x="4938" y="2489"/>
                    <a:pt x="4937" y="2484"/>
                    <a:pt x="4933" y="2472"/>
                  </a:cubicBezTo>
                  <a:cubicBezTo>
                    <a:pt x="4926" y="2450"/>
                    <a:pt x="4917" y="2414"/>
                    <a:pt x="4889" y="2407"/>
                  </a:cubicBezTo>
                  <a:cubicBezTo>
                    <a:pt x="4895" y="2386"/>
                    <a:pt x="4879" y="2388"/>
                    <a:pt x="4882" y="2371"/>
                  </a:cubicBezTo>
                  <a:cubicBezTo>
                    <a:pt x="4871" y="2360"/>
                    <a:pt x="4854" y="2356"/>
                    <a:pt x="4839" y="2349"/>
                  </a:cubicBezTo>
                  <a:cubicBezTo>
                    <a:pt x="4827" y="2330"/>
                    <a:pt x="4803" y="2315"/>
                    <a:pt x="4795" y="2284"/>
                  </a:cubicBezTo>
                  <a:cubicBezTo>
                    <a:pt x="4791" y="2267"/>
                    <a:pt x="4787" y="2250"/>
                    <a:pt x="4766" y="2241"/>
                  </a:cubicBezTo>
                  <a:cubicBezTo>
                    <a:pt x="4738" y="2242"/>
                    <a:pt x="4746" y="2279"/>
                    <a:pt x="4737" y="2299"/>
                  </a:cubicBezTo>
                  <a:cubicBezTo>
                    <a:pt x="4722" y="2294"/>
                    <a:pt x="4721" y="2309"/>
                    <a:pt x="4715" y="2313"/>
                  </a:cubicBezTo>
                  <a:cubicBezTo>
                    <a:pt x="4708" y="2318"/>
                    <a:pt x="4696" y="2315"/>
                    <a:pt x="4686" y="2320"/>
                  </a:cubicBezTo>
                  <a:cubicBezTo>
                    <a:pt x="4659" y="2335"/>
                    <a:pt x="4641" y="2351"/>
                    <a:pt x="4621" y="2378"/>
                  </a:cubicBezTo>
                  <a:cubicBezTo>
                    <a:pt x="4639" y="2400"/>
                    <a:pt x="4630" y="2410"/>
                    <a:pt x="4628" y="2443"/>
                  </a:cubicBezTo>
                  <a:cubicBezTo>
                    <a:pt x="4618" y="2449"/>
                    <a:pt x="4615" y="2463"/>
                    <a:pt x="4606" y="2472"/>
                  </a:cubicBezTo>
                  <a:cubicBezTo>
                    <a:pt x="4604" y="2474"/>
                    <a:pt x="4594" y="2469"/>
                    <a:pt x="4592" y="2472"/>
                  </a:cubicBezTo>
                  <a:cubicBezTo>
                    <a:pt x="4586" y="2478"/>
                    <a:pt x="4591" y="2495"/>
                    <a:pt x="4577" y="2493"/>
                  </a:cubicBezTo>
                  <a:cubicBezTo>
                    <a:pt x="4566" y="2516"/>
                    <a:pt x="4566" y="2543"/>
                    <a:pt x="4556" y="2565"/>
                  </a:cubicBezTo>
                  <a:cubicBezTo>
                    <a:pt x="4554" y="2569"/>
                    <a:pt x="4549" y="2565"/>
                    <a:pt x="4548" y="2573"/>
                  </a:cubicBezTo>
                  <a:cubicBezTo>
                    <a:pt x="4548" y="2582"/>
                    <a:pt x="4537" y="2582"/>
                    <a:pt x="4534" y="2587"/>
                  </a:cubicBezTo>
                  <a:cubicBezTo>
                    <a:pt x="4520" y="2610"/>
                    <a:pt x="4521" y="2641"/>
                    <a:pt x="4490" y="2652"/>
                  </a:cubicBezTo>
                  <a:cubicBezTo>
                    <a:pt x="4490" y="2666"/>
                    <a:pt x="4490" y="2681"/>
                    <a:pt x="4490" y="2695"/>
                  </a:cubicBezTo>
                  <a:cubicBezTo>
                    <a:pt x="4477" y="2698"/>
                    <a:pt x="4477" y="2716"/>
                    <a:pt x="4454" y="2710"/>
                  </a:cubicBezTo>
                  <a:cubicBezTo>
                    <a:pt x="4447" y="2734"/>
                    <a:pt x="4436" y="2754"/>
                    <a:pt x="4411" y="2760"/>
                  </a:cubicBezTo>
                  <a:cubicBezTo>
                    <a:pt x="4411" y="2770"/>
                    <a:pt x="4412" y="2780"/>
                    <a:pt x="4403" y="2782"/>
                  </a:cubicBezTo>
                  <a:cubicBezTo>
                    <a:pt x="4407" y="2848"/>
                    <a:pt x="4440" y="2909"/>
                    <a:pt x="4418" y="2969"/>
                  </a:cubicBezTo>
                  <a:cubicBezTo>
                    <a:pt x="4410" y="2990"/>
                    <a:pt x="4413" y="2998"/>
                    <a:pt x="4418" y="3027"/>
                  </a:cubicBezTo>
                  <a:cubicBezTo>
                    <a:pt x="4420" y="3039"/>
                    <a:pt x="4410" y="3055"/>
                    <a:pt x="4425" y="3063"/>
                  </a:cubicBezTo>
                  <a:cubicBezTo>
                    <a:pt x="4423" y="3078"/>
                    <a:pt x="4406" y="3077"/>
                    <a:pt x="4396" y="3084"/>
                  </a:cubicBezTo>
                  <a:cubicBezTo>
                    <a:pt x="4398" y="3113"/>
                    <a:pt x="4379" y="3121"/>
                    <a:pt x="4381" y="3149"/>
                  </a:cubicBezTo>
                  <a:cubicBezTo>
                    <a:pt x="4367" y="3151"/>
                    <a:pt x="4367" y="3169"/>
                    <a:pt x="4352" y="3171"/>
                  </a:cubicBezTo>
                  <a:cubicBezTo>
                    <a:pt x="4355" y="3188"/>
                    <a:pt x="4351" y="3199"/>
                    <a:pt x="4345" y="3207"/>
                  </a:cubicBezTo>
                  <a:cubicBezTo>
                    <a:pt x="4347" y="3224"/>
                    <a:pt x="4324" y="3215"/>
                    <a:pt x="4323" y="3229"/>
                  </a:cubicBezTo>
                  <a:cubicBezTo>
                    <a:pt x="4311" y="3221"/>
                    <a:pt x="4302" y="3221"/>
                    <a:pt x="4294" y="3214"/>
                  </a:cubicBezTo>
                  <a:cubicBezTo>
                    <a:pt x="4282" y="3203"/>
                    <a:pt x="4271" y="3174"/>
                    <a:pt x="4265" y="3157"/>
                  </a:cubicBezTo>
                  <a:cubicBezTo>
                    <a:pt x="4258" y="3134"/>
                    <a:pt x="4248" y="3109"/>
                    <a:pt x="4236" y="3084"/>
                  </a:cubicBezTo>
                  <a:cubicBezTo>
                    <a:pt x="4232" y="3076"/>
                    <a:pt x="4233" y="3070"/>
                    <a:pt x="4229" y="3063"/>
                  </a:cubicBezTo>
                  <a:cubicBezTo>
                    <a:pt x="4221" y="3049"/>
                    <a:pt x="4204" y="3033"/>
                    <a:pt x="4193" y="3012"/>
                  </a:cubicBezTo>
                  <a:cubicBezTo>
                    <a:pt x="4188" y="3004"/>
                    <a:pt x="4182" y="2996"/>
                    <a:pt x="4178" y="2984"/>
                  </a:cubicBezTo>
                  <a:cubicBezTo>
                    <a:pt x="4176" y="2972"/>
                    <a:pt x="4176" y="2966"/>
                    <a:pt x="4171" y="2955"/>
                  </a:cubicBezTo>
                  <a:cubicBezTo>
                    <a:pt x="4168" y="2947"/>
                    <a:pt x="4166" y="2943"/>
                    <a:pt x="4164" y="2933"/>
                  </a:cubicBezTo>
                  <a:cubicBezTo>
                    <a:pt x="4162" y="2927"/>
                    <a:pt x="4156" y="2915"/>
                    <a:pt x="4149" y="2904"/>
                  </a:cubicBezTo>
                  <a:cubicBezTo>
                    <a:pt x="4143" y="2894"/>
                    <a:pt x="4137" y="2883"/>
                    <a:pt x="4128" y="2868"/>
                  </a:cubicBezTo>
                  <a:cubicBezTo>
                    <a:pt x="4125" y="2864"/>
                    <a:pt x="4115" y="2858"/>
                    <a:pt x="4113" y="2854"/>
                  </a:cubicBezTo>
                  <a:cubicBezTo>
                    <a:pt x="4109" y="2846"/>
                    <a:pt x="4110" y="2839"/>
                    <a:pt x="4106" y="2832"/>
                  </a:cubicBezTo>
                  <a:cubicBezTo>
                    <a:pt x="4099" y="2820"/>
                    <a:pt x="4096" y="2823"/>
                    <a:pt x="4091" y="2803"/>
                  </a:cubicBezTo>
                  <a:cubicBezTo>
                    <a:pt x="4090" y="2797"/>
                    <a:pt x="4086" y="2791"/>
                    <a:pt x="4084" y="2782"/>
                  </a:cubicBezTo>
                  <a:cubicBezTo>
                    <a:pt x="4080" y="2765"/>
                    <a:pt x="4063" y="2720"/>
                    <a:pt x="4055" y="2695"/>
                  </a:cubicBezTo>
                  <a:cubicBezTo>
                    <a:pt x="4049" y="2677"/>
                    <a:pt x="4050" y="2653"/>
                    <a:pt x="4040" y="2637"/>
                  </a:cubicBezTo>
                  <a:cubicBezTo>
                    <a:pt x="4038" y="2634"/>
                    <a:pt x="4035" y="2615"/>
                    <a:pt x="4026" y="2609"/>
                  </a:cubicBezTo>
                  <a:cubicBezTo>
                    <a:pt x="4034" y="2600"/>
                    <a:pt x="4034" y="2583"/>
                    <a:pt x="4033" y="2565"/>
                  </a:cubicBezTo>
                  <a:cubicBezTo>
                    <a:pt x="4032" y="2548"/>
                    <a:pt x="4018" y="2531"/>
                    <a:pt x="4011" y="2515"/>
                  </a:cubicBezTo>
                  <a:cubicBezTo>
                    <a:pt x="4005" y="2499"/>
                    <a:pt x="4011" y="2475"/>
                    <a:pt x="3990" y="2472"/>
                  </a:cubicBezTo>
                  <a:cubicBezTo>
                    <a:pt x="3968" y="2483"/>
                    <a:pt x="3996" y="2503"/>
                    <a:pt x="3990" y="2522"/>
                  </a:cubicBezTo>
                  <a:cubicBezTo>
                    <a:pt x="3984" y="2527"/>
                    <a:pt x="3981" y="2532"/>
                    <a:pt x="3975" y="2537"/>
                  </a:cubicBezTo>
                  <a:cubicBezTo>
                    <a:pt x="3954" y="2553"/>
                    <a:pt x="3933" y="2575"/>
                    <a:pt x="3895" y="2551"/>
                  </a:cubicBezTo>
                  <a:cubicBezTo>
                    <a:pt x="3886" y="2545"/>
                    <a:pt x="3883" y="2537"/>
                    <a:pt x="3874" y="2529"/>
                  </a:cubicBezTo>
                  <a:cubicBezTo>
                    <a:pt x="3858" y="2517"/>
                    <a:pt x="3830" y="2505"/>
                    <a:pt x="3830" y="2486"/>
                  </a:cubicBezTo>
                  <a:cubicBezTo>
                    <a:pt x="3860" y="2484"/>
                    <a:pt x="3875" y="2468"/>
                    <a:pt x="3888" y="2450"/>
                  </a:cubicBezTo>
                  <a:cubicBezTo>
                    <a:pt x="3873" y="2429"/>
                    <a:pt x="3850" y="2460"/>
                    <a:pt x="3823" y="2450"/>
                  </a:cubicBezTo>
                  <a:cubicBezTo>
                    <a:pt x="3812" y="2434"/>
                    <a:pt x="3786" y="2433"/>
                    <a:pt x="3787" y="2407"/>
                  </a:cubicBezTo>
                  <a:cubicBezTo>
                    <a:pt x="3764" y="2410"/>
                    <a:pt x="3761" y="2394"/>
                    <a:pt x="3736" y="2400"/>
                  </a:cubicBezTo>
                  <a:cubicBezTo>
                    <a:pt x="3729" y="2385"/>
                    <a:pt x="3721" y="2371"/>
                    <a:pt x="3714" y="2356"/>
                  </a:cubicBezTo>
                  <a:cubicBezTo>
                    <a:pt x="3713" y="2348"/>
                    <a:pt x="3701" y="2350"/>
                    <a:pt x="3692" y="2349"/>
                  </a:cubicBezTo>
                  <a:cubicBezTo>
                    <a:pt x="3684" y="2334"/>
                    <a:pt x="3683" y="2310"/>
                    <a:pt x="3663" y="2306"/>
                  </a:cubicBezTo>
                  <a:cubicBezTo>
                    <a:pt x="3649" y="2309"/>
                    <a:pt x="3636" y="2314"/>
                    <a:pt x="3620" y="2320"/>
                  </a:cubicBezTo>
                  <a:cubicBezTo>
                    <a:pt x="3611" y="2324"/>
                    <a:pt x="3604" y="2325"/>
                    <a:pt x="3591" y="2327"/>
                  </a:cubicBezTo>
                  <a:cubicBezTo>
                    <a:pt x="3585" y="2329"/>
                    <a:pt x="3584" y="2334"/>
                    <a:pt x="3576" y="2335"/>
                  </a:cubicBezTo>
                  <a:cubicBezTo>
                    <a:pt x="3562" y="2336"/>
                    <a:pt x="3555" y="2326"/>
                    <a:pt x="3547" y="2327"/>
                  </a:cubicBezTo>
                  <a:cubicBezTo>
                    <a:pt x="3526" y="2331"/>
                    <a:pt x="3503" y="2344"/>
                    <a:pt x="3482" y="2349"/>
                  </a:cubicBezTo>
                  <a:cubicBezTo>
                    <a:pt x="3476" y="2350"/>
                    <a:pt x="3449" y="2345"/>
                    <a:pt x="3446" y="2349"/>
                  </a:cubicBezTo>
                  <a:cubicBezTo>
                    <a:pt x="3446" y="2356"/>
                    <a:pt x="3446" y="2356"/>
                    <a:pt x="3446" y="2356"/>
                  </a:cubicBezTo>
                  <a:cubicBezTo>
                    <a:pt x="3433" y="2358"/>
                    <a:pt x="3417" y="2348"/>
                    <a:pt x="3409" y="2364"/>
                  </a:cubicBezTo>
                  <a:cubicBezTo>
                    <a:pt x="3379" y="2348"/>
                    <a:pt x="3335" y="2359"/>
                    <a:pt x="3293" y="2356"/>
                  </a:cubicBezTo>
                  <a:cubicBezTo>
                    <a:pt x="3259" y="2354"/>
                    <a:pt x="3222" y="2347"/>
                    <a:pt x="3192" y="2342"/>
                  </a:cubicBezTo>
                  <a:cubicBezTo>
                    <a:pt x="3179" y="2313"/>
                    <a:pt x="3178" y="2273"/>
                    <a:pt x="3148" y="2263"/>
                  </a:cubicBezTo>
                  <a:cubicBezTo>
                    <a:pt x="3136" y="2263"/>
                    <a:pt x="3124" y="2263"/>
                    <a:pt x="3112" y="2263"/>
                  </a:cubicBezTo>
                  <a:cubicBezTo>
                    <a:pt x="3105" y="2268"/>
                    <a:pt x="3107" y="2282"/>
                    <a:pt x="3097" y="2284"/>
                  </a:cubicBezTo>
                  <a:cubicBezTo>
                    <a:pt x="3079" y="2278"/>
                    <a:pt x="3068" y="2297"/>
                    <a:pt x="3054" y="2299"/>
                  </a:cubicBezTo>
                  <a:cubicBezTo>
                    <a:pt x="3038" y="2300"/>
                    <a:pt x="3035" y="2293"/>
                    <a:pt x="3025" y="2291"/>
                  </a:cubicBezTo>
                  <a:cubicBezTo>
                    <a:pt x="3016" y="2290"/>
                    <a:pt x="3004" y="2294"/>
                    <a:pt x="2996" y="2291"/>
                  </a:cubicBezTo>
                  <a:cubicBezTo>
                    <a:pt x="2993" y="2291"/>
                    <a:pt x="2996" y="2285"/>
                    <a:pt x="2988" y="2284"/>
                  </a:cubicBezTo>
                  <a:cubicBezTo>
                    <a:pt x="2979" y="2284"/>
                    <a:pt x="2979" y="2273"/>
                    <a:pt x="2974" y="2270"/>
                  </a:cubicBezTo>
                  <a:cubicBezTo>
                    <a:pt x="2965" y="2265"/>
                    <a:pt x="2953" y="2269"/>
                    <a:pt x="2945" y="2263"/>
                  </a:cubicBezTo>
                  <a:cubicBezTo>
                    <a:pt x="2938" y="2258"/>
                    <a:pt x="2936" y="2246"/>
                    <a:pt x="2930" y="2241"/>
                  </a:cubicBezTo>
                  <a:cubicBezTo>
                    <a:pt x="2924" y="2235"/>
                    <a:pt x="2911" y="2236"/>
                    <a:pt x="2909" y="2227"/>
                  </a:cubicBezTo>
                  <a:cubicBezTo>
                    <a:pt x="2896" y="2227"/>
                    <a:pt x="2884" y="2227"/>
                    <a:pt x="2872" y="2227"/>
                  </a:cubicBezTo>
                  <a:cubicBezTo>
                    <a:pt x="2858" y="2205"/>
                    <a:pt x="2852" y="2175"/>
                    <a:pt x="2836" y="2154"/>
                  </a:cubicBezTo>
                  <a:cubicBezTo>
                    <a:pt x="2826" y="2152"/>
                    <a:pt x="2828" y="2136"/>
                    <a:pt x="2822" y="2126"/>
                  </a:cubicBezTo>
                  <a:cubicBezTo>
                    <a:pt x="2816" y="2117"/>
                    <a:pt x="2802" y="2104"/>
                    <a:pt x="2792" y="2090"/>
                  </a:cubicBezTo>
                  <a:cubicBezTo>
                    <a:pt x="2776" y="2088"/>
                    <a:pt x="2773" y="2103"/>
                    <a:pt x="2749" y="2097"/>
                  </a:cubicBezTo>
                  <a:cubicBezTo>
                    <a:pt x="2737" y="2094"/>
                    <a:pt x="2741" y="2088"/>
                    <a:pt x="2720" y="2097"/>
                  </a:cubicBezTo>
                  <a:cubicBezTo>
                    <a:pt x="2717" y="2098"/>
                    <a:pt x="2720" y="2104"/>
                    <a:pt x="2713" y="2104"/>
                  </a:cubicBezTo>
                  <a:cubicBezTo>
                    <a:pt x="2711" y="2104"/>
                    <a:pt x="2707" y="2103"/>
                    <a:pt x="2705" y="2104"/>
                  </a:cubicBezTo>
                  <a:cubicBezTo>
                    <a:pt x="2694" y="2111"/>
                    <a:pt x="2698" y="2133"/>
                    <a:pt x="2676" y="2133"/>
                  </a:cubicBezTo>
                  <a:cubicBezTo>
                    <a:pt x="2693" y="2167"/>
                    <a:pt x="2710" y="2200"/>
                    <a:pt x="2727" y="2234"/>
                  </a:cubicBezTo>
                  <a:cubicBezTo>
                    <a:pt x="2733" y="2249"/>
                    <a:pt x="2752" y="2252"/>
                    <a:pt x="2764" y="2263"/>
                  </a:cubicBezTo>
                  <a:cubicBezTo>
                    <a:pt x="2773" y="2271"/>
                    <a:pt x="2774" y="2292"/>
                    <a:pt x="2792" y="2291"/>
                  </a:cubicBezTo>
                  <a:cubicBezTo>
                    <a:pt x="2798" y="2323"/>
                    <a:pt x="2798" y="2349"/>
                    <a:pt x="2814" y="2371"/>
                  </a:cubicBezTo>
                  <a:cubicBezTo>
                    <a:pt x="2816" y="2374"/>
                    <a:pt x="2819" y="2374"/>
                    <a:pt x="2822" y="2378"/>
                  </a:cubicBezTo>
                  <a:cubicBezTo>
                    <a:pt x="2824" y="2382"/>
                    <a:pt x="2821" y="2387"/>
                    <a:pt x="2829" y="2385"/>
                  </a:cubicBezTo>
                  <a:cubicBezTo>
                    <a:pt x="2843" y="2373"/>
                    <a:pt x="2840" y="2344"/>
                    <a:pt x="2858" y="2335"/>
                  </a:cubicBezTo>
                  <a:cubicBezTo>
                    <a:pt x="2876" y="2331"/>
                    <a:pt x="2875" y="2341"/>
                    <a:pt x="2880" y="2356"/>
                  </a:cubicBezTo>
                  <a:cubicBezTo>
                    <a:pt x="2881" y="2361"/>
                    <a:pt x="2872" y="2365"/>
                    <a:pt x="2872" y="2371"/>
                  </a:cubicBezTo>
                  <a:cubicBezTo>
                    <a:pt x="2872" y="2370"/>
                    <a:pt x="2879" y="2373"/>
                    <a:pt x="2880" y="2378"/>
                  </a:cubicBezTo>
                  <a:cubicBezTo>
                    <a:pt x="2880" y="2385"/>
                    <a:pt x="2878" y="2422"/>
                    <a:pt x="2865" y="2428"/>
                  </a:cubicBezTo>
                  <a:cubicBezTo>
                    <a:pt x="2866" y="2447"/>
                    <a:pt x="2893" y="2439"/>
                    <a:pt x="2894" y="2457"/>
                  </a:cubicBezTo>
                  <a:cubicBezTo>
                    <a:pt x="2945" y="2458"/>
                    <a:pt x="2980" y="2441"/>
                    <a:pt x="3025" y="2436"/>
                  </a:cubicBezTo>
                  <a:cubicBezTo>
                    <a:pt x="3063" y="2409"/>
                    <a:pt x="3090" y="2370"/>
                    <a:pt x="3126" y="2335"/>
                  </a:cubicBezTo>
                  <a:cubicBezTo>
                    <a:pt x="3130" y="2331"/>
                    <a:pt x="3132" y="2326"/>
                    <a:pt x="3141" y="2327"/>
                  </a:cubicBezTo>
                  <a:cubicBezTo>
                    <a:pt x="3122" y="2409"/>
                    <a:pt x="3172" y="2478"/>
                    <a:pt x="3264" y="2472"/>
                  </a:cubicBezTo>
                  <a:cubicBezTo>
                    <a:pt x="3291" y="2491"/>
                    <a:pt x="3301" y="2526"/>
                    <a:pt x="3337" y="2537"/>
                  </a:cubicBezTo>
                  <a:cubicBezTo>
                    <a:pt x="3331" y="2591"/>
                    <a:pt x="3289" y="2610"/>
                    <a:pt x="3279" y="2659"/>
                  </a:cubicBezTo>
                  <a:cubicBezTo>
                    <a:pt x="3262" y="2657"/>
                    <a:pt x="3251" y="2660"/>
                    <a:pt x="3242" y="2666"/>
                  </a:cubicBezTo>
                  <a:cubicBezTo>
                    <a:pt x="3241" y="2698"/>
                    <a:pt x="3228" y="2725"/>
                    <a:pt x="3242" y="2753"/>
                  </a:cubicBezTo>
                  <a:cubicBezTo>
                    <a:pt x="3217" y="2747"/>
                    <a:pt x="3214" y="2764"/>
                    <a:pt x="3192" y="2760"/>
                  </a:cubicBezTo>
                  <a:cubicBezTo>
                    <a:pt x="3176" y="2773"/>
                    <a:pt x="3178" y="2805"/>
                    <a:pt x="3163" y="2818"/>
                  </a:cubicBezTo>
                  <a:cubicBezTo>
                    <a:pt x="3145" y="2817"/>
                    <a:pt x="3128" y="2817"/>
                    <a:pt x="3119" y="2825"/>
                  </a:cubicBezTo>
                  <a:cubicBezTo>
                    <a:pt x="3096" y="2831"/>
                    <a:pt x="3110" y="2863"/>
                    <a:pt x="3090" y="2875"/>
                  </a:cubicBezTo>
                  <a:cubicBezTo>
                    <a:pt x="3076" y="2875"/>
                    <a:pt x="3061" y="2875"/>
                    <a:pt x="3046" y="2875"/>
                  </a:cubicBezTo>
                  <a:cubicBezTo>
                    <a:pt x="3034" y="2871"/>
                    <a:pt x="3028" y="2885"/>
                    <a:pt x="3017" y="2890"/>
                  </a:cubicBezTo>
                  <a:cubicBezTo>
                    <a:pt x="2988" y="2902"/>
                    <a:pt x="2952" y="2902"/>
                    <a:pt x="2930" y="2926"/>
                  </a:cubicBezTo>
                  <a:cubicBezTo>
                    <a:pt x="2920" y="2947"/>
                    <a:pt x="2936" y="2950"/>
                    <a:pt x="2923" y="2969"/>
                  </a:cubicBezTo>
                  <a:cubicBezTo>
                    <a:pt x="2873" y="2987"/>
                    <a:pt x="2825" y="3006"/>
                    <a:pt x="2771" y="3020"/>
                  </a:cubicBezTo>
                  <a:cubicBezTo>
                    <a:pt x="2749" y="3029"/>
                    <a:pt x="2738" y="3049"/>
                    <a:pt x="2720" y="3063"/>
                  </a:cubicBezTo>
                  <a:cubicBezTo>
                    <a:pt x="2649" y="3057"/>
                    <a:pt x="2640" y="3113"/>
                    <a:pt x="2560" y="3099"/>
                  </a:cubicBezTo>
                  <a:cubicBezTo>
                    <a:pt x="2542" y="3100"/>
                    <a:pt x="2537" y="3118"/>
                    <a:pt x="2524" y="3128"/>
                  </a:cubicBezTo>
                  <a:cubicBezTo>
                    <a:pt x="2521" y="3130"/>
                    <a:pt x="2511" y="3125"/>
                    <a:pt x="2509" y="3128"/>
                  </a:cubicBezTo>
                  <a:cubicBezTo>
                    <a:pt x="2509" y="3128"/>
                    <a:pt x="2510" y="3134"/>
                    <a:pt x="2509" y="3135"/>
                  </a:cubicBezTo>
                  <a:cubicBezTo>
                    <a:pt x="2502" y="3138"/>
                    <a:pt x="2484" y="3139"/>
                    <a:pt x="2473" y="3142"/>
                  </a:cubicBezTo>
                  <a:cubicBezTo>
                    <a:pt x="2466" y="3144"/>
                    <a:pt x="2458" y="3152"/>
                    <a:pt x="2444" y="3149"/>
                  </a:cubicBezTo>
                  <a:cubicBezTo>
                    <a:pt x="2443" y="3141"/>
                    <a:pt x="2431" y="3143"/>
                    <a:pt x="2422" y="3142"/>
                  </a:cubicBezTo>
                  <a:cubicBezTo>
                    <a:pt x="2424" y="3120"/>
                    <a:pt x="2397" y="3110"/>
                    <a:pt x="2415" y="3092"/>
                  </a:cubicBezTo>
                  <a:cubicBezTo>
                    <a:pt x="2405" y="3078"/>
                    <a:pt x="2405" y="3054"/>
                    <a:pt x="2386" y="3048"/>
                  </a:cubicBezTo>
                  <a:cubicBezTo>
                    <a:pt x="2394" y="3026"/>
                    <a:pt x="2394" y="3014"/>
                    <a:pt x="2386" y="2984"/>
                  </a:cubicBezTo>
                  <a:cubicBezTo>
                    <a:pt x="2385" y="2980"/>
                    <a:pt x="2379" y="2975"/>
                    <a:pt x="2379" y="2976"/>
                  </a:cubicBezTo>
                  <a:cubicBezTo>
                    <a:pt x="2378" y="2966"/>
                    <a:pt x="2399" y="2922"/>
                    <a:pt x="2386" y="2911"/>
                  </a:cubicBezTo>
                  <a:cubicBezTo>
                    <a:pt x="2385" y="2911"/>
                    <a:pt x="2379" y="2912"/>
                    <a:pt x="2379" y="2911"/>
                  </a:cubicBezTo>
                  <a:cubicBezTo>
                    <a:pt x="2378" y="2909"/>
                    <a:pt x="2381" y="2899"/>
                    <a:pt x="2379" y="2897"/>
                  </a:cubicBezTo>
                  <a:cubicBezTo>
                    <a:pt x="2378" y="2896"/>
                    <a:pt x="2372" y="2898"/>
                    <a:pt x="2372" y="2897"/>
                  </a:cubicBezTo>
                  <a:cubicBezTo>
                    <a:pt x="2367" y="2887"/>
                    <a:pt x="2370" y="2877"/>
                    <a:pt x="2364" y="2868"/>
                  </a:cubicBezTo>
                  <a:cubicBezTo>
                    <a:pt x="2353" y="2849"/>
                    <a:pt x="2337" y="2836"/>
                    <a:pt x="2321" y="2825"/>
                  </a:cubicBezTo>
                  <a:cubicBezTo>
                    <a:pt x="2317" y="2814"/>
                    <a:pt x="2319" y="2806"/>
                    <a:pt x="2314" y="2796"/>
                  </a:cubicBezTo>
                  <a:cubicBezTo>
                    <a:pt x="2311" y="2791"/>
                    <a:pt x="2300" y="2785"/>
                    <a:pt x="2299" y="2782"/>
                  </a:cubicBezTo>
                  <a:cubicBezTo>
                    <a:pt x="2297" y="2776"/>
                    <a:pt x="2303" y="2757"/>
                    <a:pt x="2299" y="2753"/>
                  </a:cubicBezTo>
                  <a:cubicBezTo>
                    <a:pt x="2298" y="2752"/>
                    <a:pt x="2292" y="2754"/>
                    <a:pt x="2292" y="2753"/>
                  </a:cubicBezTo>
                  <a:cubicBezTo>
                    <a:pt x="2289" y="2743"/>
                    <a:pt x="2290" y="2732"/>
                    <a:pt x="2285" y="2724"/>
                  </a:cubicBezTo>
                  <a:cubicBezTo>
                    <a:pt x="2275" y="2709"/>
                    <a:pt x="2267" y="2704"/>
                    <a:pt x="2256" y="2695"/>
                  </a:cubicBezTo>
                  <a:cubicBezTo>
                    <a:pt x="2251" y="2692"/>
                    <a:pt x="2245" y="2683"/>
                    <a:pt x="2241" y="2681"/>
                  </a:cubicBezTo>
                  <a:cubicBezTo>
                    <a:pt x="2239" y="2679"/>
                    <a:pt x="2221" y="2676"/>
                    <a:pt x="2219" y="2674"/>
                  </a:cubicBezTo>
                  <a:cubicBezTo>
                    <a:pt x="2217" y="2671"/>
                    <a:pt x="2222" y="2661"/>
                    <a:pt x="2219" y="2659"/>
                  </a:cubicBezTo>
                  <a:cubicBezTo>
                    <a:pt x="2208" y="2650"/>
                    <a:pt x="2208" y="2646"/>
                    <a:pt x="2197" y="2630"/>
                  </a:cubicBezTo>
                  <a:cubicBezTo>
                    <a:pt x="2192" y="2622"/>
                    <a:pt x="2195" y="2616"/>
                    <a:pt x="2190" y="2594"/>
                  </a:cubicBezTo>
                  <a:cubicBezTo>
                    <a:pt x="2189" y="2588"/>
                    <a:pt x="2183" y="2587"/>
                    <a:pt x="2183" y="2580"/>
                  </a:cubicBezTo>
                  <a:cubicBezTo>
                    <a:pt x="2182" y="2560"/>
                    <a:pt x="2196" y="2538"/>
                    <a:pt x="2183" y="2515"/>
                  </a:cubicBezTo>
                  <a:cubicBezTo>
                    <a:pt x="2181" y="2511"/>
                    <a:pt x="2176" y="2516"/>
                    <a:pt x="2176" y="2508"/>
                  </a:cubicBezTo>
                  <a:cubicBezTo>
                    <a:pt x="2174" y="2467"/>
                    <a:pt x="2137" y="2434"/>
                    <a:pt x="2103" y="2414"/>
                  </a:cubicBezTo>
                  <a:cubicBezTo>
                    <a:pt x="2098" y="2382"/>
                    <a:pt x="2100" y="2358"/>
                    <a:pt x="2067" y="2342"/>
                  </a:cubicBezTo>
                  <a:cubicBezTo>
                    <a:pt x="2068" y="2323"/>
                    <a:pt x="2079" y="2324"/>
                    <a:pt x="2067" y="2306"/>
                  </a:cubicBezTo>
                  <a:cubicBezTo>
                    <a:pt x="2064" y="2302"/>
                    <a:pt x="2060" y="2307"/>
                    <a:pt x="2060" y="2299"/>
                  </a:cubicBezTo>
                  <a:cubicBezTo>
                    <a:pt x="2059" y="2289"/>
                    <a:pt x="2057" y="2284"/>
                    <a:pt x="2052" y="2277"/>
                  </a:cubicBezTo>
                  <a:cubicBezTo>
                    <a:pt x="2045" y="2265"/>
                    <a:pt x="2032" y="2240"/>
                    <a:pt x="2023" y="2219"/>
                  </a:cubicBezTo>
                  <a:cubicBezTo>
                    <a:pt x="2018" y="2201"/>
                    <a:pt x="2006" y="2189"/>
                    <a:pt x="1987" y="2183"/>
                  </a:cubicBezTo>
                  <a:cubicBezTo>
                    <a:pt x="1994" y="2159"/>
                    <a:pt x="2000" y="2134"/>
                    <a:pt x="2009" y="2111"/>
                  </a:cubicBezTo>
                  <a:cubicBezTo>
                    <a:pt x="1982" y="2108"/>
                    <a:pt x="1987" y="2138"/>
                    <a:pt x="1980" y="2154"/>
                  </a:cubicBezTo>
                  <a:cubicBezTo>
                    <a:pt x="1976" y="2163"/>
                    <a:pt x="1969" y="2167"/>
                    <a:pt x="1965" y="2176"/>
                  </a:cubicBezTo>
                  <a:cubicBezTo>
                    <a:pt x="1962" y="2185"/>
                    <a:pt x="1970" y="2198"/>
                    <a:pt x="1958" y="2198"/>
                  </a:cubicBezTo>
                  <a:cubicBezTo>
                    <a:pt x="1908" y="2183"/>
                    <a:pt x="1918" y="2108"/>
                    <a:pt x="1886" y="2075"/>
                  </a:cubicBezTo>
                  <a:cubicBezTo>
                    <a:pt x="1874" y="2081"/>
                    <a:pt x="1882" y="2118"/>
                    <a:pt x="1886" y="2133"/>
                  </a:cubicBezTo>
                  <a:cubicBezTo>
                    <a:pt x="1889" y="2147"/>
                    <a:pt x="1901" y="2184"/>
                    <a:pt x="1922" y="2191"/>
                  </a:cubicBezTo>
                  <a:cubicBezTo>
                    <a:pt x="1921" y="2210"/>
                    <a:pt x="1922" y="2225"/>
                    <a:pt x="1929" y="2241"/>
                  </a:cubicBezTo>
                  <a:cubicBezTo>
                    <a:pt x="1933" y="2250"/>
                    <a:pt x="1936" y="2284"/>
                    <a:pt x="1944" y="2306"/>
                  </a:cubicBezTo>
                  <a:cubicBezTo>
                    <a:pt x="1944" y="2308"/>
                    <a:pt x="1950" y="2306"/>
                    <a:pt x="1951" y="2313"/>
                  </a:cubicBezTo>
                  <a:cubicBezTo>
                    <a:pt x="1952" y="2332"/>
                    <a:pt x="1982" y="2367"/>
                    <a:pt x="1980" y="2400"/>
                  </a:cubicBezTo>
                  <a:cubicBezTo>
                    <a:pt x="1986" y="2412"/>
                    <a:pt x="1997" y="2421"/>
                    <a:pt x="2002" y="2436"/>
                  </a:cubicBezTo>
                  <a:cubicBezTo>
                    <a:pt x="2004" y="2462"/>
                    <a:pt x="2013" y="2470"/>
                    <a:pt x="2002" y="2493"/>
                  </a:cubicBezTo>
                  <a:cubicBezTo>
                    <a:pt x="2002" y="2512"/>
                    <a:pt x="2030" y="2504"/>
                    <a:pt x="2031" y="2522"/>
                  </a:cubicBezTo>
                  <a:cubicBezTo>
                    <a:pt x="2050" y="2543"/>
                    <a:pt x="2067" y="2565"/>
                    <a:pt x="2074" y="2601"/>
                  </a:cubicBezTo>
                  <a:cubicBezTo>
                    <a:pt x="2083" y="2648"/>
                    <a:pt x="2063" y="2707"/>
                    <a:pt x="2081" y="2746"/>
                  </a:cubicBezTo>
                  <a:cubicBezTo>
                    <a:pt x="2096" y="2762"/>
                    <a:pt x="2103" y="2787"/>
                    <a:pt x="2139" y="2782"/>
                  </a:cubicBezTo>
                  <a:cubicBezTo>
                    <a:pt x="2137" y="2808"/>
                    <a:pt x="2153" y="2828"/>
                    <a:pt x="2161" y="2854"/>
                  </a:cubicBezTo>
                  <a:cubicBezTo>
                    <a:pt x="2165" y="2865"/>
                    <a:pt x="2166" y="2878"/>
                    <a:pt x="2168" y="2890"/>
                  </a:cubicBezTo>
                  <a:cubicBezTo>
                    <a:pt x="2169" y="2891"/>
                    <a:pt x="2175" y="2891"/>
                    <a:pt x="2176" y="2897"/>
                  </a:cubicBezTo>
                  <a:cubicBezTo>
                    <a:pt x="2177" y="2928"/>
                    <a:pt x="2187" y="2949"/>
                    <a:pt x="2197" y="2976"/>
                  </a:cubicBezTo>
                  <a:cubicBezTo>
                    <a:pt x="2214" y="2985"/>
                    <a:pt x="2219" y="2972"/>
                    <a:pt x="2227" y="2998"/>
                  </a:cubicBezTo>
                  <a:cubicBezTo>
                    <a:pt x="2256" y="2987"/>
                    <a:pt x="2264" y="3026"/>
                    <a:pt x="2285" y="3027"/>
                  </a:cubicBezTo>
                  <a:cubicBezTo>
                    <a:pt x="2287" y="3027"/>
                    <a:pt x="2297" y="3039"/>
                    <a:pt x="2299" y="3041"/>
                  </a:cubicBezTo>
                  <a:cubicBezTo>
                    <a:pt x="2304" y="3046"/>
                    <a:pt x="2311" y="3060"/>
                    <a:pt x="2321" y="3070"/>
                  </a:cubicBezTo>
                  <a:cubicBezTo>
                    <a:pt x="2326" y="3076"/>
                    <a:pt x="2338" y="3078"/>
                    <a:pt x="2343" y="3084"/>
                  </a:cubicBezTo>
                  <a:cubicBezTo>
                    <a:pt x="2346" y="3089"/>
                    <a:pt x="2346" y="3101"/>
                    <a:pt x="2350" y="3106"/>
                  </a:cubicBezTo>
                  <a:cubicBezTo>
                    <a:pt x="2361" y="3118"/>
                    <a:pt x="2377" y="3126"/>
                    <a:pt x="2386" y="3135"/>
                  </a:cubicBezTo>
                  <a:cubicBezTo>
                    <a:pt x="2398" y="3148"/>
                    <a:pt x="2403" y="3160"/>
                    <a:pt x="2415" y="3171"/>
                  </a:cubicBezTo>
                  <a:cubicBezTo>
                    <a:pt x="2408" y="3192"/>
                    <a:pt x="2382" y="3196"/>
                    <a:pt x="2364" y="3207"/>
                  </a:cubicBezTo>
                  <a:cubicBezTo>
                    <a:pt x="2373" y="3220"/>
                    <a:pt x="2402" y="3213"/>
                    <a:pt x="2415" y="3221"/>
                  </a:cubicBezTo>
                  <a:cubicBezTo>
                    <a:pt x="2426" y="3254"/>
                    <a:pt x="2448" y="3276"/>
                    <a:pt x="2480" y="3286"/>
                  </a:cubicBezTo>
                  <a:cubicBezTo>
                    <a:pt x="2524" y="3280"/>
                    <a:pt x="2548" y="3244"/>
                    <a:pt x="2597" y="3265"/>
                  </a:cubicBezTo>
                  <a:cubicBezTo>
                    <a:pt x="2620" y="3262"/>
                    <a:pt x="2633" y="3248"/>
                    <a:pt x="2647" y="3236"/>
                  </a:cubicBezTo>
                  <a:cubicBezTo>
                    <a:pt x="2660" y="3236"/>
                    <a:pt x="2663" y="3244"/>
                    <a:pt x="2676" y="3243"/>
                  </a:cubicBezTo>
                  <a:cubicBezTo>
                    <a:pt x="2689" y="3242"/>
                    <a:pt x="2703" y="3231"/>
                    <a:pt x="2720" y="3229"/>
                  </a:cubicBezTo>
                  <a:cubicBezTo>
                    <a:pt x="2732" y="3227"/>
                    <a:pt x="2745" y="3231"/>
                    <a:pt x="2756" y="3229"/>
                  </a:cubicBezTo>
                  <a:cubicBezTo>
                    <a:pt x="2775" y="3225"/>
                    <a:pt x="2795" y="3209"/>
                    <a:pt x="2814" y="3214"/>
                  </a:cubicBezTo>
                  <a:cubicBezTo>
                    <a:pt x="2821" y="3206"/>
                    <a:pt x="2841" y="3212"/>
                    <a:pt x="2836" y="3193"/>
                  </a:cubicBezTo>
                  <a:cubicBezTo>
                    <a:pt x="2842" y="3188"/>
                    <a:pt x="2856" y="3181"/>
                    <a:pt x="2858" y="3193"/>
                  </a:cubicBezTo>
                  <a:cubicBezTo>
                    <a:pt x="2887" y="3186"/>
                    <a:pt x="2864" y="3211"/>
                    <a:pt x="2865" y="3221"/>
                  </a:cubicBezTo>
                  <a:cubicBezTo>
                    <a:pt x="2866" y="3231"/>
                    <a:pt x="2875" y="3235"/>
                    <a:pt x="2872" y="3257"/>
                  </a:cubicBezTo>
                  <a:cubicBezTo>
                    <a:pt x="2871" y="3268"/>
                    <a:pt x="2862" y="3274"/>
                    <a:pt x="2858" y="3286"/>
                  </a:cubicBezTo>
                  <a:cubicBezTo>
                    <a:pt x="2851" y="3306"/>
                    <a:pt x="2856" y="3329"/>
                    <a:pt x="2851" y="3344"/>
                  </a:cubicBezTo>
                  <a:cubicBezTo>
                    <a:pt x="2849" y="3347"/>
                    <a:pt x="2844" y="3344"/>
                    <a:pt x="2843" y="3351"/>
                  </a:cubicBezTo>
                  <a:cubicBezTo>
                    <a:pt x="2843" y="3353"/>
                    <a:pt x="2838" y="3363"/>
                    <a:pt x="2836" y="3366"/>
                  </a:cubicBezTo>
                  <a:cubicBezTo>
                    <a:pt x="2833" y="3370"/>
                    <a:pt x="2824" y="3376"/>
                    <a:pt x="2822" y="3380"/>
                  </a:cubicBezTo>
                  <a:cubicBezTo>
                    <a:pt x="2817" y="3388"/>
                    <a:pt x="2818" y="3395"/>
                    <a:pt x="2814" y="3402"/>
                  </a:cubicBezTo>
                  <a:cubicBezTo>
                    <a:pt x="2811" y="3408"/>
                    <a:pt x="2803" y="3411"/>
                    <a:pt x="2800" y="3416"/>
                  </a:cubicBezTo>
                  <a:cubicBezTo>
                    <a:pt x="2787" y="3438"/>
                    <a:pt x="2787" y="3454"/>
                    <a:pt x="2771" y="3474"/>
                  </a:cubicBezTo>
                  <a:cubicBezTo>
                    <a:pt x="2768" y="3477"/>
                    <a:pt x="2766" y="3477"/>
                    <a:pt x="2764" y="3481"/>
                  </a:cubicBezTo>
                  <a:cubicBezTo>
                    <a:pt x="2761" y="3485"/>
                    <a:pt x="2764" y="3490"/>
                    <a:pt x="2756" y="3488"/>
                  </a:cubicBezTo>
                  <a:cubicBezTo>
                    <a:pt x="2756" y="3530"/>
                    <a:pt x="2727" y="3558"/>
                    <a:pt x="2705" y="3589"/>
                  </a:cubicBezTo>
                  <a:cubicBezTo>
                    <a:pt x="2703" y="3593"/>
                    <a:pt x="2699" y="3588"/>
                    <a:pt x="2698" y="3596"/>
                  </a:cubicBezTo>
                  <a:cubicBezTo>
                    <a:pt x="2697" y="3615"/>
                    <a:pt x="2651" y="3657"/>
                    <a:pt x="2633" y="3676"/>
                  </a:cubicBezTo>
                  <a:cubicBezTo>
                    <a:pt x="2624" y="3684"/>
                    <a:pt x="2613" y="3695"/>
                    <a:pt x="2604" y="3704"/>
                  </a:cubicBezTo>
                  <a:cubicBezTo>
                    <a:pt x="2593" y="3715"/>
                    <a:pt x="2583" y="3727"/>
                    <a:pt x="2575" y="3733"/>
                  </a:cubicBezTo>
                  <a:cubicBezTo>
                    <a:pt x="2572" y="3735"/>
                    <a:pt x="2562" y="3731"/>
                    <a:pt x="2560" y="3733"/>
                  </a:cubicBezTo>
                  <a:cubicBezTo>
                    <a:pt x="2552" y="3743"/>
                    <a:pt x="2548" y="3746"/>
                    <a:pt x="2531" y="3755"/>
                  </a:cubicBezTo>
                  <a:cubicBezTo>
                    <a:pt x="2525" y="3758"/>
                    <a:pt x="2517" y="3758"/>
                    <a:pt x="2509" y="3762"/>
                  </a:cubicBezTo>
                  <a:cubicBezTo>
                    <a:pt x="2505" y="3765"/>
                    <a:pt x="2499" y="3774"/>
                    <a:pt x="2495" y="3776"/>
                  </a:cubicBezTo>
                  <a:cubicBezTo>
                    <a:pt x="2492" y="3778"/>
                    <a:pt x="2482" y="3774"/>
                    <a:pt x="2480" y="3776"/>
                  </a:cubicBezTo>
                  <a:cubicBezTo>
                    <a:pt x="2478" y="3779"/>
                    <a:pt x="2476" y="3789"/>
                    <a:pt x="2473" y="3791"/>
                  </a:cubicBezTo>
                  <a:cubicBezTo>
                    <a:pt x="2468" y="3795"/>
                    <a:pt x="2457" y="3794"/>
                    <a:pt x="2452" y="3798"/>
                  </a:cubicBezTo>
                  <a:cubicBezTo>
                    <a:pt x="2442" y="3805"/>
                    <a:pt x="2432" y="3819"/>
                    <a:pt x="2422" y="3827"/>
                  </a:cubicBezTo>
                  <a:cubicBezTo>
                    <a:pt x="2378" y="3864"/>
                    <a:pt x="2340" y="3899"/>
                    <a:pt x="2306" y="3949"/>
                  </a:cubicBezTo>
                  <a:cubicBezTo>
                    <a:pt x="2296" y="3960"/>
                    <a:pt x="2265" y="3952"/>
                    <a:pt x="2270" y="3978"/>
                  </a:cubicBezTo>
                  <a:cubicBezTo>
                    <a:pt x="2255" y="3985"/>
                    <a:pt x="2238" y="3989"/>
                    <a:pt x="2227" y="4000"/>
                  </a:cubicBezTo>
                  <a:cubicBezTo>
                    <a:pt x="2234" y="4019"/>
                    <a:pt x="2218" y="4031"/>
                    <a:pt x="2212" y="4043"/>
                  </a:cubicBezTo>
                  <a:cubicBezTo>
                    <a:pt x="2209" y="4049"/>
                    <a:pt x="2209" y="4058"/>
                    <a:pt x="2205" y="4065"/>
                  </a:cubicBezTo>
                  <a:cubicBezTo>
                    <a:pt x="2202" y="4070"/>
                    <a:pt x="2193" y="4075"/>
                    <a:pt x="2190" y="4079"/>
                  </a:cubicBezTo>
                  <a:cubicBezTo>
                    <a:pt x="2177" y="4104"/>
                    <a:pt x="2165" y="4123"/>
                    <a:pt x="2154" y="4151"/>
                  </a:cubicBezTo>
                  <a:cubicBezTo>
                    <a:pt x="2154" y="4189"/>
                    <a:pt x="2193" y="4190"/>
                    <a:pt x="2197" y="4223"/>
                  </a:cubicBezTo>
                  <a:cubicBezTo>
                    <a:pt x="2181" y="4227"/>
                    <a:pt x="2195" y="4259"/>
                    <a:pt x="2190" y="4274"/>
                  </a:cubicBezTo>
                  <a:cubicBezTo>
                    <a:pt x="2194" y="4304"/>
                    <a:pt x="2216" y="4316"/>
                    <a:pt x="2219" y="4346"/>
                  </a:cubicBezTo>
                  <a:cubicBezTo>
                    <a:pt x="2225" y="4364"/>
                    <a:pt x="2249" y="4364"/>
                    <a:pt x="2263" y="4375"/>
                  </a:cubicBezTo>
                  <a:cubicBezTo>
                    <a:pt x="2270" y="4391"/>
                    <a:pt x="2261" y="4405"/>
                    <a:pt x="2263" y="4425"/>
                  </a:cubicBezTo>
                  <a:cubicBezTo>
                    <a:pt x="2264" y="4438"/>
                    <a:pt x="2269" y="4441"/>
                    <a:pt x="2270" y="4454"/>
                  </a:cubicBezTo>
                  <a:cubicBezTo>
                    <a:pt x="2275" y="4495"/>
                    <a:pt x="2279" y="4541"/>
                    <a:pt x="2292" y="4569"/>
                  </a:cubicBezTo>
                  <a:cubicBezTo>
                    <a:pt x="2283" y="4579"/>
                    <a:pt x="2279" y="4594"/>
                    <a:pt x="2270" y="4605"/>
                  </a:cubicBezTo>
                  <a:cubicBezTo>
                    <a:pt x="2267" y="4610"/>
                    <a:pt x="2260" y="4616"/>
                    <a:pt x="2256" y="4620"/>
                  </a:cubicBezTo>
                  <a:cubicBezTo>
                    <a:pt x="2253" y="4623"/>
                    <a:pt x="2244" y="4632"/>
                    <a:pt x="2241" y="4634"/>
                  </a:cubicBezTo>
                  <a:cubicBezTo>
                    <a:pt x="2238" y="4636"/>
                    <a:pt x="2229" y="4632"/>
                    <a:pt x="2227" y="4634"/>
                  </a:cubicBezTo>
                  <a:cubicBezTo>
                    <a:pt x="2226" y="4635"/>
                    <a:pt x="2227" y="4641"/>
                    <a:pt x="2227" y="4642"/>
                  </a:cubicBezTo>
                  <a:cubicBezTo>
                    <a:pt x="2224" y="4643"/>
                    <a:pt x="2214" y="4639"/>
                    <a:pt x="2212" y="4642"/>
                  </a:cubicBezTo>
                  <a:cubicBezTo>
                    <a:pt x="2201" y="4655"/>
                    <a:pt x="2156" y="4654"/>
                    <a:pt x="2132" y="4663"/>
                  </a:cubicBezTo>
                  <a:cubicBezTo>
                    <a:pt x="2106" y="4673"/>
                    <a:pt x="2088" y="4687"/>
                    <a:pt x="2074" y="4706"/>
                  </a:cubicBezTo>
                  <a:cubicBezTo>
                    <a:pt x="2034" y="4703"/>
                    <a:pt x="2034" y="4739"/>
                    <a:pt x="1994" y="4735"/>
                  </a:cubicBezTo>
                  <a:cubicBezTo>
                    <a:pt x="1985" y="4757"/>
                    <a:pt x="2010" y="4762"/>
                    <a:pt x="2016" y="4771"/>
                  </a:cubicBezTo>
                  <a:cubicBezTo>
                    <a:pt x="2021" y="4778"/>
                    <a:pt x="2019" y="4785"/>
                    <a:pt x="2023" y="4793"/>
                  </a:cubicBezTo>
                  <a:cubicBezTo>
                    <a:pt x="2026" y="4797"/>
                    <a:pt x="2036" y="4803"/>
                    <a:pt x="2038" y="4807"/>
                  </a:cubicBezTo>
                  <a:cubicBezTo>
                    <a:pt x="2050" y="4831"/>
                    <a:pt x="2066" y="4852"/>
                    <a:pt x="2060" y="4894"/>
                  </a:cubicBezTo>
                  <a:cubicBezTo>
                    <a:pt x="2035" y="4918"/>
                    <a:pt x="1969" y="4900"/>
                    <a:pt x="1944" y="4923"/>
                  </a:cubicBezTo>
                  <a:cubicBezTo>
                    <a:pt x="1951" y="4943"/>
                    <a:pt x="1964" y="4959"/>
                    <a:pt x="1958" y="5002"/>
                  </a:cubicBezTo>
                  <a:cubicBezTo>
                    <a:pt x="1922" y="5012"/>
                    <a:pt x="1896" y="5031"/>
                    <a:pt x="1878" y="5060"/>
                  </a:cubicBezTo>
                  <a:cubicBezTo>
                    <a:pt x="1837" y="5063"/>
                    <a:pt x="1812" y="5093"/>
                    <a:pt x="1755" y="5088"/>
                  </a:cubicBezTo>
                  <a:cubicBezTo>
                    <a:pt x="1753" y="5088"/>
                    <a:pt x="1742" y="5090"/>
                    <a:pt x="1740" y="5088"/>
                  </a:cubicBezTo>
                  <a:cubicBezTo>
                    <a:pt x="1733" y="5079"/>
                    <a:pt x="1738" y="5089"/>
                    <a:pt x="1733" y="5088"/>
                  </a:cubicBezTo>
                  <a:cubicBezTo>
                    <a:pt x="1720" y="5087"/>
                    <a:pt x="1717" y="5083"/>
                    <a:pt x="1704" y="5081"/>
                  </a:cubicBezTo>
                  <a:cubicBezTo>
                    <a:pt x="1695" y="5080"/>
                    <a:pt x="1684" y="5083"/>
                    <a:pt x="1675" y="5081"/>
                  </a:cubicBezTo>
                  <a:cubicBezTo>
                    <a:pt x="1674" y="5081"/>
                    <a:pt x="1674" y="5074"/>
                    <a:pt x="1668" y="5074"/>
                  </a:cubicBezTo>
                  <a:cubicBezTo>
                    <a:pt x="1665" y="5074"/>
                    <a:pt x="1648" y="5076"/>
                    <a:pt x="1646" y="5074"/>
                  </a:cubicBezTo>
                  <a:cubicBezTo>
                    <a:pt x="1642" y="5069"/>
                    <a:pt x="1621" y="5062"/>
                    <a:pt x="1610" y="5060"/>
                  </a:cubicBezTo>
                  <a:cubicBezTo>
                    <a:pt x="1578" y="5054"/>
                    <a:pt x="1547" y="5060"/>
                    <a:pt x="1523" y="5052"/>
                  </a:cubicBezTo>
                  <a:cubicBezTo>
                    <a:pt x="1520" y="5052"/>
                    <a:pt x="1522" y="5046"/>
                    <a:pt x="1515" y="5045"/>
                  </a:cubicBezTo>
                  <a:cubicBezTo>
                    <a:pt x="1505" y="5045"/>
                    <a:pt x="1500" y="5031"/>
                    <a:pt x="1486" y="5031"/>
                  </a:cubicBezTo>
                  <a:cubicBezTo>
                    <a:pt x="1467" y="5030"/>
                    <a:pt x="1451" y="4995"/>
                    <a:pt x="1428" y="4995"/>
                  </a:cubicBezTo>
                  <a:cubicBezTo>
                    <a:pt x="1428" y="4988"/>
                    <a:pt x="1428" y="4980"/>
                    <a:pt x="1428" y="4973"/>
                  </a:cubicBezTo>
                  <a:cubicBezTo>
                    <a:pt x="1408" y="4954"/>
                    <a:pt x="1384" y="4942"/>
                    <a:pt x="1363" y="4923"/>
                  </a:cubicBezTo>
                  <a:cubicBezTo>
                    <a:pt x="1346" y="4907"/>
                    <a:pt x="1331" y="4881"/>
                    <a:pt x="1312" y="4865"/>
                  </a:cubicBezTo>
                  <a:cubicBezTo>
                    <a:pt x="1307" y="4860"/>
                    <a:pt x="1297" y="4863"/>
                    <a:pt x="1291" y="4858"/>
                  </a:cubicBezTo>
                  <a:cubicBezTo>
                    <a:pt x="1287" y="4855"/>
                    <a:pt x="1287" y="4846"/>
                    <a:pt x="1283" y="4843"/>
                  </a:cubicBezTo>
                  <a:cubicBezTo>
                    <a:pt x="1264" y="4830"/>
                    <a:pt x="1252" y="4826"/>
                    <a:pt x="1232" y="4807"/>
                  </a:cubicBezTo>
                  <a:cubicBezTo>
                    <a:pt x="1226" y="4801"/>
                    <a:pt x="1217" y="4793"/>
                    <a:pt x="1211" y="4786"/>
                  </a:cubicBezTo>
                  <a:cubicBezTo>
                    <a:pt x="1204" y="4779"/>
                    <a:pt x="1196" y="4773"/>
                    <a:pt x="1189" y="4764"/>
                  </a:cubicBezTo>
                  <a:cubicBezTo>
                    <a:pt x="1187" y="4762"/>
                    <a:pt x="1191" y="4752"/>
                    <a:pt x="1189" y="4750"/>
                  </a:cubicBezTo>
                  <a:cubicBezTo>
                    <a:pt x="1186" y="4747"/>
                    <a:pt x="1177" y="4745"/>
                    <a:pt x="1174" y="4742"/>
                  </a:cubicBezTo>
                  <a:cubicBezTo>
                    <a:pt x="1163" y="4728"/>
                    <a:pt x="1157" y="4709"/>
                    <a:pt x="1145" y="4692"/>
                  </a:cubicBezTo>
                  <a:cubicBezTo>
                    <a:pt x="1143" y="4688"/>
                    <a:pt x="1134" y="4688"/>
                    <a:pt x="1131" y="4685"/>
                  </a:cubicBezTo>
                  <a:cubicBezTo>
                    <a:pt x="1129" y="4682"/>
                    <a:pt x="1133" y="4672"/>
                    <a:pt x="1131" y="4670"/>
                  </a:cubicBezTo>
                  <a:cubicBezTo>
                    <a:pt x="1130" y="4670"/>
                    <a:pt x="1124" y="4671"/>
                    <a:pt x="1124" y="4670"/>
                  </a:cubicBezTo>
                  <a:cubicBezTo>
                    <a:pt x="1115" y="4653"/>
                    <a:pt x="1116" y="4638"/>
                    <a:pt x="1102" y="4620"/>
                  </a:cubicBezTo>
                  <a:cubicBezTo>
                    <a:pt x="1086" y="4599"/>
                    <a:pt x="1064" y="4579"/>
                    <a:pt x="1044" y="4555"/>
                  </a:cubicBezTo>
                  <a:cubicBezTo>
                    <a:pt x="1025" y="4533"/>
                    <a:pt x="1011" y="4512"/>
                    <a:pt x="993" y="4490"/>
                  </a:cubicBezTo>
                  <a:cubicBezTo>
                    <a:pt x="985" y="4480"/>
                    <a:pt x="972" y="4470"/>
                    <a:pt x="964" y="4461"/>
                  </a:cubicBezTo>
                  <a:cubicBezTo>
                    <a:pt x="962" y="4459"/>
                    <a:pt x="966" y="4449"/>
                    <a:pt x="964" y="4447"/>
                  </a:cubicBezTo>
                  <a:cubicBezTo>
                    <a:pt x="962" y="4445"/>
                    <a:pt x="951" y="4449"/>
                    <a:pt x="950" y="4447"/>
                  </a:cubicBezTo>
                  <a:cubicBezTo>
                    <a:pt x="945" y="4441"/>
                    <a:pt x="946" y="4431"/>
                    <a:pt x="942" y="4425"/>
                  </a:cubicBezTo>
                  <a:cubicBezTo>
                    <a:pt x="940" y="4421"/>
                    <a:pt x="930" y="4415"/>
                    <a:pt x="928" y="4411"/>
                  </a:cubicBezTo>
                  <a:cubicBezTo>
                    <a:pt x="924" y="4403"/>
                    <a:pt x="923" y="4396"/>
                    <a:pt x="920" y="4389"/>
                  </a:cubicBezTo>
                  <a:cubicBezTo>
                    <a:pt x="906" y="4354"/>
                    <a:pt x="908" y="4289"/>
                    <a:pt x="899" y="4238"/>
                  </a:cubicBezTo>
                  <a:cubicBezTo>
                    <a:pt x="913" y="4239"/>
                    <a:pt x="907" y="4223"/>
                    <a:pt x="913" y="4216"/>
                  </a:cubicBezTo>
                  <a:cubicBezTo>
                    <a:pt x="915" y="4214"/>
                    <a:pt x="926" y="4219"/>
                    <a:pt x="928" y="4216"/>
                  </a:cubicBezTo>
                  <a:cubicBezTo>
                    <a:pt x="931" y="4212"/>
                    <a:pt x="925" y="4200"/>
                    <a:pt x="935" y="4202"/>
                  </a:cubicBezTo>
                  <a:cubicBezTo>
                    <a:pt x="927" y="4187"/>
                    <a:pt x="932" y="4173"/>
                    <a:pt x="928" y="4159"/>
                  </a:cubicBezTo>
                  <a:cubicBezTo>
                    <a:pt x="914" y="4115"/>
                    <a:pt x="865" y="4084"/>
                    <a:pt x="884" y="4036"/>
                  </a:cubicBezTo>
                  <a:cubicBezTo>
                    <a:pt x="875" y="4017"/>
                    <a:pt x="865" y="3999"/>
                    <a:pt x="855" y="3978"/>
                  </a:cubicBezTo>
                  <a:cubicBezTo>
                    <a:pt x="854" y="3976"/>
                    <a:pt x="857" y="3966"/>
                    <a:pt x="855" y="3964"/>
                  </a:cubicBezTo>
                  <a:cubicBezTo>
                    <a:pt x="854" y="3963"/>
                    <a:pt x="848" y="3965"/>
                    <a:pt x="848" y="3964"/>
                  </a:cubicBezTo>
                  <a:cubicBezTo>
                    <a:pt x="847" y="3961"/>
                    <a:pt x="850" y="3951"/>
                    <a:pt x="848" y="3949"/>
                  </a:cubicBezTo>
                  <a:cubicBezTo>
                    <a:pt x="847" y="3949"/>
                    <a:pt x="841" y="3950"/>
                    <a:pt x="841" y="3949"/>
                  </a:cubicBezTo>
                  <a:cubicBezTo>
                    <a:pt x="839" y="3947"/>
                    <a:pt x="843" y="3937"/>
                    <a:pt x="841" y="3935"/>
                  </a:cubicBezTo>
                  <a:cubicBezTo>
                    <a:pt x="827" y="3924"/>
                    <a:pt x="834" y="3931"/>
                    <a:pt x="826" y="3906"/>
                  </a:cubicBezTo>
                  <a:cubicBezTo>
                    <a:pt x="824" y="3900"/>
                    <a:pt x="820" y="3902"/>
                    <a:pt x="819" y="3899"/>
                  </a:cubicBezTo>
                  <a:cubicBezTo>
                    <a:pt x="816" y="3893"/>
                    <a:pt x="815" y="3886"/>
                    <a:pt x="812" y="3877"/>
                  </a:cubicBezTo>
                  <a:cubicBezTo>
                    <a:pt x="803" y="3856"/>
                    <a:pt x="797" y="3842"/>
                    <a:pt x="783" y="3820"/>
                  </a:cubicBezTo>
                  <a:cubicBezTo>
                    <a:pt x="780" y="3816"/>
                    <a:pt x="777" y="3814"/>
                    <a:pt x="775" y="3812"/>
                  </a:cubicBezTo>
                  <a:cubicBezTo>
                    <a:pt x="772" y="3807"/>
                    <a:pt x="772" y="3797"/>
                    <a:pt x="768" y="3791"/>
                  </a:cubicBezTo>
                  <a:cubicBezTo>
                    <a:pt x="762" y="3781"/>
                    <a:pt x="747" y="3774"/>
                    <a:pt x="739" y="3762"/>
                  </a:cubicBezTo>
                  <a:cubicBezTo>
                    <a:pt x="737" y="3759"/>
                    <a:pt x="741" y="3750"/>
                    <a:pt x="739" y="3748"/>
                  </a:cubicBezTo>
                  <a:cubicBezTo>
                    <a:pt x="737" y="3746"/>
                    <a:pt x="726" y="3743"/>
                    <a:pt x="725" y="3740"/>
                  </a:cubicBezTo>
                  <a:cubicBezTo>
                    <a:pt x="720" y="3733"/>
                    <a:pt x="722" y="3725"/>
                    <a:pt x="717" y="3719"/>
                  </a:cubicBezTo>
                  <a:cubicBezTo>
                    <a:pt x="714" y="3714"/>
                    <a:pt x="707" y="3710"/>
                    <a:pt x="703" y="3704"/>
                  </a:cubicBezTo>
                  <a:cubicBezTo>
                    <a:pt x="695" y="3694"/>
                    <a:pt x="679" y="3676"/>
                    <a:pt x="674" y="3654"/>
                  </a:cubicBezTo>
                  <a:cubicBezTo>
                    <a:pt x="673" y="3650"/>
                    <a:pt x="676" y="3643"/>
                    <a:pt x="674" y="3640"/>
                  </a:cubicBezTo>
                  <a:cubicBezTo>
                    <a:pt x="672" y="3635"/>
                    <a:pt x="661" y="3629"/>
                    <a:pt x="659" y="3625"/>
                  </a:cubicBezTo>
                  <a:cubicBezTo>
                    <a:pt x="655" y="3617"/>
                    <a:pt x="657" y="3610"/>
                    <a:pt x="652" y="3603"/>
                  </a:cubicBezTo>
                  <a:cubicBezTo>
                    <a:pt x="659" y="3588"/>
                    <a:pt x="664" y="3577"/>
                    <a:pt x="667" y="3546"/>
                  </a:cubicBezTo>
                  <a:cubicBezTo>
                    <a:pt x="667" y="3541"/>
                    <a:pt x="665" y="3536"/>
                    <a:pt x="667" y="3531"/>
                  </a:cubicBezTo>
                  <a:cubicBezTo>
                    <a:pt x="667" y="3528"/>
                    <a:pt x="674" y="3522"/>
                    <a:pt x="674" y="3524"/>
                  </a:cubicBezTo>
                  <a:cubicBezTo>
                    <a:pt x="674" y="3511"/>
                    <a:pt x="665" y="3509"/>
                    <a:pt x="667" y="3495"/>
                  </a:cubicBezTo>
                  <a:cubicBezTo>
                    <a:pt x="670" y="3463"/>
                    <a:pt x="682" y="3434"/>
                    <a:pt x="681" y="3416"/>
                  </a:cubicBezTo>
                  <a:cubicBezTo>
                    <a:pt x="679" y="3396"/>
                    <a:pt x="675" y="3376"/>
                    <a:pt x="667" y="3358"/>
                  </a:cubicBezTo>
                  <a:cubicBezTo>
                    <a:pt x="662" y="3350"/>
                    <a:pt x="658" y="3350"/>
                    <a:pt x="652" y="3344"/>
                  </a:cubicBezTo>
                  <a:cubicBezTo>
                    <a:pt x="648" y="3340"/>
                    <a:pt x="645" y="3345"/>
                    <a:pt x="645" y="3337"/>
                  </a:cubicBezTo>
                  <a:cubicBezTo>
                    <a:pt x="644" y="3323"/>
                    <a:pt x="631" y="3314"/>
                    <a:pt x="623" y="3301"/>
                  </a:cubicBezTo>
                  <a:cubicBezTo>
                    <a:pt x="592" y="3293"/>
                    <a:pt x="559" y="3288"/>
                    <a:pt x="529" y="3279"/>
                  </a:cubicBezTo>
                  <a:cubicBezTo>
                    <a:pt x="504" y="3236"/>
                    <a:pt x="501" y="3172"/>
                    <a:pt x="471" y="3135"/>
                  </a:cubicBezTo>
                  <a:cubicBezTo>
                    <a:pt x="457" y="3131"/>
                    <a:pt x="441" y="3129"/>
                    <a:pt x="427" y="3120"/>
                  </a:cubicBezTo>
                  <a:cubicBezTo>
                    <a:pt x="418" y="3115"/>
                    <a:pt x="412" y="3116"/>
                    <a:pt x="398" y="3113"/>
                  </a:cubicBezTo>
                  <a:cubicBezTo>
                    <a:pt x="392" y="3112"/>
                    <a:pt x="391" y="3107"/>
                    <a:pt x="384" y="3106"/>
                  </a:cubicBezTo>
                  <a:cubicBezTo>
                    <a:pt x="367" y="3105"/>
                    <a:pt x="350" y="3110"/>
                    <a:pt x="333" y="3113"/>
                  </a:cubicBezTo>
                  <a:cubicBezTo>
                    <a:pt x="315" y="3116"/>
                    <a:pt x="299" y="3124"/>
                    <a:pt x="282" y="3120"/>
                  </a:cubicBezTo>
                  <a:cubicBezTo>
                    <a:pt x="249" y="3113"/>
                    <a:pt x="238" y="3081"/>
                    <a:pt x="209" y="3063"/>
                  </a:cubicBezTo>
                  <a:cubicBezTo>
                    <a:pt x="202" y="3058"/>
                    <a:pt x="190" y="3057"/>
                    <a:pt x="188" y="3048"/>
                  </a:cubicBezTo>
                  <a:cubicBezTo>
                    <a:pt x="168" y="3048"/>
                    <a:pt x="149" y="3048"/>
                    <a:pt x="130" y="3048"/>
                  </a:cubicBezTo>
                  <a:cubicBezTo>
                    <a:pt x="111" y="3006"/>
                    <a:pt x="95" y="2962"/>
                    <a:pt x="79" y="2911"/>
                  </a:cubicBezTo>
                  <a:cubicBezTo>
                    <a:pt x="68" y="2878"/>
                    <a:pt x="52" y="2841"/>
                    <a:pt x="43" y="2803"/>
                  </a:cubicBezTo>
                  <a:cubicBezTo>
                    <a:pt x="41" y="2797"/>
                    <a:pt x="44" y="2788"/>
                    <a:pt x="43" y="2782"/>
                  </a:cubicBezTo>
                  <a:cubicBezTo>
                    <a:pt x="41" y="2776"/>
                    <a:pt x="36" y="2775"/>
                    <a:pt x="35" y="2767"/>
                  </a:cubicBezTo>
                  <a:cubicBezTo>
                    <a:pt x="32" y="2742"/>
                    <a:pt x="38" y="2713"/>
                    <a:pt x="35" y="2688"/>
                  </a:cubicBezTo>
                  <a:cubicBezTo>
                    <a:pt x="34" y="2672"/>
                    <a:pt x="24" y="2653"/>
                    <a:pt x="21" y="2637"/>
                  </a:cubicBezTo>
                  <a:cubicBezTo>
                    <a:pt x="14" y="2601"/>
                    <a:pt x="17" y="2551"/>
                    <a:pt x="6" y="2515"/>
                  </a:cubicBezTo>
                  <a:cubicBezTo>
                    <a:pt x="0" y="2495"/>
                    <a:pt x="0" y="2490"/>
                    <a:pt x="6" y="2464"/>
                  </a:cubicBezTo>
                  <a:cubicBezTo>
                    <a:pt x="11" y="2445"/>
                    <a:pt x="8" y="2409"/>
                    <a:pt x="13" y="2378"/>
                  </a:cubicBezTo>
                  <a:cubicBezTo>
                    <a:pt x="17" y="2359"/>
                    <a:pt x="28" y="2341"/>
                    <a:pt x="35" y="2320"/>
                  </a:cubicBezTo>
                  <a:cubicBezTo>
                    <a:pt x="42" y="2302"/>
                    <a:pt x="44" y="2281"/>
                    <a:pt x="50" y="2263"/>
                  </a:cubicBezTo>
                  <a:cubicBezTo>
                    <a:pt x="51" y="2260"/>
                    <a:pt x="57" y="2262"/>
                    <a:pt x="57" y="2255"/>
                  </a:cubicBezTo>
                  <a:cubicBezTo>
                    <a:pt x="57" y="2254"/>
                    <a:pt x="56" y="2250"/>
                    <a:pt x="57" y="2248"/>
                  </a:cubicBezTo>
                  <a:cubicBezTo>
                    <a:pt x="60" y="2240"/>
                    <a:pt x="61" y="2232"/>
                    <a:pt x="64" y="2219"/>
                  </a:cubicBezTo>
                  <a:cubicBezTo>
                    <a:pt x="66" y="2215"/>
                    <a:pt x="71" y="2213"/>
                    <a:pt x="72" y="2212"/>
                  </a:cubicBezTo>
                  <a:cubicBezTo>
                    <a:pt x="76" y="2192"/>
                    <a:pt x="74" y="2168"/>
                    <a:pt x="79" y="2147"/>
                  </a:cubicBezTo>
                  <a:cubicBezTo>
                    <a:pt x="82" y="2135"/>
                    <a:pt x="91" y="2123"/>
                    <a:pt x="93" y="2111"/>
                  </a:cubicBezTo>
                  <a:cubicBezTo>
                    <a:pt x="98" y="2084"/>
                    <a:pt x="93" y="2057"/>
                    <a:pt x="101" y="2032"/>
                  </a:cubicBezTo>
                  <a:cubicBezTo>
                    <a:pt x="105" y="2017"/>
                    <a:pt x="113" y="2003"/>
                    <a:pt x="122" y="1989"/>
                  </a:cubicBezTo>
                  <a:cubicBezTo>
                    <a:pt x="125" y="1985"/>
                    <a:pt x="129" y="1990"/>
                    <a:pt x="130" y="1981"/>
                  </a:cubicBezTo>
                  <a:cubicBezTo>
                    <a:pt x="130" y="1971"/>
                    <a:pt x="143" y="1966"/>
                    <a:pt x="144" y="1953"/>
                  </a:cubicBezTo>
                  <a:cubicBezTo>
                    <a:pt x="144" y="1948"/>
                    <a:pt x="160" y="1931"/>
                    <a:pt x="166" y="1924"/>
                  </a:cubicBezTo>
                  <a:cubicBezTo>
                    <a:pt x="175" y="1913"/>
                    <a:pt x="177" y="1903"/>
                    <a:pt x="188" y="1902"/>
                  </a:cubicBezTo>
                  <a:cubicBezTo>
                    <a:pt x="189" y="1877"/>
                    <a:pt x="208" y="1870"/>
                    <a:pt x="209" y="1845"/>
                  </a:cubicBezTo>
                  <a:cubicBezTo>
                    <a:pt x="236" y="1823"/>
                    <a:pt x="263" y="1802"/>
                    <a:pt x="275" y="1765"/>
                  </a:cubicBezTo>
                  <a:cubicBezTo>
                    <a:pt x="291" y="1767"/>
                    <a:pt x="306" y="1766"/>
                    <a:pt x="318" y="1758"/>
                  </a:cubicBezTo>
                  <a:cubicBezTo>
                    <a:pt x="322" y="1755"/>
                    <a:pt x="317" y="1751"/>
                    <a:pt x="326" y="1751"/>
                  </a:cubicBezTo>
                  <a:cubicBezTo>
                    <a:pt x="335" y="1750"/>
                    <a:pt x="335" y="1739"/>
                    <a:pt x="340" y="1736"/>
                  </a:cubicBezTo>
                  <a:cubicBezTo>
                    <a:pt x="350" y="1732"/>
                    <a:pt x="368" y="1732"/>
                    <a:pt x="369" y="1715"/>
                  </a:cubicBezTo>
                  <a:cubicBezTo>
                    <a:pt x="370" y="1704"/>
                    <a:pt x="384" y="1704"/>
                    <a:pt x="391" y="1693"/>
                  </a:cubicBezTo>
                  <a:cubicBezTo>
                    <a:pt x="398" y="1682"/>
                    <a:pt x="399" y="1664"/>
                    <a:pt x="405" y="1650"/>
                  </a:cubicBezTo>
                  <a:cubicBezTo>
                    <a:pt x="409" y="1642"/>
                    <a:pt x="419" y="1633"/>
                    <a:pt x="420" y="1621"/>
                  </a:cubicBezTo>
                  <a:cubicBezTo>
                    <a:pt x="421" y="1605"/>
                    <a:pt x="464" y="1578"/>
                    <a:pt x="471" y="1556"/>
                  </a:cubicBezTo>
                  <a:cubicBezTo>
                    <a:pt x="513" y="1545"/>
                    <a:pt x="543" y="1530"/>
                    <a:pt x="572" y="1498"/>
                  </a:cubicBezTo>
                  <a:cubicBezTo>
                    <a:pt x="574" y="1496"/>
                    <a:pt x="570" y="1486"/>
                    <a:pt x="572" y="1484"/>
                  </a:cubicBezTo>
                  <a:cubicBezTo>
                    <a:pt x="581" y="1477"/>
                    <a:pt x="588" y="1466"/>
                    <a:pt x="609" y="1462"/>
                  </a:cubicBezTo>
                  <a:cubicBezTo>
                    <a:pt x="609" y="1474"/>
                    <a:pt x="609" y="1486"/>
                    <a:pt x="609" y="1498"/>
                  </a:cubicBezTo>
                  <a:cubicBezTo>
                    <a:pt x="618" y="1508"/>
                    <a:pt x="633" y="1505"/>
                    <a:pt x="645" y="1513"/>
                  </a:cubicBezTo>
                  <a:cubicBezTo>
                    <a:pt x="647" y="1515"/>
                    <a:pt x="643" y="1525"/>
                    <a:pt x="645" y="1527"/>
                  </a:cubicBezTo>
                  <a:cubicBezTo>
                    <a:pt x="651" y="1532"/>
                    <a:pt x="662" y="1529"/>
                    <a:pt x="667" y="1535"/>
                  </a:cubicBezTo>
                  <a:cubicBezTo>
                    <a:pt x="677" y="1534"/>
                    <a:pt x="681" y="1531"/>
                    <a:pt x="688" y="1527"/>
                  </a:cubicBezTo>
                  <a:cubicBezTo>
                    <a:pt x="693" y="1525"/>
                    <a:pt x="700" y="1514"/>
                    <a:pt x="703" y="1513"/>
                  </a:cubicBezTo>
                  <a:cubicBezTo>
                    <a:pt x="711" y="1510"/>
                    <a:pt x="723" y="1515"/>
                    <a:pt x="732" y="1513"/>
                  </a:cubicBezTo>
                  <a:cubicBezTo>
                    <a:pt x="747" y="1509"/>
                    <a:pt x="753" y="1493"/>
                    <a:pt x="768" y="1491"/>
                  </a:cubicBezTo>
                  <a:cubicBezTo>
                    <a:pt x="822" y="1493"/>
                    <a:pt x="890" y="1481"/>
                    <a:pt x="913" y="1513"/>
                  </a:cubicBezTo>
                  <a:cubicBezTo>
                    <a:pt x="930" y="1513"/>
                    <a:pt x="935" y="1501"/>
                    <a:pt x="957" y="1506"/>
                  </a:cubicBezTo>
                  <a:cubicBezTo>
                    <a:pt x="966" y="1516"/>
                    <a:pt x="985" y="1517"/>
                    <a:pt x="993" y="1527"/>
                  </a:cubicBezTo>
                  <a:cubicBezTo>
                    <a:pt x="1022" y="1532"/>
                    <a:pt x="1034" y="1520"/>
                    <a:pt x="1058" y="1520"/>
                  </a:cubicBezTo>
                  <a:cubicBezTo>
                    <a:pt x="1073" y="1525"/>
                    <a:pt x="1054" y="1563"/>
                    <a:pt x="1080" y="1556"/>
                  </a:cubicBezTo>
                  <a:cubicBezTo>
                    <a:pt x="1075" y="1573"/>
                    <a:pt x="1056" y="1575"/>
                    <a:pt x="1051" y="1592"/>
                  </a:cubicBezTo>
                  <a:cubicBezTo>
                    <a:pt x="1053" y="1609"/>
                    <a:pt x="1063" y="1619"/>
                    <a:pt x="1058" y="1643"/>
                  </a:cubicBezTo>
                  <a:cubicBezTo>
                    <a:pt x="1040" y="1663"/>
                    <a:pt x="1011" y="1672"/>
                    <a:pt x="993" y="1693"/>
                  </a:cubicBezTo>
                  <a:cubicBezTo>
                    <a:pt x="1005" y="1736"/>
                    <a:pt x="1034" y="1763"/>
                    <a:pt x="1058" y="1794"/>
                  </a:cubicBezTo>
                  <a:cubicBezTo>
                    <a:pt x="1111" y="1788"/>
                    <a:pt x="1120" y="1824"/>
                    <a:pt x="1153" y="1837"/>
                  </a:cubicBezTo>
                  <a:cubicBezTo>
                    <a:pt x="1143" y="1846"/>
                    <a:pt x="1143" y="1871"/>
                    <a:pt x="1153" y="1881"/>
                  </a:cubicBezTo>
                  <a:cubicBezTo>
                    <a:pt x="1158" y="1904"/>
                    <a:pt x="1189" y="1902"/>
                    <a:pt x="1211" y="1909"/>
                  </a:cubicBezTo>
                  <a:cubicBezTo>
                    <a:pt x="1216" y="1926"/>
                    <a:pt x="1233" y="1931"/>
                    <a:pt x="1247" y="1938"/>
                  </a:cubicBezTo>
                  <a:cubicBezTo>
                    <a:pt x="1247" y="1959"/>
                    <a:pt x="1264" y="1965"/>
                    <a:pt x="1276" y="1974"/>
                  </a:cubicBezTo>
                  <a:cubicBezTo>
                    <a:pt x="1303" y="1975"/>
                    <a:pt x="1318" y="1963"/>
                    <a:pt x="1334" y="1953"/>
                  </a:cubicBezTo>
                  <a:cubicBezTo>
                    <a:pt x="1334" y="1931"/>
                    <a:pt x="1334" y="1909"/>
                    <a:pt x="1334" y="1888"/>
                  </a:cubicBezTo>
                  <a:cubicBezTo>
                    <a:pt x="1358" y="1861"/>
                    <a:pt x="1391" y="1844"/>
                    <a:pt x="1443" y="1845"/>
                  </a:cubicBezTo>
                  <a:cubicBezTo>
                    <a:pt x="1448" y="1854"/>
                    <a:pt x="1458" y="1858"/>
                    <a:pt x="1472" y="1859"/>
                  </a:cubicBezTo>
                  <a:cubicBezTo>
                    <a:pt x="1478" y="1867"/>
                    <a:pt x="1482" y="1878"/>
                    <a:pt x="1479" y="1895"/>
                  </a:cubicBezTo>
                  <a:cubicBezTo>
                    <a:pt x="1512" y="1891"/>
                    <a:pt x="1510" y="1922"/>
                    <a:pt x="1544" y="1917"/>
                  </a:cubicBezTo>
                  <a:cubicBezTo>
                    <a:pt x="1549" y="1932"/>
                    <a:pt x="1560" y="1940"/>
                    <a:pt x="1566" y="1953"/>
                  </a:cubicBezTo>
                  <a:cubicBezTo>
                    <a:pt x="1581" y="1953"/>
                    <a:pt x="1595" y="1953"/>
                    <a:pt x="1610" y="1953"/>
                  </a:cubicBezTo>
                  <a:cubicBezTo>
                    <a:pt x="1618" y="1964"/>
                    <a:pt x="1634" y="1967"/>
                    <a:pt x="1646" y="1974"/>
                  </a:cubicBezTo>
                  <a:cubicBezTo>
                    <a:pt x="1653" y="1978"/>
                    <a:pt x="1655" y="1985"/>
                    <a:pt x="1661" y="1989"/>
                  </a:cubicBezTo>
                  <a:cubicBezTo>
                    <a:pt x="1663" y="1990"/>
                    <a:pt x="1673" y="1986"/>
                    <a:pt x="1675" y="1989"/>
                  </a:cubicBezTo>
                  <a:cubicBezTo>
                    <a:pt x="1682" y="1997"/>
                    <a:pt x="1697" y="1989"/>
                    <a:pt x="1704" y="1996"/>
                  </a:cubicBezTo>
                  <a:cubicBezTo>
                    <a:pt x="1707" y="1999"/>
                    <a:pt x="1716" y="2010"/>
                    <a:pt x="1733" y="2010"/>
                  </a:cubicBezTo>
                  <a:cubicBezTo>
                    <a:pt x="1773" y="2010"/>
                    <a:pt x="1797" y="1972"/>
                    <a:pt x="1842" y="1981"/>
                  </a:cubicBezTo>
                  <a:cubicBezTo>
                    <a:pt x="1862" y="1975"/>
                    <a:pt x="1861" y="2002"/>
                    <a:pt x="1878" y="2003"/>
                  </a:cubicBezTo>
                  <a:cubicBezTo>
                    <a:pt x="1887" y="2004"/>
                    <a:pt x="1891" y="2003"/>
                    <a:pt x="1893" y="2010"/>
                  </a:cubicBezTo>
                  <a:cubicBezTo>
                    <a:pt x="1937" y="2013"/>
                    <a:pt x="1963" y="2011"/>
                    <a:pt x="1987" y="1996"/>
                  </a:cubicBezTo>
                  <a:cubicBezTo>
                    <a:pt x="1988" y="1995"/>
                    <a:pt x="2001" y="1990"/>
                    <a:pt x="2002" y="1989"/>
                  </a:cubicBezTo>
                  <a:cubicBezTo>
                    <a:pt x="2003" y="1985"/>
                    <a:pt x="1999" y="1978"/>
                    <a:pt x="2002" y="1974"/>
                  </a:cubicBezTo>
                  <a:cubicBezTo>
                    <a:pt x="2003" y="1972"/>
                    <a:pt x="2015" y="1969"/>
                    <a:pt x="2016" y="1967"/>
                  </a:cubicBezTo>
                  <a:cubicBezTo>
                    <a:pt x="2022" y="1953"/>
                    <a:pt x="2025" y="1945"/>
                    <a:pt x="2031" y="1931"/>
                  </a:cubicBezTo>
                  <a:cubicBezTo>
                    <a:pt x="2035" y="1921"/>
                    <a:pt x="2033" y="1912"/>
                    <a:pt x="2038" y="1902"/>
                  </a:cubicBezTo>
                  <a:cubicBezTo>
                    <a:pt x="2040" y="1899"/>
                    <a:pt x="2051" y="1898"/>
                    <a:pt x="2052" y="1895"/>
                  </a:cubicBezTo>
                  <a:cubicBezTo>
                    <a:pt x="2062" y="1873"/>
                    <a:pt x="2071" y="1838"/>
                    <a:pt x="2096" y="1823"/>
                  </a:cubicBezTo>
                  <a:cubicBezTo>
                    <a:pt x="2091" y="1788"/>
                    <a:pt x="2109" y="1775"/>
                    <a:pt x="2096" y="1751"/>
                  </a:cubicBezTo>
                  <a:cubicBezTo>
                    <a:pt x="2097" y="1748"/>
                    <a:pt x="2110" y="1738"/>
                    <a:pt x="2110" y="1736"/>
                  </a:cubicBezTo>
                  <a:cubicBezTo>
                    <a:pt x="2112" y="1726"/>
                    <a:pt x="2100" y="1721"/>
                    <a:pt x="2103" y="1715"/>
                  </a:cubicBezTo>
                  <a:cubicBezTo>
                    <a:pt x="2107" y="1706"/>
                    <a:pt x="2129" y="1708"/>
                    <a:pt x="2125" y="1686"/>
                  </a:cubicBezTo>
                  <a:cubicBezTo>
                    <a:pt x="2112" y="1673"/>
                    <a:pt x="2104" y="1689"/>
                    <a:pt x="2089" y="1693"/>
                  </a:cubicBezTo>
                  <a:cubicBezTo>
                    <a:pt x="2033" y="1665"/>
                    <a:pt x="2019" y="1726"/>
                    <a:pt x="1958" y="1715"/>
                  </a:cubicBezTo>
                  <a:cubicBezTo>
                    <a:pt x="1931" y="1720"/>
                    <a:pt x="1942" y="1687"/>
                    <a:pt x="1922" y="1686"/>
                  </a:cubicBezTo>
                  <a:cubicBezTo>
                    <a:pt x="1907" y="1682"/>
                    <a:pt x="1901" y="1668"/>
                    <a:pt x="1878" y="1672"/>
                  </a:cubicBezTo>
                  <a:cubicBezTo>
                    <a:pt x="1855" y="1665"/>
                    <a:pt x="1863" y="1690"/>
                    <a:pt x="1849" y="1693"/>
                  </a:cubicBezTo>
                  <a:cubicBezTo>
                    <a:pt x="1843" y="1704"/>
                    <a:pt x="1826" y="1704"/>
                    <a:pt x="1813" y="1708"/>
                  </a:cubicBezTo>
                  <a:cubicBezTo>
                    <a:pt x="1811" y="1700"/>
                    <a:pt x="1799" y="1703"/>
                    <a:pt x="1798" y="1693"/>
                  </a:cubicBezTo>
                  <a:cubicBezTo>
                    <a:pt x="1800" y="1681"/>
                    <a:pt x="1792" y="1681"/>
                    <a:pt x="1791" y="1672"/>
                  </a:cubicBezTo>
                  <a:cubicBezTo>
                    <a:pt x="1764" y="1673"/>
                    <a:pt x="1756" y="1653"/>
                    <a:pt x="1733" y="1650"/>
                  </a:cubicBezTo>
                  <a:cubicBezTo>
                    <a:pt x="1730" y="1627"/>
                    <a:pt x="1743" y="1588"/>
                    <a:pt x="1719" y="1585"/>
                  </a:cubicBezTo>
                  <a:cubicBezTo>
                    <a:pt x="1734" y="1573"/>
                    <a:pt x="1728" y="1541"/>
                    <a:pt x="1740" y="1527"/>
                  </a:cubicBezTo>
                  <a:cubicBezTo>
                    <a:pt x="1748" y="1500"/>
                    <a:pt x="1713" y="1516"/>
                    <a:pt x="1719" y="1491"/>
                  </a:cubicBezTo>
                  <a:cubicBezTo>
                    <a:pt x="1728" y="1488"/>
                    <a:pt x="1734" y="1482"/>
                    <a:pt x="1733" y="1470"/>
                  </a:cubicBezTo>
                  <a:cubicBezTo>
                    <a:pt x="1767" y="1469"/>
                    <a:pt x="1803" y="1483"/>
                    <a:pt x="1835" y="1477"/>
                  </a:cubicBezTo>
                  <a:cubicBezTo>
                    <a:pt x="1847" y="1474"/>
                    <a:pt x="1855" y="1453"/>
                    <a:pt x="1871" y="1462"/>
                  </a:cubicBezTo>
                  <a:cubicBezTo>
                    <a:pt x="1866" y="1439"/>
                    <a:pt x="1834" y="1438"/>
                    <a:pt x="1806" y="1441"/>
                  </a:cubicBezTo>
                  <a:cubicBezTo>
                    <a:pt x="1784" y="1443"/>
                    <a:pt x="1775" y="1454"/>
                    <a:pt x="1762" y="1455"/>
                  </a:cubicBezTo>
                  <a:cubicBezTo>
                    <a:pt x="1726" y="1444"/>
                    <a:pt x="1689" y="1409"/>
                    <a:pt x="1646" y="1426"/>
                  </a:cubicBezTo>
                  <a:cubicBezTo>
                    <a:pt x="1631" y="1423"/>
                    <a:pt x="1632" y="1437"/>
                    <a:pt x="1632" y="1448"/>
                  </a:cubicBezTo>
                  <a:cubicBezTo>
                    <a:pt x="1604" y="1456"/>
                    <a:pt x="1611" y="1430"/>
                    <a:pt x="1588" y="1434"/>
                  </a:cubicBezTo>
                  <a:cubicBezTo>
                    <a:pt x="1581" y="1440"/>
                    <a:pt x="1573" y="1480"/>
                    <a:pt x="1588" y="1484"/>
                  </a:cubicBezTo>
                  <a:cubicBezTo>
                    <a:pt x="1577" y="1493"/>
                    <a:pt x="1577" y="1511"/>
                    <a:pt x="1566" y="1520"/>
                  </a:cubicBezTo>
                  <a:cubicBezTo>
                    <a:pt x="1562" y="1548"/>
                    <a:pt x="1624" y="1533"/>
                    <a:pt x="1603" y="1556"/>
                  </a:cubicBezTo>
                  <a:cubicBezTo>
                    <a:pt x="1596" y="1603"/>
                    <a:pt x="1562" y="1549"/>
                    <a:pt x="1544" y="1542"/>
                  </a:cubicBezTo>
                  <a:cubicBezTo>
                    <a:pt x="1521" y="1546"/>
                    <a:pt x="1511" y="1537"/>
                    <a:pt x="1494" y="1535"/>
                  </a:cubicBezTo>
                  <a:cubicBezTo>
                    <a:pt x="1494" y="1523"/>
                    <a:pt x="1490" y="1507"/>
                    <a:pt x="1501" y="1506"/>
                  </a:cubicBezTo>
                  <a:cubicBezTo>
                    <a:pt x="1499" y="1494"/>
                    <a:pt x="1485" y="1491"/>
                    <a:pt x="1479" y="1477"/>
                  </a:cubicBezTo>
                  <a:cubicBezTo>
                    <a:pt x="1475" y="1467"/>
                    <a:pt x="1481" y="1452"/>
                    <a:pt x="1479" y="1441"/>
                  </a:cubicBezTo>
                  <a:cubicBezTo>
                    <a:pt x="1479" y="1440"/>
                    <a:pt x="1472" y="1439"/>
                    <a:pt x="1472" y="1434"/>
                  </a:cubicBezTo>
                  <a:cubicBezTo>
                    <a:pt x="1472" y="1427"/>
                    <a:pt x="1471" y="1419"/>
                    <a:pt x="1472" y="1412"/>
                  </a:cubicBezTo>
                  <a:cubicBezTo>
                    <a:pt x="1473" y="1399"/>
                    <a:pt x="1481" y="1394"/>
                    <a:pt x="1486" y="1383"/>
                  </a:cubicBezTo>
                  <a:cubicBezTo>
                    <a:pt x="1492" y="1371"/>
                    <a:pt x="1488" y="1356"/>
                    <a:pt x="1501" y="1354"/>
                  </a:cubicBezTo>
                  <a:cubicBezTo>
                    <a:pt x="1494" y="1315"/>
                    <a:pt x="1454" y="1310"/>
                    <a:pt x="1450" y="1268"/>
                  </a:cubicBezTo>
                  <a:cubicBezTo>
                    <a:pt x="1432" y="1254"/>
                    <a:pt x="1413" y="1243"/>
                    <a:pt x="1399" y="1225"/>
                  </a:cubicBezTo>
                  <a:cubicBezTo>
                    <a:pt x="1396" y="1200"/>
                    <a:pt x="1402" y="1184"/>
                    <a:pt x="1407" y="1167"/>
                  </a:cubicBezTo>
                  <a:cubicBezTo>
                    <a:pt x="1397" y="1138"/>
                    <a:pt x="1392" y="1169"/>
                    <a:pt x="1370" y="1167"/>
                  </a:cubicBezTo>
                  <a:cubicBezTo>
                    <a:pt x="1369" y="1149"/>
                    <a:pt x="1382" y="1145"/>
                    <a:pt x="1385" y="1131"/>
                  </a:cubicBezTo>
                  <a:cubicBezTo>
                    <a:pt x="1370" y="1131"/>
                    <a:pt x="1356" y="1131"/>
                    <a:pt x="1341" y="1131"/>
                  </a:cubicBezTo>
                  <a:cubicBezTo>
                    <a:pt x="1321" y="1123"/>
                    <a:pt x="1336" y="1153"/>
                    <a:pt x="1327" y="1160"/>
                  </a:cubicBezTo>
                  <a:cubicBezTo>
                    <a:pt x="1324" y="1162"/>
                    <a:pt x="1306" y="1174"/>
                    <a:pt x="1305" y="1189"/>
                  </a:cubicBezTo>
                  <a:cubicBezTo>
                    <a:pt x="1305" y="1213"/>
                    <a:pt x="1315" y="1227"/>
                    <a:pt x="1327" y="1239"/>
                  </a:cubicBezTo>
                  <a:cubicBezTo>
                    <a:pt x="1317" y="1248"/>
                    <a:pt x="1320" y="1270"/>
                    <a:pt x="1320" y="1289"/>
                  </a:cubicBezTo>
                  <a:cubicBezTo>
                    <a:pt x="1329" y="1306"/>
                    <a:pt x="1332" y="1330"/>
                    <a:pt x="1363" y="1325"/>
                  </a:cubicBezTo>
                  <a:cubicBezTo>
                    <a:pt x="1365" y="1337"/>
                    <a:pt x="1358" y="1363"/>
                    <a:pt x="1370" y="1369"/>
                  </a:cubicBezTo>
                  <a:cubicBezTo>
                    <a:pt x="1374" y="1370"/>
                    <a:pt x="1382" y="1366"/>
                    <a:pt x="1385" y="1369"/>
                  </a:cubicBezTo>
                  <a:cubicBezTo>
                    <a:pt x="1391" y="1374"/>
                    <a:pt x="1394" y="1384"/>
                    <a:pt x="1399" y="1390"/>
                  </a:cubicBezTo>
                  <a:cubicBezTo>
                    <a:pt x="1407" y="1400"/>
                    <a:pt x="1426" y="1408"/>
                    <a:pt x="1421" y="1434"/>
                  </a:cubicBezTo>
                  <a:cubicBezTo>
                    <a:pt x="1395" y="1435"/>
                    <a:pt x="1407" y="1400"/>
                    <a:pt x="1378" y="1405"/>
                  </a:cubicBezTo>
                  <a:cubicBezTo>
                    <a:pt x="1350" y="1399"/>
                    <a:pt x="1362" y="1432"/>
                    <a:pt x="1341" y="1434"/>
                  </a:cubicBezTo>
                  <a:cubicBezTo>
                    <a:pt x="1336" y="1456"/>
                    <a:pt x="1361" y="1447"/>
                    <a:pt x="1356" y="1470"/>
                  </a:cubicBezTo>
                  <a:cubicBezTo>
                    <a:pt x="1333" y="1488"/>
                    <a:pt x="1312" y="1507"/>
                    <a:pt x="1291" y="1527"/>
                  </a:cubicBezTo>
                  <a:cubicBezTo>
                    <a:pt x="1270" y="1509"/>
                    <a:pt x="1317" y="1496"/>
                    <a:pt x="1320" y="1477"/>
                  </a:cubicBezTo>
                  <a:cubicBezTo>
                    <a:pt x="1321" y="1454"/>
                    <a:pt x="1320" y="1430"/>
                    <a:pt x="1312" y="1412"/>
                  </a:cubicBezTo>
                  <a:cubicBezTo>
                    <a:pt x="1311" y="1409"/>
                    <a:pt x="1307" y="1411"/>
                    <a:pt x="1305" y="1405"/>
                  </a:cubicBezTo>
                  <a:cubicBezTo>
                    <a:pt x="1304" y="1401"/>
                    <a:pt x="1307" y="1394"/>
                    <a:pt x="1305" y="1390"/>
                  </a:cubicBezTo>
                  <a:cubicBezTo>
                    <a:pt x="1292" y="1365"/>
                    <a:pt x="1269" y="1345"/>
                    <a:pt x="1247" y="1333"/>
                  </a:cubicBezTo>
                  <a:cubicBezTo>
                    <a:pt x="1246" y="1298"/>
                    <a:pt x="1236" y="1272"/>
                    <a:pt x="1225" y="1246"/>
                  </a:cubicBezTo>
                  <a:cubicBezTo>
                    <a:pt x="1234" y="1233"/>
                    <a:pt x="1227" y="1204"/>
                    <a:pt x="1240" y="1196"/>
                  </a:cubicBezTo>
                  <a:cubicBezTo>
                    <a:pt x="1235" y="1176"/>
                    <a:pt x="1219" y="1168"/>
                    <a:pt x="1211" y="1153"/>
                  </a:cubicBezTo>
                  <a:cubicBezTo>
                    <a:pt x="1199" y="1149"/>
                    <a:pt x="1192" y="1162"/>
                    <a:pt x="1182" y="1167"/>
                  </a:cubicBezTo>
                  <a:cubicBezTo>
                    <a:pt x="1155" y="1178"/>
                    <a:pt x="1128" y="1174"/>
                    <a:pt x="1109" y="1196"/>
                  </a:cubicBezTo>
                  <a:cubicBezTo>
                    <a:pt x="1081" y="1193"/>
                    <a:pt x="1078" y="1164"/>
                    <a:pt x="1051" y="1160"/>
                  </a:cubicBezTo>
                  <a:cubicBezTo>
                    <a:pt x="1008" y="1167"/>
                    <a:pt x="995" y="1205"/>
                    <a:pt x="979" y="1239"/>
                  </a:cubicBezTo>
                  <a:cubicBezTo>
                    <a:pt x="951" y="1246"/>
                    <a:pt x="927" y="1255"/>
                    <a:pt x="899" y="1261"/>
                  </a:cubicBezTo>
                  <a:cubicBezTo>
                    <a:pt x="872" y="1282"/>
                    <a:pt x="847" y="1305"/>
                    <a:pt x="819" y="1325"/>
                  </a:cubicBezTo>
                  <a:cubicBezTo>
                    <a:pt x="819" y="1342"/>
                    <a:pt x="806" y="1347"/>
                    <a:pt x="812" y="1369"/>
                  </a:cubicBezTo>
                  <a:cubicBezTo>
                    <a:pt x="786" y="1371"/>
                    <a:pt x="779" y="1399"/>
                    <a:pt x="761" y="1412"/>
                  </a:cubicBezTo>
                  <a:cubicBezTo>
                    <a:pt x="756" y="1415"/>
                    <a:pt x="744" y="1409"/>
                    <a:pt x="739" y="1412"/>
                  </a:cubicBezTo>
                  <a:cubicBezTo>
                    <a:pt x="732" y="1415"/>
                    <a:pt x="724" y="1440"/>
                    <a:pt x="703" y="1441"/>
                  </a:cubicBezTo>
                  <a:cubicBezTo>
                    <a:pt x="678" y="1431"/>
                    <a:pt x="645" y="1418"/>
                    <a:pt x="616" y="1434"/>
                  </a:cubicBezTo>
                  <a:cubicBezTo>
                    <a:pt x="618" y="1394"/>
                    <a:pt x="633" y="1363"/>
                    <a:pt x="587" y="1362"/>
                  </a:cubicBezTo>
                  <a:cubicBezTo>
                    <a:pt x="598" y="1323"/>
                    <a:pt x="627" y="1300"/>
                    <a:pt x="630" y="1253"/>
                  </a:cubicBezTo>
                  <a:cubicBezTo>
                    <a:pt x="643" y="1242"/>
                    <a:pt x="662" y="1230"/>
                    <a:pt x="674" y="1217"/>
                  </a:cubicBezTo>
                  <a:cubicBezTo>
                    <a:pt x="680" y="1210"/>
                    <a:pt x="681" y="1197"/>
                    <a:pt x="688" y="1189"/>
                  </a:cubicBezTo>
                  <a:cubicBezTo>
                    <a:pt x="693" y="1183"/>
                    <a:pt x="706" y="1180"/>
                    <a:pt x="710" y="1174"/>
                  </a:cubicBezTo>
                  <a:cubicBezTo>
                    <a:pt x="716" y="1166"/>
                    <a:pt x="712" y="1155"/>
                    <a:pt x="717" y="1145"/>
                  </a:cubicBezTo>
                  <a:cubicBezTo>
                    <a:pt x="719" y="1142"/>
                    <a:pt x="724" y="1146"/>
                    <a:pt x="725" y="1138"/>
                  </a:cubicBezTo>
                  <a:cubicBezTo>
                    <a:pt x="725" y="1135"/>
                    <a:pt x="730" y="1127"/>
                    <a:pt x="732" y="1124"/>
                  </a:cubicBezTo>
                  <a:cubicBezTo>
                    <a:pt x="734" y="1121"/>
                    <a:pt x="745" y="1119"/>
                    <a:pt x="746" y="1116"/>
                  </a:cubicBezTo>
                  <a:cubicBezTo>
                    <a:pt x="752" y="1105"/>
                    <a:pt x="747" y="1096"/>
                    <a:pt x="754" y="1080"/>
                  </a:cubicBezTo>
                  <a:cubicBezTo>
                    <a:pt x="774" y="1079"/>
                    <a:pt x="784" y="1067"/>
                    <a:pt x="804" y="1066"/>
                  </a:cubicBezTo>
                  <a:cubicBezTo>
                    <a:pt x="795" y="1089"/>
                    <a:pt x="834" y="1081"/>
                    <a:pt x="841" y="1095"/>
                  </a:cubicBezTo>
                  <a:cubicBezTo>
                    <a:pt x="842" y="1097"/>
                    <a:pt x="839" y="1108"/>
                    <a:pt x="841" y="1109"/>
                  </a:cubicBezTo>
                  <a:cubicBezTo>
                    <a:pt x="843" y="1111"/>
                    <a:pt x="853" y="1107"/>
                    <a:pt x="855" y="1109"/>
                  </a:cubicBezTo>
                  <a:cubicBezTo>
                    <a:pt x="856" y="1110"/>
                    <a:pt x="854" y="1116"/>
                    <a:pt x="855" y="1116"/>
                  </a:cubicBezTo>
                  <a:cubicBezTo>
                    <a:pt x="858" y="1118"/>
                    <a:pt x="868" y="1114"/>
                    <a:pt x="870" y="1116"/>
                  </a:cubicBezTo>
                  <a:cubicBezTo>
                    <a:pt x="871" y="1118"/>
                    <a:pt x="880" y="1137"/>
                    <a:pt x="891" y="1138"/>
                  </a:cubicBezTo>
                  <a:cubicBezTo>
                    <a:pt x="927" y="1134"/>
                    <a:pt x="939" y="1103"/>
                    <a:pt x="957" y="1080"/>
                  </a:cubicBezTo>
                  <a:cubicBezTo>
                    <a:pt x="974" y="1058"/>
                    <a:pt x="987" y="1033"/>
                    <a:pt x="1008" y="1016"/>
                  </a:cubicBezTo>
                  <a:cubicBezTo>
                    <a:pt x="1012" y="993"/>
                    <a:pt x="994" y="993"/>
                    <a:pt x="1008" y="979"/>
                  </a:cubicBezTo>
                  <a:cubicBezTo>
                    <a:pt x="1018" y="975"/>
                    <a:pt x="1009" y="952"/>
                    <a:pt x="1022" y="951"/>
                  </a:cubicBezTo>
                  <a:cubicBezTo>
                    <a:pt x="1012" y="930"/>
                    <a:pt x="1003" y="909"/>
                    <a:pt x="1015" y="886"/>
                  </a:cubicBezTo>
                  <a:cubicBezTo>
                    <a:pt x="1027" y="886"/>
                    <a:pt x="1039" y="886"/>
                    <a:pt x="1051" y="886"/>
                  </a:cubicBezTo>
                  <a:cubicBezTo>
                    <a:pt x="1047" y="902"/>
                    <a:pt x="1065" y="896"/>
                    <a:pt x="1066" y="907"/>
                  </a:cubicBezTo>
                  <a:cubicBezTo>
                    <a:pt x="1081" y="898"/>
                    <a:pt x="1093" y="886"/>
                    <a:pt x="1102" y="871"/>
                  </a:cubicBezTo>
                  <a:cubicBezTo>
                    <a:pt x="1125" y="895"/>
                    <a:pt x="1148" y="865"/>
                    <a:pt x="1167" y="864"/>
                  </a:cubicBezTo>
                  <a:cubicBezTo>
                    <a:pt x="1191" y="863"/>
                    <a:pt x="1216" y="833"/>
                    <a:pt x="1232" y="821"/>
                  </a:cubicBezTo>
                  <a:cubicBezTo>
                    <a:pt x="1262" y="815"/>
                    <a:pt x="1293" y="818"/>
                    <a:pt x="1320" y="806"/>
                  </a:cubicBezTo>
                  <a:cubicBezTo>
                    <a:pt x="1323" y="805"/>
                    <a:pt x="1319" y="800"/>
                    <a:pt x="1327" y="799"/>
                  </a:cubicBezTo>
                  <a:cubicBezTo>
                    <a:pt x="1337" y="799"/>
                    <a:pt x="1342" y="786"/>
                    <a:pt x="1356" y="785"/>
                  </a:cubicBezTo>
                  <a:cubicBezTo>
                    <a:pt x="1366" y="784"/>
                    <a:pt x="1394" y="769"/>
                    <a:pt x="1392" y="749"/>
                  </a:cubicBezTo>
                  <a:cubicBezTo>
                    <a:pt x="1407" y="743"/>
                    <a:pt x="1412" y="757"/>
                    <a:pt x="1421" y="756"/>
                  </a:cubicBezTo>
                  <a:cubicBezTo>
                    <a:pt x="1431" y="755"/>
                    <a:pt x="1432" y="742"/>
                    <a:pt x="1443" y="742"/>
                  </a:cubicBezTo>
                  <a:cubicBezTo>
                    <a:pt x="1458" y="740"/>
                    <a:pt x="1471" y="758"/>
                    <a:pt x="1486" y="742"/>
                  </a:cubicBezTo>
                  <a:cubicBezTo>
                    <a:pt x="1500" y="741"/>
                    <a:pt x="1496" y="729"/>
                    <a:pt x="1501" y="720"/>
                  </a:cubicBezTo>
                  <a:cubicBezTo>
                    <a:pt x="1504" y="716"/>
                    <a:pt x="1514" y="709"/>
                    <a:pt x="1515" y="706"/>
                  </a:cubicBezTo>
                  <a:cubicBezTo>
                    <a:pt x="1517" y="703"/>
                    <a:pt x="1513" y="693"/>
                    <a:pt x="1515" y="691"/>
                  </a:cubicBezTo>
                  <a:cubicBezTo>
                    <a:pt x="1517" y="690"/>
                    <a:pt x="1530" y="685"/>
                    <a:pt x="1530" y="684"/>
                  </a:cubicBezTo>
                  <a:cubicBezTo>
                    <a:pt x="1533" y="676"/>
                    <a:pt x="1526" y="662"/>
                    <a:pt x="1530" y="655"/>
                  </a:cubicBezTo>
                  <a:cubicBezTo>
                    <a:pt x="1534" y="649"/>
                    <a:pt x="1546" y="646"/>
                    <a:pt x="1552" y="641"/>
                  </a:cubicBezTo>
                  <a:cubicBezTo>
                    <a:pt x="1556" y="636"/>
                    <a:pt x="1561" y="622"/>
                    <a:pt x="1566" y="619"/>
                  </a:cubicBezTo>
                  <a:cubicBezTo>
                    <a:pt x="1582" y="611"/>
                    <a:pt x="1603" y="629"/>
                    <a:pt x="1617" y="605"/>
                  </a:cubicBezTo>
                  <a:cubicBezTo>
                    <a:pt x="1625" y="606"/>
                    <a:pt x="1621" y="612"/>
                    <a:pt x="1617" y="612"/>
                  </a:cubicBezTo>
                  <a:cubicBezTo>
                    <a:pt x="1614" y="626"/>
                    <a:pt x="1596" y="625"/>
                    <a:pt x="1603" y="648"/>
                  </a:cubicBezTo>
                  <a:cubicBezTo>
                    <a:pt x="1574" y="663"/>
                    <a:pt x="1546" y="679"/>
                    <a:pt x="1530" y="706"/>
                  </a:cubicBezTo>
                  <a:cubicBezTo>
                    <a:pt x="1525" y="728"/>
                    <a:pt x="1543" y="727"/>
                    <a:pt x="1537" y="749"/>
                  </a:cubicBezTo>
                  <a:cubicBezTo>
                    <a:pt x="1574" y="746"/>
                    <a:pt x="1608" y="746"/>
                    <a:pt x="1610" y="778"/>
                  </a:cubicBezTo>
                  <a:cubicBezTo>
                    <a:pt x="1623" y="761"/>
                    <a:pt x="1650" y="768"/>
                    <a:pt x="1668" y="763"/>
                  </a:cubicBezTo>
                  <a:cubicBezTo>
                    <a:pt x="1690" y="757"/>
                    <a:pt x="1708" y="739"/>
                    <a:pt x="1733" y="742"/>
                  </a:cubicBezTo>
                  <a:cubicBezTo>
                    <a:pt x="1756" y="735"/>
                    <a:pt x="1748" y="760"/>
                    <a:pt x="1762" y="763"/>
                  </a:cubicBezTo>
                  <a:cubicBezTo>
                    <a:pt x="1778" y="765"/>
                    <a:pt x="1788" y="763"/>
                    <a:pt x="1798" y="756"/>
                  </a:cubicBezTo>
                  <a:cubicBezTo>
                    <a:pt x="1809" y="749"/>
                    <a:pt x="1825" y="740"/>
                    <a:pt x="1849" y="734"/>
                  </a:cubicBezTo>
                  <a:cubicBezTo>
                    <a:pt x="1863" y="693"/>
                    <a:pt x="1881" y="655"/>
                    <a:pt x="1922" y="641"/>
                  </a:cubicBezTo>
                  <a:cubicBezTo>
                    <a:pt x="1947" y="635"/>
                    <a:pt x="1934" y="667"/>
                    <a:pt x="1951" y="669"/>
                  </a:cubicBezTo>
                  <a:cubicBezTo>
                    <a:pt x="1987" y="677"/>
                    <a:pt x="1980" y="640"/>
                    <a:pt x="2002" y="633"/>
                  </a:cubicBezTo>
                  <a:cubicBezTo>
                    <a:pt x="1999" y="608"/>
                    <a:pt x="1982" y="616"/>
                    <a:pt x="1994" y="590"/>
                  </a:cubicBezTo>
                  <a:cubicBezTo>
                    <a:pt x="2018" y="580"/>
                    <a:pt x="2028" y="575"/>
                    <a:pt x="2052" y="576"/>
                  </a:cubicBezTo>
                  <a:cubicBezTo>
                    <a:pt x="2068" y="577"/>
                    <a:pt x="2087" y="591"/>
                    <a:pt x="2103" y="590"/>
                  </a:cubicBezTo>
                  <a:cubicBezTo>
                    <a:pt x="2128" y="589"/>
                    <a:pt x="2147" y="570"/>
                    <a:pt x="2176" y="576"/>
                  </a:cubicBezTo>
                  <a:cubicBezTo>
                    <a:pt x="2186" y="548"/>
                    <a:pt x="2143" y="574"/>
                    <a:pt x="2154" y="547"/>
                  </a:cubicBezTo>
                  <a:cubicBezTo>
                    <a:pt x="2095" y="540"/>
                    <a:pt x="2036" y="559"/>
                    <a:pt x="1994" y="547"/>
                  </a:cubicBezTo>
                  <a:cubicBezTo>
                    <a:pt x="1995" y="535"/>
                    <a:pt x="1989" y="528"/>
                    <a:pt x="1980" y="525"/>
                  </a:cubicBezTo>
                  <a:cubicBezTo>
                    <a:pt x="1979" y="500"/>
                    <a:pt x="2004" y="502"/>
                    <a:pt x="2009" y="482"/>
                  </a:cubicBezTo>
                  <a:cubicBezTo>
                    <a:pt x="2009" y="460"/>
                    <a:pt x="2024" y="454"/>
                    <a:pt x="2031" y="439"/>
                  </a:cubicBezTo>
                  <a:cubicBezTo>
                    <a:pt x="2047" y="436"/>
                    <a:pt x="2059" y="431"/>
                    <a:pt x="2074" y="424"/>
                  </a:cubicBezTo>
                  <a:cubicBezTo>
                    <a:pt x="2085" y="420"/>
                    <a:pt x="2099" y="416"/>
                    <a:pt x="2110" y="410"/>
                  </a:cubicBezTo>
                  <a:cubicBezTo>
                    <a:pt x="2115" y="408"/>
                    <a:pt x="2121" y="398"/>
                    <a:pt x="2125" y="396"/>
                  </a:cubicBezTo>
                  <a:cubicBezTo>
                    <a:pt x="2140" y="388"/>
                    <a:pt x="2168" y="392"/>
                    <a:pt x="2176" y="367"/>
                  </a:cubicBezTo>
                  <a:cubicBezTo>
                    <a:pt x="2177" y="344"/>
                    <a:pt x="2147" y="359"/>
                    <a:pt x="2139" y="352"/>
                  </a:cubicBezTo>
                  <a:cubicBezTo>
                    <a:pt x="2131" y="344"/>
                    <a:pt x="2129" y="348"/>
                    <a:pt x="2118" y="352"/>
                  </a:cubicBezTo>
                  <a:cubicBezTo>
                    <a:pt x="2113" y="355"/>
                    <a:pt x="2102" y="356"/>
                    <a:pt x="2096" y="360"/>
                  </a:cubicBezTo>
                  <a:cubicBezTo>
                    <a:pt x="2083" y="367"/>
                    <a:pt x="2078" y="379"/>
                    <a:pt x="2067" y="388"/>
                  </a:cubicBezTo>
                  <a:cubicBezTo>
                    <a:pt x="2063" y="392"/>
                    <a:pt x="2056" y="400"/>
                    <a:pt x="2052" y="403"/>
                  </a:cubicBezTo>
                  <a:cubicBezTo>
                    <a:pt x="2050" y="405"/>
                    <a:pt x="2040" y="400"/>
                    <a:pt x="2038" y="403"/>
                  </a:cubicBezTo>
                  <a:cubicBezTo>
                    <a:pt x="2032" y="410"/>
                    <a:pt x="2015" y="411"/>
                    <a:pt x="1994" y="417"/>
                  </a:cubicBezTo>
                  <a:cubicBezTo>
                    <a:pt x="1954" y="430"/>
                    <a:pt x="1907" y="463"/>
                    <a:pt x="1886" y="497"/>
                  </a:cubicBezTo>
                  <a:cubicBezTo>
                    <a:pt x="1884" y="514"/>
                    <a:pt x="1889" y="526"/>
                    <a:pt x="1900" y="533"/>
                  </a:cubicBezTo>
                  <a:cubicBezTo>
                    <a:pt x="1892" y="553"/>
                    <a:pt x="1876" y="554"/>
                    <a:pt x="1864" y="561"/>
                  </a:cubicBezTo>
                  <a:cubicBezTo>
                    <a:pt x="1860" y="564"/>
                    <a:pt x="1865" y="568"/>
                    <a:pt x="1856" y="569"/>
                  </a:cubicBezTo>
                  <a:cubicBezTo>
                    <a:pt x="1841" y="569"/>
                    <a:pt x="1803" y="591"/>
                    <a:pt x="1791" y="605"/>
                  </a:cubicBezTo>
                  <a:cubicBezTo>
                    <a:pt x="1787" y="609"/>
                    <a:pt x="1777" y="620"/>
                    <a:pt x="1777" y="626"/>
                  </a:cubicBezTo>
                  <a:cubicBezTo>
                    <a:pt x="1776" y="629"/>
                    <a:pt x="1751" y="662"/>
                    <a:pt x="1740" y="669"/>
                  </a:cubicBezTo>
                  <a:cubicBezTo>
                    <a:pt x="1738" y="671"/>
                    <a:pt x="1728" y="667"/>
                    <a:pt x="1726" y="669"/>
                  </a:cubicBezTo>
                  <a:cubicBezTo>
                    <a:pt x="1718" y="679"/>
                    <a:pt x="1713" y="671"/>
                    <a:pt x="1690" y="677"/>
                  </a:cubicBezTo>
                  <a:cubicBezTo>
                    <a:pt x="1670" y="681"/>
                    <a:pt x="1654" y="708"/>
                    <a:pt x="1632" y="698"/>
                  </a:cubicBezTo>
                  <a:cubicBezTo>
                    <a:pt x="1640" y="683"/>
                    <a:pt x="1640" y="659"/>
                    <a:pt x="1661" y="655"/>
                  </a:cubicBezTo>
                  <a:cubicBezTo>
                    <a:pt x="1661" y="605"/>
                    <a:pt x="1688" y="582"/>
                    <a:pt x="1697" y="540"/>
                  </a:cubicBezTo>
                  <a:cubicBezTo>
                    <a:pt x="1647" y="539"/>
                    <a:pt x="1633" y="572"/>
                    <a:pt x="1581" y="569"/>
                  </a:cubicBezTo>
                  <a:cubicBezTo>
                    <a:pt x="1566" y="547"/>
                    <a:pt x="1583" y="538"/>
                    <a:pt x="1595" y="518"/>
                  </a:cubicBezTo>
                  <a:cubicBezTo>
                    <a:pt x="1601" y="509"/>
                    <a:pt x="1609" y="503"/>
                    <a:pt x="1617" y="489"/>
                  </a:cubicBezTo>
                  <a:cubicBezTo>
                    <a:pt x="1623" y="480"/>
                    <a:pt x="1630" y="474"/>
                    <a:pt x="1639" y="460"/>
                  </a:cubicBezTo>
                  <a:cubicBezTo>
                    <a:pt x="1646" y="448"/>
                    <a:pt x="1655" y="451"/>
                    <a:pt x="1668" y="439"/>
                  </a:cubicBezTo>
                  <a:cubicBezTo>
                    <a:pt x="1671" y="436"/>
                    <a:pt x="1672" y="427"/>
                    <a:pt x="1675" y="424"/>
                  </a:cubicBezTo>
                  <a:cubicBezTo>
                    <a:pt x="1678" y="422"/>
                    <a:pt x="1688" y="427"/>
                    <a:pt x="1690" y="424"/>
                  </a:cubicBezTo>
                  <a:cubicBezTo>
                    <a:pt x="1702" y="409"/>
                    <a:pt x="1752" y="404"/>
                    <a:pt x="1784" y="396"/>
                  </a:cubicBezTo>
                  <a:cubicBezTo>
                    <a:pt x="1786" y="395"/>
                    <a:pt x="1784" y="389"/>
                    <a:pt x="1791" y="388"/>
                  </a:cubicBezTo>
                  <a:cubicBezTo>
                    <a:pt x="1818" y="387"/>
                    <a:pt x="1832" y="377"/>
                    <a:pt x="1856" y="367"/>
                  </a:cubicBezTo>
                  <a:cubicBezTo>
                    <a:pt x="1882" y="356"/>
                    <a:pt x="1900" y="354"/>
                    <a:pt x="1922" y="338"/>
                  </a:cubicBezTo>
                  <a:cubicBezTo>
                    <a:pt x="1926" y="334"/>
                    <a:pt x="1932" y="326"/>
                    <a:pt x="1936" y="323"/>
                  </a:cubicBezTo>
                  <a:cubicBezTo>
                    <a:pt x="1946" y="318"/>
                    <a:pt x="1955" y="321"/>
                    <a:pt x="1965" y="316"/>
                  </a:cubicBezTo>
                  <a:cubicBezTo>
                    <a:pt x="1970" y="314"/>
                    <a:pt x="1976" y="304"/>
                    <a:pt x="1980" y="302"/>
                  </a:cubicBezTo>
                  <a:cubicBezTo>
                    <a:pt x="1996" y="294"/>
                    <a:pt x="2016" y="295"/>
                    <a:pt x="2031" y="287"/>
                  </a:cubicBezTo>
                  <a:cubicBezTo>
                    <a:pt x="2039" y="283"/>
                    <a:pt x="2044" y="263"/>
                    <a:pt x="2067" y="266"/>
                  </a:cubicBezTo>
                  <a:cubicBezTo>
                    <a:pt x="2078" y="263"/>
                    <a:pt x="2064" y="257"/>
                    <a:pt x="2067" y="244"/>
                  </a:cubicBezTo>
                  <a:cubicBezTo>
                    <a:pt x="2082" y="241"/>
                    <a:pt x="2086" y="249"/>
                    <a:pt x="2096" y="251"/>
                  </a:cubicBezTo>
                  <a:cubicBezTo>
                    <a:pt x="2109" y="250"/>
                    <a:pt x="2120" y="234"/>
                    <a:pt x="2132" y="230"/>
                  </a:cubicBezTo>
                  <a:cubicBezTo>
                    <a:pt x="2141" y="226"/>
                    <a:pt x="2154" y="234"/>
                    <a:pt x="2154" y="223"/>
                  </a:cubicBezTo>
                  <a:cubicBezTo>
                    <a:pt x="2178" y="232"/>
                    <a:pt x="2194" y="221"/>
                    <a:pt x="2227" y="215"/>
                  </a:cubicBezTo>
                  <a:cubicBezTo>
                    <a:pt x="2232" y="214"/>
                    <a:pt x="2234" y="224"/>
                    <a:pt x="2241" y="223"/>
                  </a:cubicBezTo>
                  <a:cubicBezTo>
                    <a:pt x="2241" y="223"/>
                    <a:pt x="2244" y="216"/>
                    <a:pt x="2248" y="215"/>
                  </a:cubicBezTo>
                  <a:cubicBezTo>
                    <a:pt x="2257" y="213"/>
                    <a:pt x="2263" y="208"/>
                    <a:pt x="2270" y="208"/>
                  </a:cubicBezTo>
                  <a:cubicBezTo>
                    <a:pt x="2287" y="207"/>
                    <a:pt x="2294" y="220"/>
                    <a:pt x="2321" y="215"/>
                  </a:cubicBezTo>
                  <a:cubicBezTo>
                    <a:pt x="2320" y="216"/>
                    <a:pt x="2324" y="203"/>
                    <a:pt x="2328" y="208"/>
                  </a:cubicBezTo>
                  <a:cubicBezTo>
                    <a:pt x="2334" y="215"/>
                    <a:pt x="2344" y="213"/>
                    <a:pt x="2364" y="223"/>
                  </a:cubicBezTo>
                  <a:cubicBezTo>
                    <a:pt x="2363" y="230"/>
                    <a:pt x="2350" y="227"/>
                    <a:pt x="2350" y="237"/>
                  </a:cubicBezTo>
                  <a:cubicBezTo>
                    <a:pt x="2355" y="254"/>
                    <a:pt x="2381" y="237"/>
                    <a:pt x="2393" y="244"/>
                  </a:cubicBezTo>
                  <a:cubicBezTo>
                    <a:pt x="2395" y="245"/>
                    <a:pt x="2392" y="258"/>
                    <a:pt x="2393" y="259"/>
                  </a:cubicBezTo>
                  <a:cubicBezTo>
                    <a:pt x="2414" y="264"/>
                    <a:pt x="2434" y="260"/>
                    <a:pt x="2459" y="266"/>
                  </a:cubicBezTo>
                  <a:cubicBezTo>
                    <a:pt x="2477" y="298"/>
                    <a:pt x="2531" y="295"/>
                    <a:pt x="2539" y="338"/>
                  </a:cubicBezTo>
                  <a:cubicBezTo>
                    <a:pt x="2535" y="345"/>
                    <a:pt x="2524" y="341"/>
                    <a:pt x="2517" y="345"/>
                  </a:cubicBezTo>
                  <a:cubicBezTo>
                    <a:pt x="2514" y="347"/>
                    <a:pt x="2504" y="359"/>
                    <a:pt x="2502" y="360"/>
                  </a:cubicBezTo>
                  <a:cubicBezTo>
                    <a:pt x="2457" y="370"/>
                    <a:pt x="2404" y="337"/>
                    <a:pt x="2364" y="331"/>
                  </a:cubicBezTo>
                  <a:cubicBezTo>
                    <a:pt x="2340" y="346"/>
                    <a:pt x="2386" y="352"/>
                    <a:pt x="2379" y="374"/>
                  </a:cubicBezTo>
                  <a:cubicBezTo>
                    <a:pt x="2363" y="373"/>
                    <a:pt x="2376" y="399"/>
                    <a:pt x="2372" y="410"/>
                  </a:cubicBezTo>
                  <a:cubicBezTo>
                    <a:pt x="2387" y="424"/>
                    <a:pt x="2417" y="452"/>
                    <a:pt x="2444" y="432"/>
                  </a:cubicBezTo>
                  <a:cubicBezTo>
                    <a:pt x="2450" y="407"/>
                    <a:pt x="2415" y="422"/>
                    <a:pt x="2422" y="396"/>
                  </a:cubicBezTo>
                  <a:cubicBezTo>
                    <a:pt x="2448" y="399"/>
                    <a:pt x="2461" y="415"/>
                    <a:pt x="2488" y="417"/>
                  </a:cubicBezTo>
                  <a:cubicBezTo>
                    <a:pt x="2509" y="417"/>
                    <a:pt x="2497" y="383"/>
                    <a:pt x="2509" y="374"/>
                  </a:cubicBezTo>
                  <a:cubicBezTo>
                    <a:pt x="2537" y="367"/>
                    <a:pt x="2567" y="351"/>
                    <a:pt x="2597" y="367"/>
                  </a:cubicBezTo>
                  <a:cubicBezTo>
                    <a:pt x="2612" y="338"/>
                    <a:pt x="2581" y="284"/>
                    <a:pt x="2647" y="295"/>
                  </a:cubicBezTo>
                  <a:cubicBezTo>
                    <a:pt x="2653" y="319"/>
                    <a:pt x="2618" y="304"/>
                    <a:pt x="2626" y="331"/>
                  </a:cubicBezTo>
                  <a:cubicBezTo>
                    <a:pt x="2637" y="353"/>
                    <a:pt x="2688" y="349"/>
                    <a:pt x="2684" y="316"/>
                  </a:cubicBezTo>
                  <a:cubicBezTo>
                    <a:pt x="2703" y="317"/>
                    <a:pt x="2712" y="311"/>
                    <a:pt x="2727" y="302"/>
                  </a:cubicBezTo>
                  <a:cubicBezTo>
                    <a:pt x="2734" y="297"/>
                    <a:pt x="2769" y="294"/>
                    <a:pt x="2785" y="280"/>
                  </a:cubicBezTo>
                  <a:cubicBezTo>
                    <a:pt x="2808" y="275"/>
                    <a:pt x="2799" y="300"/>
                    <a:pt x="2822" y="295"/>
                  </a:cubicBezTo>
                  <a:cubicBezTo>
                    <a:pt x="2854" y="290"/>
                    <a:pt x="2892" y="273"/>
                    <a:pt x="2923" y="287"/>
                  </a:cubicBezTo>
                  <a:cubicBezTo>
                    <a:pt x="2947" y="283"/>
                    <a:pt x="2934" y="260"/>
                    <a:pt x="2930" y="244"/>
                  </a:cubicBezTo>
                  <a:cubicBezTo>
                    <a:pt x="2998" y="244"/>
                    <a:pt x="3044" y="266"/>
                    <a:pt x="3097" y="280"/>
                  </a:cubicBezTo>
                  <a:cubicBezTo>
                    <a:pt x="3101" y="243"/>
                    <a:pt x="3058" y="252"/>
                    <a:pt x="3039" y="237"/>
                  </a:cubicBezTo>
                  <a:cubicBezTo>
                    <a:pt x="3052" y="221"/>
                    <a:pt x="3026" y="215"/>
                    <a:pt x="3025" y="208"/>
                  </a:cubicBezTo>
                  <a:cubicBezTo>
                    <a:pt x="3021" y="194"/>
                    <a:pt x="3031" y="189"/>
                    <a:pt x="3032" y="172"/>
                  </a:cubicBezTo>
                  <a:cubicBezTo>
                    <a:pt x="3032" y="171"/>
                    <a:pt x="3022" y="164"/>
                    <a:pt x="3025" y="158"/>
                  </a:cubicBezTo>
                  <a:cubicBezTo>
                    <a:pt x="3025" y="157"/>
                    <a:pt x="3036" y="157"/>
                    <a:pt x="3032" y="150"/>
                  </a:cubicBezTo>
                  <a:cubicBezTo>
                    <a:pt x="3067" y="151"/>
                    <a:pt x="3089" y="166"/>
                    <a:pt x="3097" y="194"/>
                  </a:cubicBezTo>
                  <a:cubicBezTo>
                    <a:pt x="3123" y="204"/>
                    <a:pt x="3138" y="225"/>
                    <a:pt x="3148" y="251"/>
                  </a:cubicBezTo>
                  <a:cubicBezTo>
                    <a:pt x="3165" y="259"/>
                    <a:pt x="3181" y="266"/>
                    <a:pt x="3192" y="280"/>
                  </a:cubicBezTo>
                  <a:cubicBezTo>
                    <a:pt x="3191" y="304"/>
                    <a:pt x="3194" y="331"/>
                    <a:pt x="3170" y="331"/>
                  </a:cubicBezTo>
                  <a:cubicBezTo>
                    <a:pt x="3184" y="349"/>
                    <a:pt x="3228" y="336"/>
                    <a:pt x="3228" y="316"/>
                  </a:cubicBezTo>
                  <a:cubicBezTo>
                    <a:pt x="3227" y="309"/>
                    <a:pt x="3229" y="302"/>
                    <a:pt x="3228" y="295"/>
                  </a:cubicBezTo>
                  <a:cubicBezTo>
                    <a:pt x="3225" y="272"/>
                    <a:pt x="3212" y="283"/>
                    <a:pt x="3206" y="259"/>
                  </a:cubicBezTo>
                  <a:cubicBezTo>
                    <a:pt x="3229" y="240"/>
                    <a:pt x="3251" y="267"/>
                    <a:pt x="3271" y="273"/>
                  </a:cubicBezTo>
                  <a:cubicBezTo>
                    <a:pt x="3263" y="238"/>
                    <a:pt x="3214" y="243"/>
                    <a:pt x="3170" y="244"/>
                  </a:cubicBezTo>
                  <a:cubicBezTo>
                    <a:pt x="3167" y="230"/>
                    <a:pt x="3149" y="231"/>
                    <a:pt x="3155" y="208"/>
                  </a:cubicBezTo>
                  <a:cubicBezTo>
                    <a:pt x="3144" y="200"/>
                    <a:pt x="3126" y="199"/>
                    <a:pt x="3119" y="187"/>
                  </a:cubicBezTo>
                  <a:cubicBezTo>
                    <a:pt x="3124" y="150"/>
                    <a:pt x="3149" y="200"/>
                    <a:pt x="3177" y="187"/>
                  </a:cubicBezTo>
                  <a:cubicBezTo>
                    <a:pt x="3180" y="169"/>
                    <a:pt x="3144" y="191"/>
                    <a:pt x="3155" y="165"/>
                  </a:cubicBezTo>
                  <a:cubicBezTo>
                    <a:pt x="3179" y="146"/>
                    <a:pt x="3213" y="166"/>
                    <a:pt x="3242" y="165"/>
                  </a:cubicBezTo>
                  <a:cubicBezTo>
                    <a:pt x="3226" y="145"/>
                    <a:pt x="3185" y="150"/>
                    <a:pt x="3170" y="129"/>
                  </a:cubicBezTo>
                  <a:cubicBezTo>
                    <a:pt x="3180" y="118"/>
                    <a:pt x="3198" y="114"/>
                    <a:pt x="3221" y="114"/>
                  </a:cubicBezTo>
                  <a:cubicBezTo>
                    <a:pt x="3227" y="91"/>
                    <a:pt x="3202" y="99"/>
                    <a:pt x="3199" y="86"/>
                  </a:cubicBezTo>
                  <a:cubicBezTo>
                    <a:pt x="3207" y="60"/>
                    <a:pt x="3221" y="40"/>
                    <a:pt x="3257" y="42"/>
                  </a:cubicBezTo>
                  <a:cubicBezTo>
                    <a:pt x="3265" y="21"/>
                    <a:pt x="3222" y="16"/>
                    <a:pt x="3242" y="6"/>
                  </a:cubicBezTo>
                  <a:cubicBezTo>
                    <a:pt x="3259" y="0"/>
                    <a:pt x="3268" y="14"/>
                    <a:pt x="3286" y="14"/>
                  </a:cubicBezTo>
                  <a:cubicBezTo>
                    <a:pt x="3300" y="13"/>
                    <a:pt x="3309" y="5"/>
                    <a:pt x="3322" y="6"/>
                  </a:cubicBezTo>
                  <a:cubicBezTo>
                    <a:pt x="3350" y="10"/>
                    <a:pt x="3368" y="21"/>
                    <a:pt x="3395" y="28"/>
                  </a:cubicBezTo>
                  <a:cubicBezTo>
                    <a:pt x="3401" y="37"/>
                    <a:pt x="3409" y="48"/>
                    <a:pt x="3417" y="57"/>
                  </a:cubicBezTo>
                  <a:cubicBezTo>
                    <a:pt x="3424" y="65"/>
                    <a:pt x="3429" y="82"/>
                    <a:pt x="3446" y="78"/>
                  </a:cubicBezTo>
                  <a:cubicBezTo>
                    <a:pt x="3471" y="78"/>
                    <a:pt x="3430" y="55"/>
                    <a:pt x="3453" y="57"/>
                  </a:cubicBezTo>
                  <a:cubicBezTo>
                    <a:pt x="3463" y="57"/>
                    <a:pt x="3473" y="58"/>
                    <a:pt x="3475" y="50"/>
                  </a:cubicBezTo>
                  <a:cubicBezTo>
                    <a:pt x="3506" y="52"/>
                    <a:pt x="3534" y="67"/>
                    <a:pt x="3562" y="78"/>
                  </a:cubicBezTo>
                  <a:cubicBezTo>
                    <a:pt x="3829" y="185"/>
                    <a:pt x="4124" y="332"/>
                    <a:pt x="4379" y="535"/>
                  </a:cubicBezTo>
                  <a:cubicBezTo>
                    <a:pt x="4812" y="881"/>
                    <a:pt x="5159" y="1356"/>
                    <a:pt x="5281" y="1837"/>
                  </a:cubicBezTo>
                  <a:cubicBezTo>
                    <a:pt x="5286" y="1856"/>
                    <a:pt x="5301" y="1887"/>
                    <a:pt x="5288" y="1917"/>
                  </a:cubicBezTo>
                  <a:cubicBezTo>
                    <a:pt x="5285" y="1924"/>
                    <a:pt x="5282" y="1935"/>
                    <a:pt x="5274" y="1938"/>
                  </a:cubicBezTo>
                  <a:cubicBezTo>
                    <a:pt x="5284" y="1996"/>
                    <a:pt x="5251" y="2012"/>
                    <a:pt x="5252" y="2061"/>
                  </a:cubicBezTo>
                  <a:cubicBezTo>
                    <a:pt x="5229" y="2053"/>
                    <a:pt x="5236" y="2060"/>
                    <a:pt x="5209" y="2061"/>
                  </a:cubicBezTo>
                  <a:cubicBezTo>
                    <a:pt x="5201" y="2127"/>
                    <a:pt x="5179" y="2177"/>
                    <a:pt x="5194" y="2241"/>
                  </a:cubicBezTo>
                  <a:cubicBezTo>
                    <a:pt x="5195" y="2244"/>
                    <a:pt x="5199" y="2257"/>
                    <a:pt x="5201" y="2263"/>
                  </a:cubicBezTo>
                  <a:cubicBezTo>
                    <a:pt x="5204" y="2268"/>
                    <a:pt x="5213" y="2273"/>
                    <a:pt x="5216" y="2277"/>
                  </a:cubicBezTo>
                  <a:cubicBezTo>
                    <a:pt x="5224" y="2290"/>
                    <a:pt x="5230" y="2303"/>
                    <a:pt x="5238" y="2313"/>
                  </a:cubicBezTo>
                  <a:cubicBezTo>
                    <a:pt x="5252" y="2333"/>
                    <a:pt x="5273" y="2345"/>
                    <a:pt x="5288" y="2364"/>
                  </a:cubicBezTo>
                  <a:cubicBezTo>
                    <a:pt x="5291" y="2366"/>
                    <a:pt x="5286" y="2376"/>
                    <a:pt x="5288" y="2378"/>
                  </a:cubicBezTo>
                  <a:cubicBezTo>
                    <a:pt x="5290" y="2379"/>
                    <a:pt x="5302" y="2383"/>
                    <a:pt x="5303" y="2385"/>
                  </a:cubicBezTo>
                  <a:cubicBezTo>
                    <a:pt x="5306" y="2391"/>
                    <a:pt x="5300" y="2401"/>
                    <a:pt x="5303" y="2407"/>
                  </a:cubicBezTo>
                  <a:cubicBezTo>
                    <a:pt x="5304" y="2409"/>
                    <a:pt x="5309" y="2409"/>
                    <a:pt x="5310" y="2414"/>
                  </a:cubicBezTo>
                  <a:cubicBezTo>
                    <a:pt x="5314" y="2426"/>
                    <a:pt x="5314" y="2431"/>
                    <a:pt x="5318" y="2443"/>
                  </a:cubicBezTo>
                  <a:cubicBezTo>
                    <a:pt x="5323" y="2462"/>
                    <a:pt x="5330" y="2478"/>
                    <a:pt x="5332" y="2493"/>
                  </a:cubicBezTo>
                  <a:cubicBezTo>
                    <a:pt x="5334" y="2507"/>
                    <a:pt x="5330" y="2525"/>
                    <a:pt x="5332" y="2537"/>
                  </a:cubicBezTo>
                  <a:cubicBezTo>
                    <a:pt x="5334" y="2549"/>
                    <a:pt x="5340" y="2552"/>
                    <a:pt x="5339" y="2565"/>
                  </a:cubicBezTo>
                  <a:cubicBezTo>
                    <a:pt x="5338" y="2587"/>
                    <a:pt x="5331" y="2604"/>
                    <a:pt x="5325" y="26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38" name="Group 57"/>
            <p:cNvGrpSpPr/>
            <p:nvPr/>
          </p:nvGrpSpPr>
          <p:grpSpPr>
            <a:xfrm>
              <a:off x="6158871" y="243148"/>
              <a:ext cx="339724" cy="533075"/>
              <a:chOff x="2614167" y="3495130"/>
              <a:chExt cx="863600" cy="1257300"/>
            </a:xfrm>
            <a:grpFill/>
          </p:grpSpPr>
          <p:sp>
            <p:nvSpPr>
              <p:cNvPr id="43" name="Freeform 38"/>
              <p:cNvSpPr>
                <a:spLocks noEditPoints="1"/>
              </p:cNvSpPr>
              <p:nvPr/>
            </p:nvSpPr>
            <p:spPr bwMode="auto">
              <a:xfrm>
                <a:off x="2614167" y="3495130"/>
                <a:ext cx="863600" cy="1257300"/>
              </a:xfrm>
              <a:custGeom>
                <a:avLst/>
                <a:gdLst/>
                <a:ahLst/>
                <a:cxnLst>
                  <a:cxn ang="0">
                    <a:pos x="140" y="0"/>
                  </a:cxn>
                  <a:cxn ang="0">
                    <a:pos x="281" y="140"/>
                  </a:cxn>
                  <a:cxn ang="0">
                    <a:pos x="235" y="244"/>
                  </a:cxn>
                  <a:cxn ang="0">
                    <a:pos x="156" y="384"/>
                  </a:cxn>
                  <a:cxn ang="0">
                    <a:pos x="124" y="384"/>
                  </a:cxn>
                  <a:cxn ang="0">
                    <a:pos x="45" y="244"/>
                  </a:cxn>
                  <a:cxn ang="0">
                    <a:pos x="0" y="140"/>
                  </a:cxn>
                  <a:cxn ang="0">
                    <a:pos x="140" y="0"/>
                  </a:cxn>
                  <a:cxn ang="0">
                    <a:pos x="140" y="37"/>
                  </a:cxn>
                  <a:cxn ang="0">
                    <a:pos x="243" y="140"/>
                  </a:cxn>
                  <a:cxn ang="0">
                    <a:pos x="140" y="244"/>
                  </a:cxn>
                  <a:cxn ang="0">
                    <a:pos x="37" y="140"/>
                  </a:cxn>
                  <a:cxn ang="0">
                    <a:pos x="140" y="37"/>
                  </a:cxn>
                </a:cxnLst>
                <a:rect l="0" t="0" r="r" b="b"/>
                <a:pathLst>
                  <a:path w="281" h="409">
                    <a:moveTo>
                      <a:pt x="140" y="0"/>
                    </a:moveTo>
                    <a:cubicBezTo>
                      <a:pt x="218" y="0"/>
                      <a:pt x="281" y="63"/>
                      <a:pt x="281" y="140"/>
                    </a:cubicBezTo>
                    <a:cubicBezTo>
                      <a:pt x="281" y="181"/>
                      <a:pt x="263" y="218"/>
                      <a:pt x="235" y="244"/>
                    </a:cubicBezTo>
                    <a:cubicBezTo>
                      <a:pt x="219" y="258"/>
                      <a:pt x="170" y="358"/>
                      <a:pt x="156" y="384"/>
                    </a:cubicBezTo>
                    <a:cubicBezTo>
                      <a:pt x="143" y="409"/>
                      <a:pt x="137" y="409"/>
                      <a:pt x="124" y="384"/>
                    </a:cubicBezTo>
                    <a:cubicBezTo>
                      <a:pt x="111" y="358"/>
                      <a:pt x="61" y="258"/>
                      <a:pt x="45" y="244"/>
                    </a:cubicBezTo>
                    <a:cubicBezTo>
                      <a:pt x="16" y="217"/>
                      <a:pt x="0" y="180"/>
                      <a:pt x="0" y="140"/>
                    </a:cubicBezTo>
                    <a:cubicBezTo>
                      <a:pt x="0" y="63"/>
                      <a:pt x="62" y="0"/>
                      <a:pt x="140" y="0"/>
                    </a:cubicBezTo>
                    <a:close/>
                    <a:moveTo>
                      <a:pt x="140" y="37"/>
                    </a:moveTo>
                    <a:cubicBezTo>
                      <a:pt x="197" y="37"/>
                      <a:pt x="243" y="83"/>
                      <a:pt x="243" y="140"/>
                    </a:cubicBezTo>
                    <a:cubicBezTo>
                      <a:pt x="243" y="197"/>
                      <a:pt x="197" y="244"/>
                      <a:pt x="140" y="244"/>
                    </a:cubicBezTo>
                    <a:cubicBezTo>
                      <a:pt x="83" y="244"/>
                      <a:pt x="37" y="197"/>
                      <a:pt x="37" y="140"/>
                    </a:cubicBezTo>
                    <a:cubicBezTo>
                      <a:pt x="37" y="83"/>
                      <a:pt x="83" y="37"/>
                      <a:pt x="140" y="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Freeform 39"/>
              <p:cNvSpPr>
                <a:spLocks noEditPoints="1"/>
              </p:cNvSpPr>
              <p:nvPr/>
            </p:nvSpPr>
            <p:spPr bwMode="auto">
              <a:xfrm>
                <a:off x="2820542" y="3664992"/>
                <a:ext cx="449263" cy="587375"/>
              </a:xfrm>
              <a:custGeom>
                <a:avLst/>
                <a:gdLst/>
                <a:ahLst/>
                <a:cxnLst>
                  <a:cxn ang="0">
                    <a:pos x="0" y="147"/>
                  </a:cxn>
                  <a:cxn ang="0">
                    <a:pos x="13" y="92"/>
                  </a:cxn>
                  <a:cxn ang="0">
                    <a:pos x="52" y="72"/>
                  </a:cxn>
                  <a:cxn ang="0">
                    <a:pos x="65" y="83"/>
                  </a:cxn>
                  <a:cxn ang="0">
                    <a:pos x="81" y="83"/>
                  </a:cxn>
                  <a:cxn ang="0">
                    <a:pos x="94" y="72"/>
                  </a:cxn>
                  <a:cxn ang="0">
                    <a:pos x="133" y="92"/>
                  </a:cxn>
                  <a:cxn ang="0">
                    <a:pos x="146" y="147"/>
                  </a:cxn>
                  <a:cxn ang="0">
                    <a:pos x="0" y="147"/>
                  </a:cxn>
                  <a:cxn ang="0">
                    <a:pos x="91" y="68"/>
                  </a:cxn>
                  <a:cxn ang="0">
                    <a:pos x="99" y="52"/>
                  </a:cxn>
                  <a:cxn ang="0">
                    <a:pos x="101" y="50"/>
                  </a:cxn>
                  <a:cxn ang="0">
                    <a:pos x="103" y="36"/>
                  </a:cxn>
                  <a:cxn ang="0">
                    <a:pos x="101" y="34"/>
                  </a:cxn>
                  <a:cxn ang="0">
                    <a:pos x="73" y="0"/>
                  </a:cxn>
                  <a:cxn ang="0">
                    <a:pos x="45" y="34"/>
                  </a:cxn>
                  <a:cxn ang="0">
                    <a:pos x="43" y="36"/>
                  </a:cxn>
                  <a:cxn ang="0">
                    <a:pos x="45" y="50"/>
                  </a:cxn>
                  <a:cxn ang="0">
                    <a:pos x="47" y="52"/>
                  </a:cxn>
                  <a:cxn ang="0">
                    <a:pos x="56" y="68"/>
                  </a:cxn>
                  <a:cxn ang="0">
                    <a:pos x="67" y="77"/>
                  </a:cxn>
                  <a:cxn ang="0">
                    <a:pos x="79" y="77"/>
                  </a:cxn>
                  <a:cxn ang="0">
                    <a:pos x="91" y="68"/>
                  </a:cxn>
                </a:cxnLst>
                <a:rect l="0" t="0" r="r" b="b"/>
                <a:pathLst>
                  <a:path w="146" h="191">
                    <a:moveTo>
                      <a:pt x="0" y="147"/>
                    </a:moveTo>
                    <a:cubicBezTo>
                      <a:pt x="0" y="125"/>
                      <a:pt x="2" y="107"/>
                      <a:pt x="13" y="92"/>
                    </a:cubicBezTo>
                    <a:cubicBezTo>
                      <a:pt x="27" y="75"/>
                      <a:pt x="40" y="81"/>
                      <a:pt x="52" y="72"/>
                    </a:cubicBezTo>
                    <a:cubicBezTo>
                      <a:pt x="55" y="76"/>
                      <a:pt x="59" y="81"/>
                      <a:pt x="65" y="83"/>
                    </a:cubicBezTo>
                    <a:cubicBezTo>
                      <a:pt x="69" y="84"/>
                      <a:pt x="77" y="84"/>
                      <a:pt x="81" y="83"/>
                    </a:cubicBezTo>
                    <a:cubicBezTo>
                      <a:pt x="87" y="80"/>
                      <a:pt x="91" y="76"/>
                      <a:pt x="94" y="72"/>
                    </a:cubicBezTo>
                    <a:cubicBezTo>
                      <a:pt x="106" y="80"/>
                      <a:pt x="120" y="76"/>
                      <a:pt x="133" y="92"/>
                    </a:cubicBezTo>
                    <a:cubicBezTo>
                      <a:pt x="144" y="107"/>
                      <a:pt x="146" y="125"/>
                      <a:pt x="146" y="147"/>
                    </a:cubicBezTo>
                    <a:cubicBezTo>
                      <a:pt x="108" y="191"/>
                      <a:pt x="38" y="191"/>
                      <a:pt x="0" y="147"/>
                    </a:cubicBezTo>
                    <a:close/>
                    <a:moveTo>
                      <a:pt x="91" y="68"/>
                    </a:moveTo>
                    <a:cubicBezTo>
                      <a:pt x="94" y="63"/>
                      <a:pt x="97" y="58"/>
                      <a:pt x="99" y="52"/>
                    </a:cubicBezTo>
                    <a:cubicBezTo>
                      <a:pt x="100" y="52"/>
                      <a:pt x="101" y="51"/>
                      <a:pt x="101" y="50"/>
                    </a:cubicBezTo>
                    <a:cubicBezTo>
                      <a:pt x="102" y="45"/>
                      <a:pt x="103" y="40"/>
                      <a:pt x="103" y="36"/>
                    </a:cubicBezTo>
                    <a:cubicBezTo>
                      <a:pt x="103" y="36"/>
                      <a:pt x="102" y="34"/>
                      <a:pt x="101" y="34"/>
                    </a:cubicBezTo>
                    <a:cubicBezTo>
                      <a:pt x="101" y="16"/>
                      <a:pt x="98" y="0"/>
                      <a:pt x="73" y="0"/>
                    </a:cubicBezTo>
                    <a:cubicBezTo>
                      <a:pt x="48" y="0"/>
                      <a:pt x="45" y="16"/>
                      <a:pt x="45" y="34"/>
                    </a:cubicBezTo>
                    <a:cubicBezTo>
                      <a:pt x="45" y="34"/>
                      <a:pt x="43" y="36"/>
                      <a:pt x="43" y="36"/>
                    </a:cubicBezTo>
                    <a:cubicBezTo>
                      <a:pt x="43" y="40"/>
                      <a:pt x="44" y="45"/>
                      <a:pt x="45" y="50"/>
                    </a:cubicBezTo>
                    <a:cubicBezTo>
                      <a:pt x="45" y="51"/>
                      <a:pt x="46" y="52"/>
                      <a:pt x="47" y="52"/>
                    </a:cubicBezTo>
                    <a:cubicBezTo>
                      <a:pt x="49" y="58"/>
                      <a:pt x="52" y="63"/>
                      <a:pt x="56" y="68"/>
                    </a:cubicBezTo>
                    <a:cubicBezTo>
                      <a:pt x="59" y="72"/>
                      <a:pt x="63" y="76"/>
                      <a:pt x="67" y="77"/>
                    </a:cubicBezTo>
                    <a:cubicBezTo>
                      <a:pt x="70" y="79"/>
                      <a:pt x="76" y="79"/>
                      <a:pt x="79" y="77"/>
                    </a:cubicBezTo>
                    <a:cubicBezTo>
                      <a:pt x="84" y="76"/>
                      <a:pt x="87" y="72"/>
                      <a:pt x="91" y="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sp>
        <p:nvSpPr>
          <p:cNvPr id="14" name="Titel 3">
            <a:extLst>
              <a:ext uri="{FF2B5EF4-FFF2-40B4-BE49-F238E27FC236}">
                <a16:creationId xmlns:a16="http://schemas.microsoft.com/office/drawing/2014/main" id="{5484E2CE-C37C-4FB6-95E4-A42185514C11}"/>
              </a:ext>
            </a:extLst>
          </p:cNvPr>
          <p:cNvSpPr txBox="1">
            <a:spLocks/>
          </p:cNvSpPr>
          <p:nvPr/>
        </p:nvSpPr>
        <p:spPr>
          <a:xfrm>
            <a:off x="279955" y="1564506"/>
            <a:ext cx="11460041" cy="504000"/>
          </a:xfrm>
          <a:prstGeom prst="rect">
            <a:avLst/>
          </a:prstGeom>
        </p:spPr>
        <p:txBody>
          <a:bodyPr lIns="0" tIns="0" rIns="0" bIns="0"/>
          <a:lstStyle>
            <a:lvl1pPr algn="l" rtl="0" eaLnBrk="1" fontAlgn="base" hangingPunct="1">
              <a:spcBef>
                <a:spcPct val="0"/>
              </a:spcBef>
              <a:spcAft>
                <a:spcPct val="0"/>
              </a:spcAft>
              <a:defRPr lang="en-GB" sz="2100" b="1" kern="1200" baseline="0">
                <a:solidFill>
                  <a:schemeClr val="tx1"/>
                </a:solidFill>
                <a:latin typeface="+mn-lt"/>
                <a:ea typeface="+mn-ea"/>
                <a:cs typeface="+mn-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r>
              <a:rPr lang="lt-LT" sz="2000" dirty="0">
                <a:solidFill>
                  <a:schemeClr val="tx1">
                    <a:lumMod val="65000"/>
                    <a:lumOff val="35000"/>
                  </a:schemeClr>
                </a:solidFill>
              </a:rPr>
              <a:t>Global Festo projektas (2017 metai): Finansų ir apskaitos paslaugų centras FSSC | </a:t>
            </a:r>
            <a:r>
              <a:rPr lang="lt-LT" sz="2000" dirty="0">
                <a:solidFill>
                  <a:schemeClr val="accent6">
                    <a:lumMod val="60000"/>
                    <a:lumOff val="40000"/>
                  </a:schemeClr>
                </a:solidFill>
              </a:rPr>
              <a:t>Teigiamos pusės</a:t>
            </a:r>
            <a:endParaRPr lang="lt-LT" dirty="0"/>
          </a:p>
        </p:txBody>
      </p:sp>
    </p:spTree>
    <p:extLst>
      <p:ext uri="{BB962C8B-B14F-4D97-AF65-F5344CB8AC3E}">
        <p14:creationId xmlns:p14="http://schemas.microsoft.com/office/powerpoint/2010/main" val="16211990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2100" b="1" dirty="0">
              <a:latin typeface="MetaPlusLF" panose="02000503060000020004" pitchFamily="2" charset="0"/>
              <a:sym typeface="MetaPlusLF" panose="02000503060000020004" pitchFamily="2" charset="0"/>
            </a:endParaRPr>
          </a:p>
        </p:txBody>
      </p:sp>
      <p:sp>
        <p:nvSpPr>
          <p:cNvPr id="12" name="Gleichschenkliges Dreieck 63"/>
          <p:cNvSpPr/>
          <p:nvPr/>
        </p:nvSpPr>
        <p:spPr>
          <a:xfrm rot="10800000">
            <a:off x="1765788" y="2475731"/>
            <a:ext cx="8431824" cy="370932"/>
          </a:xfrm>
          <a:prstGeom prst="triangle">
            <a:avLst/>
          </a:prstGeom>
          <a:solidFill>
            <a:srgbClr val="7FC8E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049" tIns="36525" rIns="73049" bIns="36525" numCol="1" spcCol="0" rtlCol="0" fromWordArt="0" anchor="ctr" anchorCtr="0" forceAA="0" compatLnSpc="1">
            <a:prstTxWarp prst="textNoShape">
              <a:avLst/>
            </a:prstTxWarp>
            <a:noAutofit/>
          </a:bodyPr>
          <a:lstStyle/>
          <a:p>
            <a:pPr algn="ctr"/>
            <a:endParaRPr lang="de-DE" sz="1439" dirty="0">
              <a:solidFill>
                <a:schemeClr val="accent1">
                  <a:lumMod val="50000"/>
                </a:schemeClr>
              </a:solidFill>
            </a:endParaRPr>
          </a:p>
        </p:txBody>
      </p:sp>
      <p:sp>
        <p:nvSpPr>
          <p:cNvPr id="2" name="Rechteck 1"/>
          <p:cNvSpPr/>
          <p:nvPr/>
        </p:nvSpPr>
        <p:spPr>
          <a:xfrm>
            <a:off x="252265" y="3276667"/>
            <a:ext cx="11460041" cy="325601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spcAft>
                <a:spcPts val="200"/>
              </a:spcAft>
            </a:pPr>
            <a:r>
              <a:rPr lang="lt-LT" sz="1200" b="1" dirty="0">
                <a:solidFill>
                  <a:schemeClr val="tx1"/>
                </a:solidFill>
              </a:rPr>
              <a:t>Apskaitos procesų harmonizavimas</a:t>
            </a:r>
            <a:r>
              <a:rPr lang="en-GB" sz="1200" b="1" dirty="0">
                <a:solidFill>
                  <a:schemeClr val="tx1"/>
                </a:solidFill>
              </a:rPr>
              <a:t>: </a:t>
            </a:r>
            <a:endParaRPr lang="de-DE" sz="1200" b="1" dirty="0">
              <a:solidFill>
                <a:schemeClr val="tx1"/>
              </a:solidFill>
            </a:endParaRPr>
          </a:p>
          <a:p>
            <a:pPr lvl="1">
              <a:spcAft>
                <a:spcPts val="200"/>
              </a:spcAft>
              <a:tabLst>
                <a:tab pos="625475" algn="l"/>
              </a:tabLst>
            </a:pPr>
            <a:r>
              <a:rPr lang="en-GB" sz="1200" dirty="0">
                <a:solidFill>
                  <a:schemeClr val="tx1"/>
                </a:solidFill>
              </a:rPr>
              <a:t>-	Standardisation, quality and transparency through bundling of knowledge-intensive and transactional tasks</a:t>
            </a:r>
            <a:endParaRPr lang="de-DE" sz="1200" dirty="0">
              <a:solidFill>
                <a:schemeClr val="tx1"/>
              </a:solidFill>
            </a:endParaRPr>
          </a:p>
          <a:p>
            <a:pPr lvl="1">
              <a:spcAft>
                <a:spcPts val="200"/>
              </a:spcAft>
              <a:tabLst>
                <a:tab pos="625475" algn="l"/>
              </a:tabLst>
            </a:pPr>
            <a:r>
              <a:rPr lang="en-GB" sz="1200" dirty="0">
                <a:solidFill>
                  <a:schemeClr val="tx1"/>
                </a:solidFill>
              </a:rPr>
              <a:t>-	Ensure process safety and consistent coverage of similar processes for the entire organization</a:t>
            </a:r>
            <a:endParaRPr lang="de-DE" sz="1200" dirty="0">
              <a:solidFill>
                <a:schemeClr val="tx1"/>
              </a:solidFill>
            </a:endParaRPr>
          </a:p>
          <a:p>
            <a:pPr lvl="1">
              <a:spcAft>
                <a:spcPts val="200"/>
              </a:spcAft>
              <a:tabLst>
                <a:tab pos="625475" algn="l"/>
              </a:tabLst>
            </a:pPr>
            <a:r>
              <a:rPr lang="en-GB" sz="1200" dirty="0">
                <a:solidFill>
                  <a:schemeClr val="tx1"/>
                </a:solidFill>
              </a:rPr>
              <a:t>-	Basis for further automatization activities due to significant volume in one place</a:t>
            </a:r>
            <a:endParaRPr lang="de-DE" sz="1200" dirty="0">
              <a:solidFill>
                <a:schemeClr val="tx1"/>
              </a:solidFill>
            </a:endParaRPr>
          </a:p>
          <a:p>
            <a:pPr lvl="0">
              <a:spcAft>
                <a:spcPts val="200"/>
              </a:spcAft>
            </a:pPr>
            <a:r>
              <a:rPr lang="lt-LT" sz="1200" b="1" dirty="0">
                <a:solidFill>
                  <a:schemeClr val="tx1"/>
                </a:solidFill>
              </a:rPr>
              <a:t>Kaštų taupymo nauda</a:t>
            </a:r>
            <a:r>
              <a:rPr lang="en-GB" sz="1200" b="1" dirty="0">
                <a:solidFill>
                  <a:schemeClr val="tx1"/>
                </a:solidFill>
              </a:rPr>
              <a:t>: </a:t>
            </a:r>
            <a:endParaRPr lang="de-DE" sz="1200" b="1" dirty="0">
              <a:solidFill>
                <a:schemeClr val="tx1"/>
              </a:solidFill>
            </a:endParaRPr>
          </a:p>
          <a:p>
            <a:pPr lvl="1">
              <a:spcAft>
                <a:spcPts val="200"/>
              </a:spcAft>
              <a:tabLst>
                <a:tab pos="625475" algn="l"/>
              </a:tabLst>
            </a:pPr>
            <a:r>
              <a:rPr lang="en-US" sz="1200" dirty="0">
                <a:solidFill>
                  <a:schemeClr val="tx1"/>
                </a:solidFill>
              </a:rPr>
              <a:t>-	Bundling transactional Accounting processes in SSCs leads to economies of scale </a:t>
            </a:r>
            <a:endParaRPr lang="de-DE" sz="1200" dirty="0">
              <a:solidFill>
                <a:schemeClr val="tx1"/>
              </a:solidFill>
            </a:endParaRPr>
          </a:p>
          <a:p>
            <a:pPr lvl="1">
              <a:spcAft>
                <a:spcPts val="200"/>
              </a:spcAft>
              <a:tabLst>
                <a:tab pos="625475" algn="l"/>
              </a:tabLst>
            </a:pPr>
            <a:r>
              <a:rPr lang="en-GB" sz="1200" dirty="0">
                <a:solidFill>
                  <a:schemeClr val="tx1"/>
                </a:solidFill>
              </a:rPr>
              <a:t>-	Continuous standardisation improves the efficiency and effectiveness of </a:t>
            </a:r>
            <a:r>
              <a:rPr lang="en-GB" sz="1200" dirty="0" err="1">
                <a:solidFill>
                  <a:schemeClr val="tx1"/>
                </a:solidFill>
              </a:rPr>
              <a:t>Festo’s</a:t>
            </a:r>
            <a:r>
              <a:rPr lang="en-GB" sz="1200" dirty="0">
                <a:solidFill>
                  <a:schemeClr val="tx1"/>
                </a:solidFill>
              </a:rPr>
              <a:t> Accounting end-to-end processes</a:t>
            </a:r>
            <a:endParaRPr lang="de-DE" sz="1200" dirty="0">
              <a:solidFill>
                <a:schemeClr val="tx1"/>
              </a:solidFill>
            </a:endParaRPr>
          </a:p>
          <a:p>
            <a:pPr lvl="1">
              <a:spcAft>
                <a:spcPts val="200"/>
              </a:spcAft>
              <a:tabLst>
                <a:tab pos="625475" algn="l"/>
              </a:tabLst>
            </a:pPr>
            <a:r>
              <a:rPr lang="en-US" sz="1200" dirty="0">
                <a:solidFill>
                  <a:schemeClr val="tx1"/>
                </a:solidFill>
              </a:rPr>
              <a:t>-	Less maintenance effort due to focusing on relevant tools and less interfaces e.g. with ERP </a:t>
            </a:r>
            <a:endParaRPr lang="de-DE" sz="1200" dirty="0">
              <a:solidFill>
                <a:schemeClr val="tx1"/>
              </a:solidFill>
            </a:endParaRPr>
          </a:p>
          <a:p>
            <a:pPr>
              <a:spcAft>
                <a:spcPts val="200"/>
              </a:spcAft>
            </a:pPr>
            <a:r>
              <a:rPr lang="en-US" sz="1200" dirty="0">
                <a:solidFill>
                  <a:schemeClr val="tx1"/>
                </a:solidFill>
              </a:rPr>
              <a:t> </a:t>
            </a:r>
            <a:r>
              <a:rPr lang="en-GB" sz="1200" b="1" dirty="0">
                <a:solidFill>
                  <a:schemeClr val="tx1"/>
                </a:solidFill>
              </a:rPr>
              <a:t>Increased transparency: </a:t>
            </a:r>
            <a:endParaRPr lang="de-DE" sz="1200" b="1" dirty="0">
              <a:solidFill>
                <a:schemeClr val="tx1"/>
              </a:solidFill>
            </a:endParaRPr>
          </a:p>
          <a:p>
            <a:pPr lvl="1">
              <a:spcAft>
                <a:spcPts val="200"/>
              </a:spcAft>
              <a:tabLst>
                <a:tab pos="625475" algn="l"/>
              </a:tabLst>
            </a:pPr>
            <a:r>
              <a:rPr lang="en-GB" sz="1200" dirty="0">
                <a:solidFill>
                  <a:schemeClr val="tx1"/>
                </a:solidFill>
              </a:rPr>
              <a:t>-	Better decision making through improved business insights on global level</a:t>
            </a:r>
            <a:endParaRPr lang="de-DE" sz="1200" dirty="0">
              <a:solidFill>
                <a:schemeClr val="tx1"/>
              </a:solidFill>
            </a:endParaRPr>
          </a:p>
          <a:p>
            <a:pPr lvl="1">
              <a:spcAft>
                <a:spcPts val="200"/>
              </a:spcAft>
              <a:tabLst>
                <a:tab pos="625475" algn="l"/>
              </a:tabLst>
            </a:pPr>
            <a:r>
              <a:rPr lang="en-US" sz="1200" dirty="0">
                <a:solidFill>
                  <a:schemeClr val="tx1"/>
                </a:solidFill>
              </a:rPr>
              <a:t>-	Support global compliance and ICS rules, e.g. segregation of duties in small entities</a:t>
            </a:r>
            <a:endParaRPr lang="de-DE" sz="1200" dirty="0">
              <a:solidFill>
                <a:schemeClr val="tx1"/>
              </a:solidFill>
            </a:endParaRPr>
          </a:p>
          <a:p>
            <a:pPr lvl="0">
              <a:spcAft>
                <a:spcPts val="200"/>
              </a:spcAft>
            </a:pPr>
            <a:r>
              <a:rPr lang="en-US" sz="1200" b="1" dirty="0">
                <a:solidFill>
                  <a:schemeClr val="tx1"/>
                </a:solidFill>
              </a:rPr>
              <a:t>Further bundling benefits:</a:t>
            </a:r>
            <a:endParaRPr lang="de-DE" sz="1200" b="1" dirty="0">
              <a:solidFill>
                <a:schemeClr val="tx1"/>
              </a:solidFill>
            </a:endParaRPr>
          </a:p>
          <a:p>
            <a:pPr lvl="1">
              <a:spcAft>
                <a:spcPts val="200"/>
              </a:spcAft>
              <a:tabLst>
                <a:tab pos="625475" algn="l"/>
              </a:tabLst>
            </a:pPr>
            <a:r>
              <a:rPr lang="en-GB" sz="1200" dirty="0">
                <a:solidFill>
                  <a:schemeClr val="tx1"/>
                </a:solidFill>
              </a:rPr>
              <a:t>-	Dedicated structures and a Centre of Excellence team strengthen the growth strategy of </a:t>
            </a:r>
            <a:r>
              <a:rPr lang="en-GB" sz="1200" dirty="0" err="1">
                <a:solidFill>
                  <a:schemeClr val="tx1"/>
                </a:solidFill>
              </a:rPr>
              <a:t>Festo</a:t>
            </a:r>
            <a:endParaRPr lang="de-DE" sz="1200" dirty="0">
              <a:solidFill>
                <a:schemeClr val="tx1"/>
              </a:solidFill>
            </a:endParaRPr>
          </a:p>
          <a:p>
            <a:pPr lvl="1">
              <a:spcAft>
                <a:spcPts val="200"/>
              </a:spcAft>
              <a:tabLst>
                <a:tab pos="625475" algn="l"/>
              </a:tabLst>
            </a:pPr>
            <a:r>
              <a:rPr lang="en-US" sz="1200" dirty="0">
                <a:solidFill>
                  <a:schemeClr val="tx1"/>
                </a:solidFill>
              </a:rPr>
              <a:t>-	Better negotiating position against relevant suppliers of system solutions (FIT and YAMBS)</a:t>
            </a:r>
            <a:endParaRPr lang="de-DE" sz="1200" dirty="0">
              <a:solidFill>
                <a:schemeClr val="tx1"/>
              </a:solidFill>
            </a:endParaRPr>
          </a:p>
          <a:p>
            <a:pPr lvl="1">
              <a:spcAft>
                <a:spcPts val="200"/>
              </a:spcAft>
              <a:tabLst>
                <a:tab pos="625475" algn="l"/>
              </a:tabLst>
            </a:pPr>
            <a:r>
              <a:rPr lang="en-US" sz="1200" dirty="0">
                <a:solidFill>
                  <a:schemeClr val="tx1"/>
                </a:solidFill>
              </a:rPr>
              <a:t>-	Identification of potential for improvement in up- and downstream processes</a:t>
            </a:r>
            <a:endParaRPr lang="de-DE" sz="1200" dirty="0">
              <a:solidFill>
                <a:schemeClr val="tx1"/>
              </a:solidFill>
            </a:endParaRPr>
          </a:p>
        </p:txBody>
      </p:sp>
      <p:sp>
        <p:nvSpPr>
          <p:cNvPr id="36" name="Textplatzhalter 4"/>
          <p:cNvSpPr>
            <a:spLocks noGrp="1"/>
          </p:cNvSpPr>
          <p:nvPr>
            <p:ph type="body" sz="quarter" idx="12"/>
          </p:nvPr>
        </p:nvSpPr>
        <p:spPr>
          <a:xfrm>
            <a:off x="252267" y="2068513"/>
            <a:ext cx="11460041" cy="431800"/>
          </a:xfrm>
        </p:spPr>
        <p:txBody>
          <a:bodyPr/>
          <a:lstStyle/>
          <a:p>
            <a:r>
              <a:rPr lang="lt-LT" dirty="0"/>
              <a:t>Teigiami aspektai Festo Global </a:t>
            </a:r>
            <a:r>
              <a:rPr lang="lt-LT" dirty="0" err="1"/>
              <a:t>oraganizacijai</a:t>
            </a:r>
            <a:endParaRPr lang="en-GB" dirty="0"/>
          </a:p>
        </p:txBody>
      </p:sp>
      <p:grpSp>
        <p:nvGrpSpPr>
          <p:cNvPr id="22" name="Group 106"/>
          <p:cNvGrpSpPr/>
          <p:nvPr/>
        </p:nvGrpSpPr>
        <p:grpSpPr>
          <a:xfrm>
            <a:off x="268848" y="2837476"/>
            <a:ext cx="415840" cy="399614"/>
            <a:chOff x="5106561" y="462860"/>
            <a:chExt cx="415840" cy="399614"/>
          </a:xfrm>
          <a:solidFill>
            <a:srgbClr val="7FC8ED"/>
          </a:solidFill>
        </p:grpSpPr>
        <p:sp>
          <p:nvSpPr>
            <p:cNvPr id="37" name="Freeform 8"/>
            <p:cNvSpPr/>
            <p:nvPr/>
          </p:nvSpPr>
          <p:spPr>
            <a:xfrm>
              <a:off x="5112136" y="462860"/>
              <a:ext cx="376119" cy="399614"/>
            </a:xfrm>
            <a:custGeom>
              <a:avLst/>
              <a:gdLst>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3197400 w 3362066"/>
                <a:gd name="connsiteY7" fmla="*/ 1869492 h 3391524"/>
                <a:gd name="connsiteX8" fmla="*/ 3362066 w 3362066"/>
                <a:gd name="connsiteY8" fmla="*/ 2004799 h 3391524"/>
                <a:gd name="connsiteX9" fmla="*/ 3357072 w 3362066"/>
                <a:gd name="connsiteY9" fmla="*/ 2037517 h 3391524"/>
                <a:gd name="connsiteX10" fmla="*/ 1695762 w 3362066"/>
                <a:gd name="connsiteY10" fmla="*/ 3391524 h 3391524"/>
                <a:gd name="connsiteX11" fmla="*/ 496678 w 3362066"/>
                <a:gd name="connsiteY11" fmla="*/ 2894847 h 3391524"/>
                <a:gd name="connsiteX12" fmla="*/ 402889 w 3362066"/>
                <a:gd name="connsiteY12" fmla="*/ 2791653 h 3391524"/>
                <a:gd name="connsiteX13" fmla="*/ 459383 w 3362066"/>
                <a:gd name="connsiteY13" fmla="*/ 2806055 h 3391524"/>
                <a:gd name="connsiteX14" fmla="*/ 623945 w 3362066"/>
                <a:gd name="connsiteY14" fmla="*/ 2833135 h 3391524"/>
                <a:gd name="connsiteX15" fmla="*/ 713228 w 3362066"/>
                <a:gd name="connsiteY15" fmla="*/ 2840220 h 3391524"/>
                <a:gd name="connsiteX16" fmla="*/ 814530 w 3362066"/>
                <a:gd name="connsiteY16" fmla="*/ 2924921 h 3391524"/>
                <a:gd name="connsiteX17" fmla="*/ 1214569 w 3362066"/>
                <a:gd name="connsiteY17" fmla="*/ 3129900 h 3391524"/>
                <a:gd name="connsiteX18" fmla="*/ 1235048 w 3362066"/>
                <a:gd name="connsiteY18" fmla="*/ 3135624 h 3391524"/>
                <a:gd name="connsiteX19" fmla="*/ 1192472 w 3362066"/>
                <a:gd name="connsiteY19" fmla="*/ 3088942 h 3391524"/>
                <a:gd name="connsiteX20" fmla="*/ 1054329 w 3362066"/>
                <a:gd name="connsiteY20" fmla="*/ 2883236 h 3391524"/>
                <a:gd name="connsiteX21" fmla="*/ 1033273 w 3362066"/>
                <a:gd name="connsiteY21" fmla="*/ 2841425 h 3391524"/>
                <a:gd name="connsiteX22" fmla="*/ 1153493 w 3362066"/>
                <a:gd name="connsiteY22" fmla="*/ 2831247 h 3391524"/>
                <a:gd name="connsiteX23" fmla="*/ 1160637 w 3362066"/>
                <a:gd name="connsiteY23" fmla="*/ 2845425 h 3391524"/>
                <a:gd name="connsiteX24" fmla="*/ 1469463 w 3362066"/>
                <a:gd name="connsiteY24" fmla="*/ 3180157 h 3391524"/>
                <a:gd name="connsiteX25" fmla="*/ 1499316 w 3362066"/>
                <a:gd name="connsiteY25" fmla="*/ 3194679 h 3391524"/>
                <a:gd name="connsiteX26" fmla="*/ 1514992 w 3362066"/>
                <a:gd name="connsiteY26" fmla="*/ 3197371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042618 w 3362066"/>
                <a:gd name="connsiteY47" fmla="*/ 2384240 h 3391524"/>
                <a:gd name="connsiteX48" fmla="*/ 3179199 w 3362066"/>
                <a:gd name="connsiteY48" fmla="*/ 1991304 h 3391524"/>
                <a:gd name="connsiteX49" fmla="*/ 3053674 w 3362066"/>
                <a:gd name="connsiteY49" fmla="*/ 1751391 h 3391524"/>
                <a:gd name="connsiteX50" fmla="*/ 3109675 w 3362066"/>
                <a:gd name="connsiteY50" fmla="*/ 1797408 h 3391524"/>
                <a:gd name="connsiteX51" fmla="*/ 3000548 w 3362066"/>
                <a:gd name="connsiteY51" fmla="*/ 1797408 h 3391524"/>
                <a:gd name="connsiteX52" fmla="*/ 974651 w 3362066"/>
                <a:gd name="connsiteY52" fmla="*/ 1018941 h 3391524"/>
                <a:gd name="connsiteX53" fmla="*/ 955549 w 3362066"/>
                <a:gd name="connsiteY53" fmla="*/ 1085530 h 3391524"/>
                <a:gd name="connsiteX54" fmla="*/ 907564 w 3362066"/>
                <a:gd name="connsiteY54" fmla="*/ 1378013 h 3391524"/>
                <a:gd name="connsiteX55" fmla="*/ 895917 w 3362066"/>
                <a:gd name="connsiteY55" fmla="*/ 1596595 h 3391524"/>
                <a:gd name="connsiteX56" fmla="*/ 1658571 w 3362066"/>
                <a:gd name="connsiteY56" fmla="*/ 1596595 h 3391524"/>
                <a:gd name="connsiteX57" fmla="*/ 165857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1226253 w 3362066"/>
                <a:gd name="connsiteY66" fmla="*/ 258097 h 3391524"/>
                <a:gd name="connsiteX67" fmla="*/ 1096526 w 3362066"/>
                <a:gd name="connsiteY67" fmla="*/ 306828 h 3391524"/>
                <a:gd name="connsiteX68" fmla="*/ 528798 w 3362066"/>
                <a:gd name="connsiteY68" fmla="*/ 733798 h 3391524"/>
                <a:gd name="connsiteX69" fmla="*/ 465736 w 3362066"/>
                <a:gd name="connsiteY69" fmla="*/ 818129 h 3391524"/>
                <a:gd name="connsiteX70" fmla="*/ 917471 w 3362066"/>
                <a:gd name="connsiteY70" fmla="*/ 818129 h 3391524"/>
                <a:gd name="connsiteX71" fmla="*/ 940351 w 3362066"/>
                <a:gd name="connsiteY71" fmla="*/ 750159 h 3391524"/>
                <a:gd name="connsiteX72" fmla="*/ 1192472 w 3362066"/>
                <a:gd name="connsiteY72" fmla="*/ 295136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95762 w 3362066"/>
                <a:gd name="connsiteY80" fmla="*/ 0 h 3391524"/>
                <a:gd name="connsiteX81" fmla="*/ 2894847 w 3362066"/>
                <a:gd name="connsiteY81" fmla="*/ 496677 h 3391524"/>
                <a:gd name="connsiteX82" fmla="*/ 2952732 w 3362066"/>
                <a:gd name="connsiteY82" fmla="*/ 560367 h 3391524"/>
                <a:gd name="connsiteX83" fmla="*/ 2763757 w 3362066"/>
                <a:gd name="connsiteY83" fmla="*/ 627279 h 3391524"/>
                <a:gd name="connsiteX84" fmla="*/ 2741210 w 3362066"/>
                <a:gd name="connsiteY84" fmla="*/ 603013 h 3391524"/>
                <a:gd name="connsiteX85" fmla="*/ 2294999 w 3362066"/>
                <a:gd name="connsiteY85" fmla="*/ 306828 h 3391524"/>
                <a:gd name="connsiteX86" fmla="*/ 2221829 w 3362066"/>
                <a:gd name="connsiteY86" fmla="*/ 279343 h 3391524"/>
                <a:gd name="connsiteX87" fmla="*/ 2236234 w 3362066"/>
                <a:gd name="connsiteY87" fmla="*/ 295136 h 3391524"/>
                <a:gd name="connsiteX88" fmla="*/ 2434620 w 3362066"/>
                <a:gd name="connsiteY88" fmla="*/ 620472 h 3391524"/>
                <a:gd name="connsiteX89" fmla="*/ 2479189 w 3362066"/>
                <a:gd name="connsiteY89" fmla="*/ 728039 h 3391524"/>
                <a:gd name="connsiteX90" fmla="*/ 2375112 w 3362066"/>
                <a:gd name="connsiteY90" fmla="*/ 764890 h 3391524"/>
                <a:gd name="connsiteX91" fmla="*/ 2349822 w 3362066"/>
                <a:gd name="connsiteY91" fmla="*/ 700898 h 3391524"/>
                <a:gd name="connsiteX92" fmla="*/ 2034904 w 3362066"/>
                <a:gd name="connsiteY92" fmla="*/ 256318 h 3391524"/>
                <a:gd name="connsiteX93" fmla="*/ 1967195 w 3362066"/>
                <a:gd name="connsiteY93" fmla="*/ 209428 h 3391524"/>
                <a:gd name="connsiteX94" fmla="*/ 1869416 w 3362066"/>
                <a:gd name="connsiteY94" fmla="*/ 193323 h 3391524"/>
                <a:gd name="connsiteX95" fmla="*/ 1732947 w 3362066"/>
                <a:gd name="connsiteY95" fmla="*/ 185573 h 3391524"/>
                <a:gd name="connsiteX96" fmla="*/ 1732947 w 3362066"/>
                <a:gd name="connsiteY96" fmla="*/ 818129 h 3391524"/>
                <a:gd name="connsiteX97" fmla="*/ 2224756 w 3362066"/>
                <a:gd name="connsiteY97" fmla="*/ 818129 h 3391524"/>
                <a:gd name="connsiteX98" fmla="*/ 1991143 w 3362066"/>
                <a:gd name="connsiteY98" fmla="*/ 900846 h 3391524"/>
                <a:gd name="connsiteX99" fmla="*/ 2132642 w 3362066"/>
                <a:gd name="connsiteY99" fmla="*/ 1018941 h 3391524"/>
                <a:gd name="connsiteX100" fmla="*/ 1732947 w 3362066"/>
                <a:gd name="connsiteY100" fmla="*/ 1018941 h 3391524"/>
                <a:gd name="connsiteX101" fmla="*/ 1732947 w 3362066"/>
                <a:gd name="connsiteY101" fmla="*/ 1596595 h 3391524"/>
                <a:gd name="connsiteX102" fmla="*/ 2063964 w 3362066"/>
                <a:gd name="connsiteY102" fmla="*/ 1596595 h 3391524"/>
                <a:gd name="connsiteX103" fmla="*/ 1924258 w 3362066"/>
                <a:gd name="connsiteY103" fmla="*/ 1712711 h 3391524"/>
                <a:gd name="connsiteX104" fmla="*/ 1815019 w 3362066"/>
                <a:gd name="connsiteY104" fmla="*/ 1797408 h 3391524"/>
                <a:gd name="connsiteX105" fmla="*/ 1732947 w 3362066"/>
                <a:gd name="connsiteY105" fmla="*/ 1797408 h 3391524"/>
                <a:gd name="connsiteX106" fmla="*/ 1732947 w 3362066"/>
                <a:gd name="connsiteY106" fmla="*/ 1858449 h 3391524"/>
                <a:gd name="connsiteX107" fmla="*/ 1658571 w 3362066"/>
                <a:gd name="connsiteY107" fmla="*/ 1910772 h 3391524"/>
                <a:gd name="connsiteX108" fmla="*/ 1658571 w 3362066"/>
                <a:gd name="connsiteY108" fmla="*/ 1797408 h 3391524"/>
                <a:gd name="connsiteX109" fmla="*/ 896447 w 3362066"/>
                <a:gd name="connsiteY109" fmla="*/ 1797408 h 3391524"/>
                <a:gd name="connsiteX110" fmla="*/ 907564 w 3362066"/>
                <a:gd name="connsiteY110" fmla="*/ 2006064 h 3391524"/>
                <a:gd name="connsiteX111" fmla="*/ 946467 w 3362066"/>
                <a:gd name="connsiteY111" fmla="*/ 2243192 h 3391524"/>
                <a:gd name="connsiteX112" fmla="*/ 910284 w 3362066"/>
                <a:gd name="connsiteY112" fmla="*/ 2252024 h 3391524"/>
                <a:gd name="connsiteX113" fmla="*/ 837993 w 3362066"/>
                <a:gd name="connsiteY113" fmla="*/ 2260760 h 3391524"/>
                <a:gd name="connsiteX114" fmla="*/ 810325 w 3362066"/>
                <a:gd name="connsiteY114" fmla="*/ 2113048 h 3391524"/>
                <a:gd name="connsiteX115" fmla="*/ 785757 w 3362066"/>
                <a:gd name="connsiteY115" fmla="*/ 1864280 h 3391524"/>
                <a:gd name="connsiteX116" fmla="*/ 783886 w 3362066"/>
                <a:gd name="connsiteY116" fmla="*/ 1797408 h 3391524"/>
                <a:gd name="connsiteX117" fmla="*/ 188594 w 3362066"/>
                <a:gd name="connsiteY117" fmla="*/ 1797408 h 3391524"/>
                <a:gd name="connsiteX118" fmla="*/ 191269 w 3362066"/>
                <a:gd name="connsiteY118" fmla="*/ 1850386 h 3391524"/>
                <a:gd name="connsiteX119" fmla="*/ 212326 w 3362066"/>
                <a:gd name="connsiteY119" fmla="*/ 1991304 h 3391524"/>
                <a:gd name="connsiteX120" fmla="*/ 235664 w 3362066"/>
                <a:gd name="connsiteY120" fmla="*/ 2085719 h 3391524"/>
                <a:gd name="connsiteX121" fmla="*/ 223447 w 3362066"/>
                <a:gd name="connsiteY121" fmla="*/ 2076943 h 3391524"/>
                <a:gd name="connsiteX122" fmla="*/ 65563 w 3362066"/>
                <a:gd name="connsiteY122" fmla="*/ 1921896 h 3391524"/>
                <a:gd name="connsiteX123" fmla="*/ 7652 w 3362066"/>
                <a:gd name="connsiteY123" fmla="*/ 1847299 h 3391524"/>
                <a:gd name="connsiteX124" fmla="*/ 0 w 3362066"/>
                <a:gd name="connsiteY124" fmla="*/ 1695762 h 3391524"/>
                <a:gd name="connsiteX125" fmla="*/ 1695762 w 3362066"/>
                <a:gd name="connsiteY125"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3000548 w 3362066"/>
                <a:gd name="connsiteY51" fmla="*/ 1797408 h 3391524"/>
                <a:gd name="connsiteX52" fmla="*/ 3109675 w 3362066"/>
                <a:gd name="connsiteY52" fmla="*/ 1797408 h 3391524"/>
                <a:gd name="connsiteX53" fmla="*/ 3000548 w 3362066"/>
                <a:gd name="connsiteY53" fmla="*/ 1797408 h 3391524"/>
                <a:gd name="connsiteX54" fmla="*/ 974651 w 3362066"/>
                <a:gd name="connsiteY54" fmla="*/ 1018941 h 3391524"/>
                <a:gd name="connsiteX55" fmla="*/ 955549 w 3362066"/>
                <a:gd name="connsiteY55" fmla="*/ 1085530 h 3391524"/>
                <a:gd name="connsiteX56" fmla="*/ 907564 w 3362066"/>
                <a:gd name="connsiteY56" fmla="*/ 1378013 h 3391524"/>
                <a:gd name="connsiteX57" fmla="*/ 895917 w 3362066"/>
                <a:gd name="connsiteY57" fmla="*/ 1596595 h 3391524"/>
                <a:gd name="connsiteX58" fmla="*/ 1658571 w 3362066"/>
                <a:gd name="connsiteY58" fmla="*/ 1596595 h 3391524"/>
                <a:gd name="connsiteX59" fmla="*/ 1658571 w 3362066"/>
                <a:gd name="connsiteY59" fmla="*/ 1018941 h 3391524"/>
                <a:gd name="connsiteX60" fmla="*/ 974651 w 3362066"/>
                <a:gd name="connsiteY60" fmla="*/ 1018941 h 3391524"/>
                <a:gd name="connsiteX61" fmla="*/ 344777 w 3362066"/>
                <a:gd name="connsiteY61" fmla="*/ 1018941 h 3391524"/>
                <a:gd name="connsiteX62" fmla="*/ 302306 w 3362066"/>
                <a:gd name="connsiteY62" fmla="*/ 1107107 h 3391524"/>
                <a:gd name="connsiteX63" fmla="*/ 191269 w 3362066"/>
                <a:gd name="connsiteY63" fmla="*/ 1541138 h 3391524"/>
                <a:gd name="connsiteX64" fmla="*/ 188469 w 3362066"/>
                <a:gd name="connsiteY64" fmla="*/ 1596595 h 3391524"/>
                <a:gd name="connsiteX65" fmla="*/ 783608 w 3362066"/>
                <a:gd name="connsiteY65" fmla="*/ 1596595 h 3391524"/>
                <a:gd name="connsiteX66" fmla="*/ 785757 w 3362066"/>
                <a:gd name="connsiteY66" fmla="*/ 1519797 h 3391524"/>
                <a:gd name="connsiteX67" fmla="*/ 854291 w 3362066"/>
                <a:gd name="connsiteY67" fmla="*/ 1036313 h 3391524"/>
                <a:gd name="connsiteX68" fmla="*/ 858928 w 3362066"/>
                <a:gd name="connsiteY68" fmla="*/ 1018941 h 3391524"/>
                <a:gd name="connsiteX69" fmla="*/ 344777 w 3362066"/>
                <a:gd name="connsiteY69" fmla="*/ 1018941 h 3391524"/>
                <a:gd name="connsiteX70" fmla="*/ 1226253 w 3362066"/>
                <a:gd name="connsiteY70" fmla="*/ 258097 h 3391524"/>
                <a:gd name="connsiteX71" fmla="*/ 1096526 w 3362066"/>
                <a:gd name="connsiteY71" fmla="*/ 306828 h 3391524"/>
                <a:gd name="connsiteX72" fmla="*/ 528798 w 3362066"/>
                <a:gd name="connsiteY72" fmla="*/ 733798 h 3391524"/>
                <a:gd name="connsiteX73" fmla="*/ 465736 w 3362066"/>
                <a:gd name="connsiteY73" fmla="*/ 818129 h 3391524"/>
                <a:gd name="connsiteX74" fmla="*/ 917471 w 3362066"/>
                <a:gd name="connsiteY74" fmla="*/ 818129 h 3391524"/>
                <a:gd name="connsiteX75" fmla="*/ 940351 w 3362066"/>
                <a:gd name="connsiteY75" fmla="*/ 750159 h 3391524"/>
                <a:gd name="connsiteX76" fmla="*/ 1192472 w 3362066"/>
                <a:gd name="connsiteY76" fmla="*/ 295136 h 3391524"/>
                <a:gd name="connsiteX77" fmla="*/ 1226253 w 3362066"/>
                <a:gd name="connsiteY77" fmla="*/ 258097 h 3391524"/>
                <a:gd name="connsiteX78" fmla="*/ 1658571 w 3362066"/>
                <a:gd name="connsiteY78" fmla="*/ 185574 h 3391524"/>
                <a:gd name="connsiteX79" fmla="*/ 1522109 w 3362066"/>
                <a:gd name="connsiteY79" fmla="*/ 193323 h 3391524"/>
                <a:gd name="connsiteX80" fmla="*/ 1475452 w 3362066"/>
                <a:gd name="connsiteY80" fmla="*/ 201008 h 3391524"/>
                <a:gd name="connsiteX81" fmla="*/ 1469463 w 3362066"/>
                <a:gd name="connsiteY81" fmla="*/ 203922 h 3391524"/>
                <a:gd name="connsiteX82" fmla="*/ 1078885 w 3362066"/>
                <a:gd name="connsiteY82" fmla="*/ 700898 h 3391524"/>
                <a:gd name="connsiteX83" fmla="*/ 1032553 w 3362066"/>
                <a:gd name="connsiteY83" fmla="*/ 818129 h 3391524"/>
                <a:gd name="connsiteX84" fmla="*/ 1658571 w 3362066"/>
                <a:gd name="connsiteY84" fmla="*/ 818129 h 3391524"/>
                <a:gd name="connsiteX85" fmla="*/ 1658571 w 3362066"/>
                <a:gd name="connsiteY85" fmla="*/ 185574 h 3391524"/>
                <a:gd name="connsiteX86" fmla="*/ 1695762 w 3362066"/>
                <a:gd name="connsiteY86" fmla="*/ 0 h 3391524"/>
                <a:gd name="connsiteX87" fmla="*/ 2894847 w 3362066"/>
                <a:gd name="connsiteY87" fmla="*/ 496677 h 3391524"/>
                <a:gd name="connsiteX88" fmla="*/ 2952732 w 3362066"/>
                <a:gd name="connsiteY88" fmla="*/ 560367 h 3391524"/>
                <a:gd name="connsiteX89" fmla="*/ 2763757 w 3362066"/>
                <a:gd name="connsiteY89" fmla="*/ 627279 h 3391524"/>
                <a:gd name="connsiteX90" fmla="*/ 2741210 w 3362066"/>
                <a:gd name="connsiteY90" fmla="*/ 603013 h 3391524"/>
                <a:gd name="connsiteX91" fmla="*/ 2294999 w 3362066"/>
                <a:gd name="connsiteY91" fmla="*/ 306828 h 3391524"/>
                <a:gd name="connsiteX92" fmla="*/ 2221829 w 3362066"/>
                <a:gd name="connsiteY92" fmla="*/ 279343 h 3391524"/>
                <a:gd name="connsiteX93" fmla="*/ 2236234 w 3362066"/>
                <a:gd name="connsiteY93" fmla="*/ 295136 h 3391524"/>
                <a:gd name="connsiteX94" fmla="*/ 2434620 w 3362066"/>
                <a:gd name="connsiteY94" fmla="*/ 620472 h 3391524"/>
                <a:gd name="connsiteX95" fmla="*/ 2479189 w 3362066"/>
                <a:gd name="connsiteY95" fmla="*/ 728039 h 3391524"/>
                <a:gd name="connsiteX96" fmla="*/ 2375112 w 3362066"/>
                <a:gd name="connsiteY96" fmla="*/ 764890 h 3391524"/>
                <a:gd name="connsiteX97" fmla="*/ 2349822 w 3362066"/>
                <a:gd name="connsiteY97" fmla="*/ 700898 h 3391524"/>
                <a:gd name="connsiteX98" fmla="*/ 2034904 w 3362066"/>
                <a:gd name="connsiteY98" fmla="*/ 256318 h 3391524"/>
                <a:gd name="connsiteX99" fmla="*/ 1967195 w 3362066"/>
                <a:gd name="connsiteY99" fmla="*/ 209428 h 3391524"/>
                <a:gd name="connsiteX100" fmla="*/ 1869416 w 3362066"/>
                <a:gd name="connsiteY100" fmla="*/ 193323 h 3391524"/>
                <a:gd name="connsiteX101" fmla="*/ 1732947 w 3362066"/>
                <a:gd name="connsiteY101" fmla="*/ 185573 h 3391524"/>
                <a:gd name="connsiteX102" fmla="*/ 1732947 w 3362066"/>
                <a:gd name="connsiteY102" fmla="*/ 818129 h 3391524"/>
                <a:gd name="connsiteX103" fmla="*/ 2224756 w 3362066"/>
                <a:gd name="connsiteY103" fmla="*/ 818129 h 3391524"/>
                <a:gd name="connsiteX104" fmla="*/ 1991143 w 3362066"/>
                <a:gd name="connsiteY104" fmla="*/ 900846 h 3391524"/>
                <a:gd name="connsiteX105" fmla="*/ 2132642 w 3362066"/>
                <a:gd name="connsiteY105" fmla="*/ 1018941 h 3391524"/>
                <a:gd name="connsiteX106" fmla="*/ 1732947 w 3362066"/>
                <a:gd name="connsiteY106" fmla="*/ 1018941 h 3391524"/>
                <a:gd name="connsiteX107" fmla="*/ 1732947 w 3362066"/>
                <a:gd name="connsiteY107" fmla="*/ 1596595 h 3391524"/>
                <a:gd name="connsiteX108" fmla="*/ 2063964 w 3362066"/>
                <a:gd name="connsiteY108" fmla="*/ 1596595 h 3391524"/>
                <a:gd name="connsiteX109" fmla="*/ 1924258 w 3362066"/>
                <a:gd name="connsiteY109" fmla="*/ 1712711 h 3391524"/>
                <a:gd name="connsiteX110" fmla="*/ 1815019 w 3362066"/>
                <a:gd name="connsiteY110" fmla="*/ 1797408 h 3391524"/>
                <a:gd name="connsiteX111" fmla="*/ 1732947 w 3362066"/>
                <a:gd name="connsiteY111" fmla="*/ 1797408 h 3391524"/>
                <a:gd name="connsiteX112" fmla="*/ 1732947 w 3362066"/>
                <a:gd name="connsiteY112" fmla="*/ 1858449 h 3391524"/>
                <a:gd name="connsiteX113" fmla="*/ 1658571 w 3362066"/>
                <a:gd name="connsiteY113" fmla="*/ 1910772 h 3391524"/>
                <a:gd name="connsiteX114" fmla="*/ 1658571 w 3362066"/>
                <a:gd name="connsiteY114" fmla="*/ 1797408 h 3391524"/>
                <a:gd name="connsiteX115" fmla="*/ 896447 w 3362066"/>
                <a:gd name="connsiteY115" fmla="*/ 1797408 h 3391524"/>
                <a:gd name="connsiteX116" fmla="*/ 907564 w 3362066"/>
                <a:gd name="connsiteY116" fmla="*/ 2006064 h 3391524"/>
                <a:gd name="connsiteX117" fmla="*/ 946467 w 3362066"/>
                <a:gd name="connsiteY117" fmla="*/ 2243192 h 3391524"/>
                <a:gd name="connsiteX118" fmla="*/ 910284 w 3362066"/>
                <a:gd name="connsiteY118" fmla="*/ 2252024 h 3391524"/>
                <a:gd name="connsiteX119" fmla="*/ 837993 w 3362066"/>
                <a:gd name="connsiteY119" fmla="*/ 2260760 h 3391524"/>
                <a:gd name="connsiteX120" fmla="*/ 810325 w 3362066"/>
                <a:gd name="connsiteY120" fmla="*/ 2113048 h 3391524"/>
                <a:gd name="connsiteX121" fmla="*/ 785757 w 3362066"/>
                <a:gd name="connsiteY121" fmla="*/ 1864280 h 3391524"/>
                <a:gd name="connsiteX122" fmla="*/ 783886 w 3362066"/>
                <a:gd name="connsiteY122" fmla="*/ 1797408 h 3391524"/>
                <a:gd name="connsiteX123" fmla="*/ 188594 w 3362066"/>
                <a:gd name="connsiteY123" fmla="*/ 1797408 h 3391524"/>
                <a:gd name="connsiteX124" fmla="*/ 191269 w 3362066"/>
                <a:gd name="connsiteY124" fmla="*/ 1850386 h 3391524"/>
                <a:gd name="connsiteX125" fmla="*/ 212326 w 3362066"/>
                <a:gd name="connsiteY125" fmla="*/ 1991304 h 3391524"/>
                <a:gd name="connsiteX126" fmla="*/ 235664 w 3362066"/>
                <a:gd name="connsiteY126" fmla="*/ 2085719 h 3391524"/>
                <a:gd name="connsiteX127" fmla="*/ 223447 w 3362066"/>
                <a:gd name="connsiteY127" fmla="*/ 2076943 h 3391524"/>
                <a:gd name="connsiteX128" fmla="*/ 65563 w 3362066"/>
                <a:gd name="connsiteY128" fmla="*/ 1921896 h 3391524"/>
                <a:gd name="connsiteX129" fmla="*/ 7652 w 3362066"/>
                <a:gd name="connsiteY129" fmla="*/ 1847299 h 3391524"/>
                <a:gd name="connsiteX130" fmla="*/ 0 w 3362066"/>
                <a:gd name="connsiteY130" fmla="*/ 1695762 h 3391524"/>
                <a:gd name="connsiteX131" fmla="*/ 1695762 w 3362066"/>
                <a:gd name="connsiteY131"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741210 w 3362066"/>
                <a:gd name="connsiteY87" fmla="*/ 603013 h 3391524"/>
                <a:gd name="connsiteX88" fmla="*/ 2294999 w 3362066"/>
                <a:gd name="connsiteY88" fmla="*/ 306828 h 3391524"/>
                <a:gd name="connsiteX89" fmla="*/ 2221829 w 3362066"/>
                <a:gd name="connsiteY89" fmla="*/ 279343 h 3391524"/>
                <a:gd name="connsiteX90" fmla="*/ 2236234 w 3362066"/>
                <a:gd name="connsiteY90" fmla="*/ 295136 h 3391524"/>
                <a:gd name="connsiteX91" fmla="*/ 2434620 w 3362066"/>
                <a:gd name="connsiteY91" fmla="*/ 620472 h 3391524"/>
                <a:gd name="connsiteX92" fmla="*/ 2479189 w 3362066"/>
                <a:gd name="connsiteY92" fmla="*/ 728039 h 3391524"/>
                <a:gd name="connsiteX93" fmla="*/ 2375112 w 3362066"/>
                <a:gd name="connsiteY93" fmla="*/ 764890 h 3391524"/>
                <a:gd name="connsiteX94" fmla="*/ 2349822 w 3362066"/>
                <a:gd name="connsiteY94" fmla="*/ 700898 h 3391524"/>
                <a:gd name="connsiteX95" fmla="*/ 2034904 w 3362066"/>
                <a:gd name="connsiteY95" fmla="*/ 256318 h 3391524"/>
                <a:gd name="connsiteX96" fmla="*/ 1967195 w 3362066"/>
                <a:gd name="connsiteY96" fmla="*/ 209428 h 3391524"/>
                <a:gd name="connsiteX97" fmla="*/ 1869416 w 3362066"/>
                <a:gd name="connsiteY97" fmla="*/ 193323 h 3391524"/>
                <a:gd name="connsiteX98" fmla="*/ 1732947 w 3362066"/>
                <a:gd name="connsiteY98" fmla="*/ 185573 h 3391524"/>
                <a:gd name="connsiteX99" fmla="*/ 1732947 w 3362066"/>
                <a:gd name="connsiteY99" fmla="*/ 818129 h 3391524"/>
                <a:gd name="connsiteX100" fmla="*/ 2224756 w 3362066"/>
                <a:gd name="connsiteY100" fmla="*/ 818129 h 3391524"/>
                <a:gd name="connsiteX101" fmla="*/ 1991143 w 3362066"/>
                <a:gd name="connsiteY101" fmla="*/ 900846 h 3391524"/>
                <a:gd name="connsiteX102" fmla="*/ 2132642 w 3362066"/>
                <a:gd name="connsiteY102" fmla="*/ 1018941 h 3391524"/>
                <a:gd name="connsiteX103" fmla="*/ 1732947 w 3362066"/>
                <a:gd name="connsiteY103" fmla="*/ 1018941 h 3391524"/>
                <a:gd name="connsiteX104" fmla="*/ 1732947 w 3362066"/>
                <a:gd name="connsiteY104" fmla="*/ 1596595 h 3391524"/>
                <a:gd name="connsiteX105" fmla="*/ 2063964 w 3362066"/>
                <a:gd name="connsiteY105" fmla="*/ 1596595 h 3391524"/>
                <a:gd name="connsiteX106" fmla="*/ 1924258 w 3362066"/>
                <a:gd name="connsiteY106" fmla="*/ 1712711 h 3391524"/>
                <a:gd name="connsiteX107" fmla="*/ 1815019 w 3362066"/>
                <a:gd name="connsiteY107" fmla="*/ 1797408 h 3391524"/>
                <a:gd name="connsiteX108" fmla="*/ 1732947 w 3362066"/>
                <a:gd name="connsiteY108" fmla="*/ 1797408 h 3391524"/>
                <a:gd name="connsiteX109" fmla="*/ 1732947 w 3362066"/>
                <a:gd name="connsiteY109" fmla="*/ 1858449 h 3391524"/>
                <a:gd name="connsiteX110" fmla="*/ 1658571 w 3362066"/>
                <a:gd name="connsiteY110" fmla="*/ 1910772 h 3391524"/>
                <a:gd name="connsiteX111" fmla="*/ 1658571 w 3362066"/>
                <a:gd name="connsiteY111" fmla="*/ 1797408 h 3391524"/>
                <a:gd name="connsiteX112" fmla="*/ 896447 w 3362066"/>
                <a:gd name="connsiteY112" fmla="*/ 1797408 h 3391524"/>
                <a:gd name="connsiteX113" fmla="*/ 907564 w 3362066"/>
                <a:gd name="connsiteY113" fmla="*/ 2006064 h 3391524"/>
                <a:gd name="connsiteX114" fmla="*/ 946467 w 3362066"/>
                <a:gd name="connsiteY114" fmla="*/ 2243192 h 3391524"/>
                <a:gd name="connsiteX115" fmla="*/ 910284 w 3362066"/>
                <a:gd name="connsiteY115" fmla="*/ 2252024 h 3391524"/>
                <a:gd name="connsiteX116" fmla="*/ 837993 w 3362066"/>
                <a:gd name="connsiteY116" fmla="*/ 2260760 h 3391524"/>
                <a:gd name="connsiteX117" fmla="*/ 810325 w 3362066"/>
                <a:gd name="connsiteY117" fmla="*/ 2113048 h 3391524"/>
                <a:gd name="connsiteX118" fmla="*/ 785757 w 3362066"/>
                <a:gd name="connsiteY118" fmla="*/ 1864280 h 3391524"/>
                <a:gd name="connsiteX119" fmla="*/ 783886 w 3362066"/>
                <a:gd name="connsiteY119" fmla="*/ 1797408 h 3391524"/>
                <a:gd name="connsiteX120" fmla="*/ 188594 w 3362066"/>
                <a:gd name="connsiteY120" fmla="*/ 1797408 h 3391524"/>
                <a:gd name="connsiteX121" fmla="*/ 191269 w 3362066"/>
                <a:gd name="connsiteY121" fmla="*/ 1850386 h 3391524"/>
                <a:gd name="connsiteX122" fmla="*/ 212326 w 3362066"/>
                <a:gd name="connsiteY122" fmla="*/ 1991304 h 3391524"/>
                <a:gd name="connsiteX123" fmla="*/ 235664 w 3362066"/>
                <a:gd name="connsiteY123" fmla="*/ 2085719 h 3391524"/>
                <a:gd name="connsiteX124" fmla="*/ 223447 w 3362066"/>
                <a:gd name="connsiteY124" fmla="*/ 2076943 h 3391524"/>
                <a:gd name="connsiteX125" fmla="*/ 65563 w 3362066"/>
                <a:gd name="connsiteY125" fmla="*/ 1921896 h 3391524"/>
                <a:gd name="connsiteX126" fmla="*/ 7652 w 3362066"/>
                <a:gd name="connsiteY126" fmla="*/ 1847299 h 3391524"/>
                <a:gd name="connsiteX127" fmla="*/ 0 w 3362066"/>
                <a:gd name="connsiteY127" fmla="*/ 1695762 h 3391524"/>
                <a:gd name="connsiteX128" fmla="*/ 1695762 w 3362066"/>
                <a:gd name="connsiteY128"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741210 w 3362066"/>
                <a:gd name="connsiteY87" fmla="*/ 603013 h 3391524"/>
                <a:gd name="connsiteX88" fmla="*/ 2294999 w 3362066"/>
                <a:gd name="connsiteY88" fmla="*/ 306828 h 3391524"/>
                <a:gd name="connsiteX89" fmla="*/ 2221829 w 3362066"/>
                <a:gd name="connsiteY89" fmla="*/ 279343 h 3391524"/>
                <a:gd name="connsiteX90" fmla="*/ 2236234 w 3362066"/>
                <a:gd name="connsiteY90" fmla="*/ 295136 h 3391524"/>
                <a:gd name="connsiteX91" fmla="*/ 2434620 w 3362066"/>
                <a:gd name="connsiteY91" fmla="*/ 620472 h 3391524"/>
                <a:gd name="connsiteX92" fmla="*/ 2479189 w 3362066"/>
                <a:gd name="connsiteY92" fmla="*/ 728039 h 3391524"/>
                <a:gd name="connsiteX93" fmla="*/ 2375112 w 3362066"/>
                <a:gd name="connsiteY93" fmla="*/ 764890 h 3391524"/>
                <a:gd name="connsiteX94" fmla="*/ 2349822 w 3362066"/>
                <a:gd name="connsiteY94" fmla="*/ 700898 h 3391524"/>
                <a:gd name="connsiteX95" fmla="*/ 2034904 w 3362066"/>
                <a:gd name="connsiteY95" fmla="*/ 256318 h 3391524"/>
                <a:gd name="connsiteX96" fmla="*/ 1967195 w 3362066"/>
                <a:gd name="connsiteY96" fmla="*/ 209428 h 3391524"/>
                <a:gd name="connsiteX97" fmla="*/ 1869416 w 3362066"/>
                <a:gd name="connsiteY97" fmla="*/ 193323 h 3391524"/>
                <a:gd name="connsiteX98" fmla="*/ 1732947 w 3362066"/>
                <a:gd name="connsiteY98" fmla="*/ 185573 h 3391524"/>
                <a:gd name="connsiteX99" fmla="*/ 1732947 w 3362066"/>
                <a:gd name="connsiteY99" fmla="*/ 818129 h 3391524"/>
                <a:gd name="connsiteX100" fmla="*/ 2224756 w 3362066"/>
                <a:gd name="connsiteY100" fmla="*/ 818129 h 3391524"/>
                <a:gd name="connsiteX101" fmla="*/ 2132642 w 3362066"/>
                <a:gd name="connsiteY101" fmla="*/ 1018941 h 3391524"/>
                <a:gd name="connsiteX102" fmla="*/ 1732947 w 3362066"/>
                <a:gd name="connsiteY102" fmla="*/ 1018941 h 3391524"/>
                <a:gd name="connsiteX103" fmla="*/ 1732947 w 3362066"/>
                <a:gd name="connsiteY103" fmla="*/ 1596595 h 3391524"/>
                <a:gd name="connsiteX104" fmla="*/ 2063964 w 3362066"/>
                <a:gd name="connsiteY104" fmla="*/ 1596595 h 3391524"/>
                <a:gd name="connsiteX105" fmla="*/ 1924258 w 3362066"/>
                <a:gd name="connsiteY105" fmla="*/ 1712711 h 3391524"/>
                <a:gd name="connsiteX106" fmla="*/ 1815019 w 3362066"/>
                <a:gd name="connsiteY106" fmla="*/ 1797408 h 3391524"/>
                <a:gd name="connsiteX107" fmla="*/ 1732947 w 3362066"/>
                <a:gd name="connsiteY107" fmla="*/ 1797408 h 3391524"/>
                <a:gd name="connsiteX108" fmla="*/ 1732947 w 3362066"/>
                <a:gd name="connsiteY108" fmla="*/ 1858449 h 3391524"/>
                <a:gd name="connsiteX109" fmla="*/ 1658571 w 3362066"/>
                <a:gd name="connsiteY109" fmla="*/ 1910772 h 3391524"/>
                <a:gd name="connsiteX110" fmla="*/ 1658571 w 3362066"/>
                <a:gd name="connsiteY110" fmla="*/ 1797408 h 3391524"/>
                <a:gd name="connsiteX111" fmla="*/ 896447 w 3362066"/>
                <a:gd name="connsiteY111" fmla="*/ 1797408 h 3391524"/>
                <a:gd name="connsiteX112" fmla="*/ 907564 w 3362066"/>
                <a:gd name="connsiteY112" fmla="*/ 2006064 h 3391524"/>
                <a:gd name="connsiteX113" fmla="*/ 946467 w 3362066"/>
                <a:gd name="connsiteY113" fmla="*/ 2243192 h 3391524"/>
                <a:gd name="connsiteX114" fmla="*/ 910284 w 3362066"/>
                <a:gd name="connsiteY114" fmla="*/ 2252024 h 3391524"/>
                <a:gd name="connsiteX115" fmla="*/ 837993 w 3362066"/>
                <a:gd name="connsiteY115" fmla="*/ 2260760 h 3391524"/>
                <a:gd name="connsiteX116" fmla="*/ 810325 w 3362066"/>
                <a:gd name="connsiteY116" fmla="*/ 2113048 h 3391524"/>
                <a:gd name="connsiteX117" fmla="*/ 785757 w 3362066"/>
                <a:gd name="connsiteY117" fmla="*/ 1864280 h 3391524"/>
                <a:gd name="connsiteX118" fmla="*/ 783886 w 3362066"/>
                <a:gd name="connsiteY118" fmla="*/ 1797408 h 3391524"/>
                <a:gd name="connsiteX119" fmla="*/ 188594 w 3362066"/>
                <a:gd name="connsiteY119" fmla="*/ 1797408 h 3391524"/>
                <a:gd name="connsiteX120" fmla="*/ 191269 w 3362066"/>
                <a:gd name="connsiteY120" fmla="*/ 1850386 h 3391524"/>
                <a:gd name="connsiteX121" fmla="*/ 212326 w 3362066"/>
                <a:gd name="connsiteY121" fmla="*/ 1991304 h 3391524"/>
                <a:gd name="connsiteX122" fmla="*/ 235664 w 3362066"/>
                <a:gd name="connsiteY122" fmla="*/ 2085719 h 3391524"/>
                <a:gd name="connsiteX123" fmla="*/ 223447 w 3362066"/>
                <a:gd name="connsiteY123" fmla="*/ 2076943 h 3391524"/>
                <a:gd name="connsiteX124" fmla="*/ 65563 w 3362066"/>
                <a:gd name="connsiteY124" fmla="*/ 1921896 h 3391524"/>
                <a:gd name="connsiteX125" fmla="*/ 7652 w 3362066"/>
                <a:gd name="connsiteY125" fmla="*/ 1847299 h 3391524"/>
                <a:gd name="connsiteX126" fmla="*/ 0 w 3362066"/>
                <a:gd name="connsiteY126" fmla="*/ 1695762 h 3391524"/>
                <a:gd name="connsiteX127" fmla="*/ 1695762 w 3362066"/>
                <a:gd name="connsiteY127"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741210 w 3362066"/>
                <a:gd name="connsiteY87" fmla="*/ 603013 h 3391524"/>
                <a:gd name="connsiteX88" fmla="*/ 2294999 w 3362066"/>
                <a:gd name="connsiteY88" fmla="*/ 306828 h 3391524"/>
                <a:gd name="connsiteX89" fmla="*/ 2221829 w 3362066"/>
                <a:gd name="connsiteY89" fmla="*/ 279343 h 3391524"/>
                <a:gd name="connsiteX90" fmla="*/ 2236234 w 3362066"/>
                <a:gd name="connsiteY90" fmla="*/ 295136 h 3391524"/>
                <a:gd name="connsiteX91" fmla="*/ 2434620 w 3362066"/>
                <a:gd name="connsiteY91" fmla="*/ 620472 h 3391524"/>
                <a:gd name="connsiteX92" fmla="*/ 2479189 w 3362066"/>
                <a:gd name="connsiteY92" fmla="*/ 728039 h 3391524"/>
                <a:gd name="connsiteX93" fmla="*/ 2375112 w 3362066"/>
                <a:gd name="connsiteY93" fmla="*/ 764890 h 3391524"/>
                <a:gd name="connsiteX94" fmla="*/ 2349822 w 3362066"/>
                <a:gd name="connsiteY94" fmla="*/ 700898 h 3391524"/>
                <a:gd name="connsiteX95" fmla="*/ 2034904 w 3362066"/>
                <a:gd name="connsiteY95" fmla="*/ 256318 h 3391524"/>
                <a:gd name="connsiteX96" fmla="*/ 1967195 w 3362066"/>
                <a:gd name="connsiteY96" fmla="*/ 209428 h 3391524"/>
                <a:gd name="connsiteX97" fmla="*/ 1869416 w 3362066"/>
                <a:gd name="connsiteY97" fmla="*/ 193323 h 3391524"/>
                <a:gd name="connsiteX98" fmla="*/ 1732947 w 3362066"/>
                <a:gd name="connsiteY98" fmla="*/ 185573 h 3391524"/>
                <a:gd name="connsiteX99" fmla="*/ 1732947 w 3362066"/>
                <a:gd name="connsiteY99" fmla="*/ 818129 h 3391524"/>
                <a:gd name="connsiteX100" fmla="*/ 2034256 w 3362066"/>
                <a:gd name="connsiteY100" fmla="*/ 837179 h 3391524"/>
                <a:gd name="connsiteX101" fmla="*/ 2132642 w 3362066"/>
                <a:gd name="connsiteY101" fmla="*/ 1018941 h 3391524"/>
                <a:gd name="connsiteX102" fmla="*/ 1732947 w 3362066"/>
                <a:gd name="connsiteY102" fmla="*/ 1018941 h 3391524"/>
                <a:gd name="connsiteX103" fmla="*/ 1732947 w 3362066"/>
                <a:gd name="connsiteY103" fmla="*/ 1596595 h 3391524"/>
                <a:gd name="connsiteX104" fmla="*/ 2063964 w 3362066"/>
                <a:gd name="connsiteY104" fmla="*/ 1596595 h 3391524"/>
                <a:gd name="connsiteX105" fmla="*/ 1924258 w 3362066"/>
                <a:gd name="connsiteY105" fmla="*/ 1712711 h 3391524"/>
                <a:gd name="connsiteX106" fmla="*/ 1815019 w 3362066"/>
                <a:gd name="connsiteY106" fmla="*/ 1797408 h 3391524"/>
                <a:gd name="connsiteX107" fmla="*/ 1732947 w 3362066"/>
                <a:gd name="connsiteY107" fmla="*/ 1797408 h 3391524"/>
                <a:gd name="connsiteX108" fmla="*/ 1732947 w 3362066"/>
                <a:gd name="connsiteY108" fmla="*/ 1858449 h 3391524"/>
                <a:gd name="connsiteX109" fmla="*/ 1658571 w 3362066"/>
                <a:gd name="connsiteY109" fmla="*/ 1910772 h 3391524"/>
                <a:gd name="connsiteX110" fmla="*/ 1658571 w 3362066"/>
                <a:gd name="connsiteY110" fmla="*/ 1797408 h 3391524"/>
                <a:gd name="connsiteX111" fmla="*/ 896447 w 3362066"/>
                <a:gd name="connsiteY111" fmla="*/ 1797408 h 3391524"/>
                <a:gd name="connsiteX112" fmla="*/ 907564 w 3362066"/>
                <a:gd name="connsiteY112" fmla="*/ 2006064 h 3391524"/>
                <a:gd name="connsiteX113" fmla="*/ 946467 w 3362066"/>
                <a:gd name="connsiteY113" fmla="*/ 2243192 h 3391524"/>
                <a:gd name="connsiteX114" fmla="*/ 910284 w 3362066"/>
                <a:gd name="connsiteY114" fmla="*/ 2252024 h 3391524"/>
                <a:gd name="connsiteX115" fmla="*/ 837993 w 3362066"/>
                <a:gd name="connsiteY115" fmla="*/ 2260760 h 3391524"/>
                <a:gd name="connsiteX116" fmla="*/ 810325 w 3362066"/>
                <a:gd name="connsiteY116" fmla="*/ 2113048 h 3391524"/>
                <a:gd name="connsiteX117" fmla="*/ 785757 w 3362066"/>
                <a:gd name="connsiteY117" fmla="*/ 1864280 h 3391524"/>
                <a:gd name="connsiteX118" fmla="*/ 783886 w 3362066"/>
                <a:gd name="connsiteY118" fmla="*/ 1797408 h 3391524"/>
                <a:gd name="connsiteX119" fmla="*/ 188594 w 3362066"/>
                <a:gd name="connsiteY119" fmla="*/ 1797408 h 3391524"/>
                <a:gd name="connsiteX120" fmla="*/ 191269 w 3362066"/>
                <a:gd name="connsiteY120" fmla="*/ 1850386 h 3391524"/>
                <a:gd name="connsiteX121" fmla="*/ 212326 w 3362066"/>
                <a:gd name="connsiteY121" fmla="*/ 1991304 h 3391524"/>
                <a:gd name="connsiteX122" fmla="*/ 235664 w 3362066"/>
                <a:gd name="connsiteY122" fmla="*/ 2085719 h 3391524"/>
                <a:gd name="connsiteX123" fmla="*/ 223447 w 3362066"/>
                <a:gd name="connsiteY123" fmla="*/ 2076943 h 3391524"/>
                <a:gd name="connsiteX124" fmla="*/ 65563 w 3362066"/>
                <a:gd name="connsiteY124" fmla="*/ 1921896 h 3391524"/>
                <a:gd name="connsiteX125" fmla="*/ 7652 w 3362066"/>
                <a:gd name="connsiteY125" fmla="*/ 1847299 h 3391524"/>
                <a:gd name="connsiteX126" fmla="*/ 0 w 3362066"/>
                <a:gd name="connsiteY126" fmla="*/ 1695762 h 3391524"/>
                <a:gd name="connsiteX127" fmla="*/ 1695762 w 3362066"/>
                <a:gd name="connsiteY127"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741210 w 3362066"/>
                <a:gd name="connsiteY87" fmla="*/ 603013 h 3391524"/>
                <a:gd name="connsiteX88" fmla="*/ 2294999 w 3362066"/>
                <a:gd name="connsiteY88" fmla="*/ 306828 h 3391524"/>
                <a:gd name="connsiteX89" fmla="*/ 2221829 w 3362066"/>
                <a:gd name="connsiteY89" fmla="*/ 279343 h 3391524"/>
                <a:gd name="connsiteX90" fmla="*/ 2236234 w 3362066"/>
                <a:gd name="connsiteY90" fmla="*/ 295136 h 3391524"/>
                <a:gd name="connsiteX91" fmla="*/ 2434620 w 3362066"/>
                <a:gd name="connsiteY91" fmla="*/ 620472 h 3391524"/>
                <a:gd name="connsiteX92" fmla="*/ 2479189 w 3362066"/>
                <a:gd name="connsiteY92" fmla="*/ 728039 h 3391524"/>
                <a:gd name="connsiteX93" fmla="*/ 2375112 w 3362066"/>
                <a:gd name="connsiteY93" fmla="*/ 764890 h 3391524"/>
                <a:gd name="connsiteX94" fmla="*/ 2349822 w 3362066"/>
                <a:gd name="connsiteY94" fmla="*/ 700898 h 3391524"/>
                <a:gd name="connsiteX95" fmla="*/ 2034904 w 3362066"/>
                <a:gd name="connsiteY95" fmla="*/ 256318 h 3391524"/>
                <a:gd name="connsiteX96" fmla="*/ 1967195 w 3362066"/>
                <a:gd name="connsiteY96" fmla="*/ 209428 h 3391524"/>
                <a:gd name="connsiteX97" fmla="*/ 1869416 w 3362066"/>
                <a:gd name="connsiteY97" fmla="*/ 193323 h 3391524"/>
                <a:gd name="connsiteX98" fmla="*/ 1732947 w 3362066"/>
                <a:gd name="connsiteY98" fmla="*/ 185573 h 3391524"/>
                <a:gd name="connsiteX99" fmla="*/ 1732947 w 3362066"/>
                <a:gd name="connsiteY99" fmla="*/ 818129 h 3391524"/>
                <a:gd name="connsiteX100" fmla="*/ 2034256 w 3362066"/>
                <a:gd name="connsiteY100" fmla="*/ 837179 h 3391524"/>
                <a:gd name="connsiteX101" fmla="*/ 1904042 w 3362066"/>
                <a:gd name="connsiteY101" fmla="*/ 1009416 h 3391524"/>
                <a:gd name="connsiteX102" fmla="*/ 1732947 w 3362066"/>
                <a:gd name="connsiteY102" fmla="*/ 1018941 h 3391524"/>
                <a:gd name="connsiteX103" fmla="*/ 1732947 w 3362066"/>
                <a:gd name="connsiteY103" fmla="*/ 1596595 h 3391524"/>
                <a:gd name="connsiteX104" fmla="*/ 2063964 w 3362066"/>
                <a:gd name="connsiteY104" fmla="*/ 1596595 h 3391524"/>
                <a:gd name="connsiteX105" fmla="*/ 1924258 w 3362066"/>
                <a:gd name="connsiteY105" fmla="*/ 1712711 h 3391524"/>
                <a:gd name="connsiteX106" fmla="*/ 1815019 w 3362066"/>
                <a:gd name="connsiteY106" fmla="*/ 1797408 h 3391524"/>
                <a:gd name="connsiteX107" fmla="*/ 1732947 w 3362066"/>
                <a:gd name="connsiteY107" fmla="*/ 1797408 h 3391524"/>
                <a:gd name="connsiteX108" fmla="*/ 1732947 w 3362066"/>
                <a:gd name="connsiteY108" fmla="*/ 1858449 h 3391524"/>
                <a:gd name="connsiteX109" fmla="*/ 1658571 w 3362066"/>
                <a:gd name="connsiteY109" fmla="*/ 1910772 h 3391524"/>
                <a:gd name="connsiteX110" fmla="*/ 1658571 w 3362066"/>
                <a:gd name="connsiteY110" fmla="*/ 1797408 h 3391524"/>
                <a:gd name="connsiteX111" fmla="*/ 896447 w 3362066"/>
                <a:gd name="connsiteY111" fmla="*/ 1797408 h 3391524"/>
                <a:gd name="connsiteX112" fmla="*/ 907564 w 3362066"/>
                <a:gd name="connsiteY112" fmla="*/ 2006064 h 3391524"/>
                <a:gd name="connsiteX113" fmla="*/ 946467 w 3362066"/>
                <a:gd name="connsiteY113" fmla="*/ 2243192 h 3391524"/>
                <a:gd name="connsiteX114" fmla="*/ 910284 w 3362066"/>
                <a:gd name="connsiteY114" fmla="*/ 2252024 h 3391524"/>
                <a:gd name="connsiteX115" fmla="*/ 837993 w 3362066"/>
                <a:gd name="connsiteY115" fmla="*/ 2260760 h 3391524"/>
                <a:gd name="connsiteX116" fmla="*/ 810325 w 3362066"/>
                <a:gd name="connsiteY116" fmla="*/ 2113048 h 3391524"/>
                <a:gd name="connsiteX117" fmla="*/ 785757 w 3362066"/>
                <a:gd name="connsiteY117" fmla="*/ 1864280 h 3391524"/>
                <a:gd name="connsiteX118" fmla="*/ 783886 w 3362066"/>
                <a:gd name="connsiteY118" fmla="*/ 1797408 h 3391524"/>
                <a:gd name="connsiteX119" fmla="*/ 188594 w 3362066"/>
                <a:gd name="connsiteY119" fmla="*/ 1797408 h 3391524"/>
                <a:gd name="connsiteX120" fmla="*/ 191269 w 3362066"/>
                <a:gd name="connsiteY120" fmla="*/ 1850386 h 3391524"/>
                <a:gd name="connsiteX121" fmla="*/ 212326 w 3362066"/>
                <a:gd name="connsiteY121" fmla="*/ 1991304 h 3391524"/>
                <a:gd name="connsiteX122" fmla="*/ 235664 w 3362066"/>
                <a:gd name="connsiteY122" fmla="*/ 2085719 h 3391524"/>
                <a:gd name="connsiteX123" fmla="*/ 223447 w 3362066"/>
                <a:gd name="connsiteY123" fmla="*/ 2076943 h 3391524"/>
                <a:gd name="connsiteX124" fmla="*/ 65563 w 3362066"/>
                <a:gd name="connsiteY124" fmla="*/ 1921896 h 3391524"/>
                <a:gd name="connsiteX125" fmla="*/ 7652 w 3362066"/>
                <a:gd name="connsiteY125" fmla="*/ 1847299 h 3391524"/>
                <a:gd name="connsiteX126" fmla="*/ 0 w 3362066"/>
                <a:gd name="connsiteY126" fmla="*/ 1695762 h 3391524"/>
                <a:gd name="connsiteX127" fmla="*/ 1695762 w 3362066"/>
                <a:gd name="connsiteY127"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741210 w 3362066"/>
                <a:gd name="connsiteY87" fmla="*/ 603013 h 3391524"/>
                <a:gd name="connsiteX88" fmla="*/ 2294999 w 3362066"/>
                <a:gd name="connsiteY88" fmla="*/ 306828 h 3391524"/>
                <a:gd name="connsiteX89" fmla="*/ 2221829 w 3362066"/>
                <a:gd name="connsiteY89" fmla="*/ 279343 h 3391524"/>
                <a:gd name="connsiteX90" fmla="*/ 2236234 w 3362066"/>
                <a:gd name="connsiteY90" fmla="*/ 295136 h 3391524"/>
                <a:gd name="connsiteX91" fmla="*/ 2434620 w 3362066"/>
                <a:gd name="connsiteY91" fmla="*/ 620472 h 3391524"/>
                <a:gd name="connsiteX92" fmla="*/ 2479189 w 3362066"/>
                <a:gd name="connsiteY92" fmla="*/ 728039 h 3391524"/>
                <a:gd name="connsiteX93" fmla="*/ 2375112 w 3362066"/>
                <a:gd name="connsiteY93" fmla="*/ 764890 h 3391524"/>
                <a:gd name="connsiteX94" fmla="*/ 2349822 w 3362066"/>
                <a:gd name="connsiteY94" fmla="*/ 700898 h 3391524"/>
                <a:gd name="connsiteX95" fmla="*/ 2034904 w 3362066"/>
                <a:gd name="connsiteY95" fmla="*/ 256318 h 3391524"/>
                <a:gd name="connsiteX96" fmla="*/ 1967195 w 3362066"/>
                <a:gd name="connsiteY96" fmla="*/ 209428 h 3391524"/>
                <a:gd name="connsiteX97" fmla="*/ 1869416 w 3362066"/>
                <a:gd name="connsiteY97" fmla="*/ 193323 h 3391524"/>
                <a:gd name="connsiteX98" fmla="*/ 1732947 w 3362066"/>
                <a:gd name="connsiteY98" fmla="*/ 185573 h 3391524"/>
                <a:gd name="connsiteX99" fmla="*/ 1732947 w 3362066"/>
                <a:gd name="connsiteY99" fmla="*/ 818129 h 3391524"/>
                <a:gd name="connsiteX100" fmla="*/ 2039422 w 3362066"/>
                <a:gd name="connsiteY100" fmla="*/ 826847 h 3391524"/>
                <a:gd name="connsiteX101" fmla="*/ 1904042 w 3362066"/>
                <a:gd name="connsiteY101" fmla="*/ 1009416 h 3391524"/>
                <a:gd name="connsiteX102" fmla="*/ 1732947 w 3362066"/>
                <a:gd name="connsiteY102" fmla="*/ 1018941 h 3391524"/>
                <a:gd name="connsiteX103" fmla="*/ 1732947 w 3362066"/>
                <a:gd name="connsiteY103" fmla="*/ 1596595 h 3391524"/>
                <a:gd name="connsiteX104" fmla="*/ 2063964 w 3362066"/>
                <a:gd name="connsiteY104" fmla="*/ 1596595 h 3391524"/>
                <a:gd name="connsiteX105" fmla="*/ 1924258 w 3362066"/>
                <a:gd name="connsiteY105" fmla="*/ 1712711 h 3391524"/>
                <a:gd name="connsiteX106" fmla="*/ 1815019 w 3362066"/>
                <a:gd name="connsiteY106" fmla="*/ 1797408 h 3391524"/>
                <a:gd name="connsiteX107" fmla="*/ 1732947 w 3362066"/>
                <a:gd name="connsiteY107" fmla="*/ 1797408 h 3391524"/>
                <a:gd name="connsiteX108" fmla="*/ 1732947 w 3362066"/>
                <a:gd name="connsiteY108" fmla="*/ 1858449 h 3391524"/>
                <a:gd name="connsiteX109" fmla="*/ 1658571 w 3362066"/>
                <a:gd name="connsiteY109" fmla="*/ 1910772 h 3391524"/>
                <a:gd name="connsiteX110" fmla="*/ 1658571 w 3362066"/>
                <a:gd name="connsiteY110" fmla="*/ 1797408 h 3391524"/>
                <a:gd name="connsiteX111" fmla="*/ 896447 w 3362066"/>
                <a:gd name="connsiteY111" fmla="*/ 1797408 h 3391524"/>
                <a:gd name="connsiteX112" fmla="*/ 907564 w 3362066"/>
                <a:gd name="connsiteY112" fmla="*/ 2006064 h 3391524"/>
                <a:gd name="connsiteX113" fmla="*/ 946467 w 3362066"/>
                <a:gd name="connsiteY113" fmla="*/ 2243192 h 3391524"/>
                <a:gd name="connsiteX114" fmla="*/ 910284 w 3362066"/>
                <a:gd name="connsiteY114" fmla="*/ 2252024 h 3391524"/>
                <a:gd name="connsiteX115" fmla="*/ 837993 w 3362066"/>
                <a:gd name="connsiteY115" fmla="*/ 2260760 h 3391524"/>
                <a:gd name="connsiteX116" fmla="*/ 810325 w 3362066"/>
                <a:gd name="connsiteY116" fmla="*/ 2113048 h 3391524"/>
                <a:gd name="connsiteX117" fmla="*/ 785757 w 3362066"/>
                <a:gd name="connsiteY117" fmla="*/ 1864280 h 3391524"/>
                <a:gd name="connsiteX118" fmla="*/ 783886 w 3362066"/>
                <a:gd name="connsiteY118" fmla="*/ 1797408 h 3391524"/>
                <a:gd name="connsiteX119" fmla="*/ 188594 w 3362066"/>
                <a:gd name="connsiteY119" fmla="*/ 1797408 h 3391524"/>
                <a:gd name="connsiteX120" fmla="*/ 191269 w 3362066"/>
                <a:gd name="connsiteY120" fmla="*/ 1850386 h 3391524"/>
                <a:gd name="connsiteX121" fmla="*/ 212326 w 3362066"/>
                <a:gd name="connsiteY121" fmla="*/ 1991304 h 3391524"/>
                <a:gd name="connsiteX122" fmla="*/ 235664 w 3362066"/>
                <a:gd name="connsiteY122" fmla="*/ 2085719 h 3391524"/>
                <a:gd name="connsiteX123" fmla="*/ 223447 w 3362066"/>
                <a:gd name="connsiteY123" fmla="*/ 2076943 h 3391524"/>
                <a:gd name="connsiteX124" fmla="*/ 65563 w 3362066"/>
                <a:gd name="connsiteY124" fmla="*/ 1921896 h 3391524"/>
                <a:gd name="connsiteX125" fmla="*/ 7652 w 3362066"/>
                <a:gd name="connsiteY125" fmla="*/ 1847299 h 3391524"/>
                <a:gd name="connsiteX126" fmla="*/ 0 w 3362066"/>
                <a:gd name="connsiteY126" fmla="*/ 1695762 h 3391524"/>
                <a:gd name="connsiteX127" fmla="*/ 1695762 w 3362066"/>
                <a:gd name="connsiteY127"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741210 w 3362066"/>
                <a:gd name="connsiteY87" fmla="*/ 603013 h 3391524"/>
                <a:gd name="connsiteX88" fmla="*/ 2294999 w 3362066"/>
                <a:gd name="connsiteY88" fmla="*/ 306828 h 3391524"/>
                <a:gd name="connsiteX89" fmla="*/ 2221829 w 3362066"/>
                <a:gd name="connsiteY89" fmla="*/ 279343 h 3391524"/>
                <a:gd name="connsiteX90" fmla="*/ 2236234 w 3362066"/>
                <a:gd name="connsiteY90" fmla="*/ 295136 h 3391524"/>
                <a:gd name="connsiteX91" fmla="*/ 2434620 w 3362066"/>
                <a:gd name="connsiteY91" fmla="*/ 620472 h 3391524"/>
                <a:gd name="connsiteX92" fmla="*/ 2479189 w 3362066"/>
                <a:gd name="connsiteY92" fmla="*/ 728039 h 3391524"/>
                <a:gd name="connsiteX93" fmla="*/ 2375112 w 3362066"/>
                <a:gd name="connsiteY93" fmla="*/ 764890 h 3391524"/>
                <a:gd name="connsiteX94" fmla="*/ 2349822 w 3362066"/>
                <a:gd name="connsiteY94" fmla="*/ 700898 h 3391524"/>
                <a:gd name="connsiteX95" fmla="*/ 2034904 w 3362066"/>
                <a:gd name="connsiteY95" fmla="*/ 256318 h 3391524"/>
                <a:gd name="connsiteX96" fmla="*/ 1967195 w 3362066"/>
                <a:gd name="connsiteY96" fmla="*/ 209428 h 3391524"/>
                <a:gd name="connsiteX97" fmla="*/ 1869416 w 3362066"/>
                <a:gd name="connsiteY97" fmla="*/ 193323 h 3391524"/>
                <a:gd name="connsiteX98" fmla="*/ 1732947 w 3362066"/>
                <a:gd name="connsiteY98" fmla="*/ 185573 h 3391524"/>
                <a:gd name="connsiteX99" fmla="*/ 1732947 w 3362066"/>
                <a:gd name="connsiteY99" fmla="*/ 818129 h 3391524"/>
                <a:gd name="connsiteX100" fmla="*/ 2039422 w 3362066"/>
                <a:gd name="connsiteY100" fmla="*/ 826847 h 3391524"/>
                <a:gd name="connsiteX101" fmla="*/ 1919541 w 3362066"/>
                <a:gd name="connsiteY101" fmla="*/ 1019749 h 3391524"/>
                <a:gd name="connsiteX102" fmla="*/ 1732947 w 3362066"/>
                <a:gd name="connsiteY102" fmla="*/ 1018941 h 3391524"/>
                <a:gd name="connsiteX103" fmla="*/ 1732947 w 3362066"/>
                <a:gd name="connsiteY103" fmla="*/ 1596595 h 3391524"/>
                <a:gd name="connsiteX104" fmla="*/ 2063964 w 3362066"/>
                <a:gd name="connsiteY104" fmla="*/ 1596595 h 3391524"/>
                <a:gd name="connsiteX105" fmla="*/ 1924258 w 3362066"/>
                <a:gd name="connsiteY105" fmla="*/ 1712711 h 3391524"/>
                <a:gd name="connsiteX106" fmla="*/ 1815019 w 3362066"/>
                <a:gd name="connsiteY106" fmla="*/ 1797408 h 3391524"/>
                <a:gd name="connsiteX107" fmla="*/ 1732947 w 3362066"/>
                <a:gd name="connsiteY107" fmla="*/ 1797408 h 3391524"/>
                <a:gd name="connsiteX108" fmla="*/ 1732947 w 3362066"/>
                <a:gd name="connsiteY108" fmla="*/ 1858449 h 3391524"/>
                <a:gd name="connsiteX109" fmla="*/ 1658571 w 3362066"/>
                <a:gd name="connsiteY109" fmla="*/ 1910772 h 3391524"/>
                <a:gd name="connsiteX110" fmla="*/ 1658571 w 3362066"/>
                <a:gd name="connsiteY110" fmla="*/ 1797408 h 3391524"/>
                <a:gd name="connsiteX111" fmla="*/ 896447 w 3362066"/>
                <a:gd name="connsiteY111" fmla="*/ 1797408 h 3391524"/>
                <a:gd name="connsiteX112" fmla="*/ 907564 w 3362066"/>
                <a:gd name="connsiteY112" fmla="*/ 2006064 h 3391524"/>
                <a:gd name="connsiteX113" fmla="*/ 946467 w 3362066"/>
                <a:gd name="connsiteY113" fmla="*/ 2243192 h 3391524"/>
                <a:gd name="connsiteX114" fmla="*/ 910284 w 3362066"/>
                <a:gd name="connsiteY114" fmla="*/ 2252024 h 3391524"/>
                <a:gd name="connsiteX115" fmla="*/ 837993 w 3362066"/>
                <a:gd name="connsiteY115" fmla="*/ 2260760 h 3391524"/>
                <a:gd name="connsiteX116" fmla="*/ 810325 w 3362066"/>
                <a:gd name="connsiteY116" fmla="*/ 2113048 h 3391524"/>
                <a:gd name="connsiteX117" fmla="*/ 785757 w 3362066"/>
                <a:gd name="connsiteY117" fmla="*/ 1864280 h 3391524"/>
                <a:gd name="connsiteX118" fmla="*/ 783886 w 3362066"/>
                <a:gd name="connsiteY118" fmla="*/ 1797408 h 3391524"/>
                <a:gd name="connsiteX119" fmla="*/ 188594 w 3362066"/>
                <a:gd name="connsiteY119" fmla="*/ 1797408 h 3391524"/>
                <a:gd name="connsiteX120" fmla="*/ 191269 w 3362066"/>
                <a:gd name="connsiteY120" fmla="*/ 1850386 h 3391524"/>
                <a:gd name="connsiteX121" fmla="*/ 212326 w 3362066"/>
                <a:gd name="connsiteY121" fmla="*/ 1991304 h 3391524"/>
                <a:gd name="connsiteX122" fmla="*/ 235664 w 3362066"/>
                <a:gd name="connsiteY122" fmla="*/ 2085719 h 3391524"/>
                <a:gd name="connsiteX123" fmla="*/ 223447 w 3362066"/>
                <a:gd name="connsiteY123" fmla="*/ 2076943 h 3391524"/>
                <a:gd name="connsiteX124" fmla="*/ 65563 w 3362066"/>
                <a:gd name="connsiteY124" fmla="*/ 1921896 h 3391524"/>
                <a:gd name="connsiteX125" fmla="*/ 7652 w 3362066"/>
                <a:gd name="connsiteY125" fmla="*/ 1847299 h 3391524"/>
                <a:gd name="connsiteX126" fmla="*/ 0 w 3362066"/>
                <a:gd name="connsiteY126" fmla="*/ 1695762 h 3391524"/>
                <a:gd name="connsiteX127" fmla="*/ 1695762 w 3362066"/>
                <a:gd name="connsiteY127"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741210 w 3362066"/>
                <a:gd name="connsiteY87" fmla="*/ 603013 h 3391524"/>
                <a:gd name="connsiteX88" fmla="*/ 2294999 w 3362066"/>
                <a:gd name="connsiteY88" fmla="*/ 306828 h 3391524"/>
                <a:gd name="connsiteX89" fmla="*/ 2221829 w 3362066"/>
                <a:gd name="connsiteY89" fmla="*/ 279343 h 3391524"/>
                <a:gd name="connsiteX90" fmla="*/ 2434620 w 3362066"/>
                <a:gd name="connsiteY90" fmla="*/ 620472 h 3391524"/>
                <a:gd name="connsiteX91" fmla="*/ 2479189 w 3362066"/>
                <a:gd name="connsiteY91" fmla="*/ 728039 h 3391524"/>
                <a:gd name="connsiteX92" fmla="*/ 2375112 w 3362066"/>
                <a:gd name="connsiteY92" fmla="*/ 764890 h 3391524"/>
                <a:gd name="connsiteX93" fmla="*/ 2349822 w 3362066"/>
                <a:gd name="connsiteY93" fmla="*/ 700898 h 3391524"/>
                <a:gd name="connsiteX94" fmla="*/ 2034904 w 3362066"/>
                <a:gd name="connsiteY94" fmla="*/ 256318 h 3391524"/>
                <a:gd name="connsiteX95" fmla="*/ 1967195 w 3362066"/>
                <a:gd name="connsiteY95" fmla="*/ 209428 h 3391524"/>
                <a:gd name="connsiteX96" fmla="*/ 1869416 w 3362066"/>
                <a:gd name="connsiteY96" fmla="*/ 193323 h 3391524"/>
                <a:gd name="connsiteX97" fmla="*/ 1732947 w 3362066"/>
                <a:gd name="connsiteY97" fmla="*/ 185573 h 3391524"/>
                <a:gd name="connsiteX98" fmla="*/ 1732947 w 3362066"/>
                <a:gd name="connsiteY98" fmla="*/ 818129 h 3391524"/>
                <a:gd name="connsiteX99" fmla="*/ 2039422 w 3362066"/>
                <a:gd name="connsiteY99" fmla="*/ 826847 h 3391524"/>
                <a:gd name="connsiteX100" fmla="*/ 1919541 w 3362066"/>
                <a:gd name="connsiteY100" fmla="*/ 1019749 h 3391524"/>
                <a:gd name="connsiteX101" fmla="*/ 1732947 w 3362066"/>
                <a:gd name="connsiteY101" fmla="*/ 1018941 h 3391524"/>
                <a:gd name="connsiteX102" fmla="*/ 1732947 w 3362066"/>
                <a:gd name="connsiteY102" fmla="*/ 1596595 h 3391524"/>
                <a:gd name="connsiteX103" fmla="*/ 2063964 w 3362066"/>
                <a:gd name="connsiteY103" fmla="*/ 1596595 h 3391524"/>
                <a:gd name="connsiteX104" fmla="*/ 1924258 w 3362066"/>
                <a:gd name="connsiteY104" fmla="*/ 1712711 h 3391524"/>
                <a:gd name="connsiteX105" fmla="*/ 1815019 w 3362066"/>
                <a:gd name="connsiteY105" fmla="*/ 1797408 h 3391524"/>
                <a:gd name="connsiteX106" fmla="*/ 1732947 w 3362066"/>
                <a:gd name="connsiteY106" fmla="*/ 1797408 h 3391524"/>
                <a:gd name="connsiteX107" fmla="*/ 1732947 w 3362066"/>
                <a:gd name="connsiteY107" fmla="*/ 1858449 h 3391524"/>
                <a:gd name="connsiteX108" fmla="*/ 1658571 w 3362066"/>
                <a:gd name="connsiteY108" fmla="*/ 1910772 h 3391524"/>
                <a:gd name="connsiteX109" fmla="*/ 1658571 w 3362066"/>
                <a:gd name="connsiteY109" fmla="*/ 1797408 h 3391524"/>
                <a:gd name="connsiteX110" fmla="*/ 896447 w 3362066"/>
                <a:gd name="connsiteY110" fmla="*/ 1797408 h 3391524"/>
                <a:gd name="connsiteX111" fmla="*/ 907564 w 3362066"/>
                <a:gd name="connsiteY111" fmla="*/ 2006064 h 3391524"/>
                <a:gd name="connsiteX112" fmla="*/ 946467 w 3362066"/>
                <a:gd name="connsiteY112" fmla="*/ 2243192 h 3391524"/>
                <a:gd name="connsiteX113" fmla="*/ 910284 w 3362066"/>
                <a:gd name="connsiteY113" fmla="*/ 2252024 h 3391524"/>
                <a:gd name="connsiteX114" fmla="*/ 837993 w 3362066"/>
                <a:gd name="connsiteY114" fmla="*/ 2260760 h 3391524"/>
                <a:gd name="connsiteX115" fmla="*/ 810325 w 3362066"/>
                <a:gd name="connsiteY115" fmla="*/ 2113048 h 3391524"/>
                <a:gd name="connsiteX116" fmla="*/ 785757 w 3362066"/>
                <a:gd name="connsiteY116" fmla="*/ 1864280 h 3391524"/>
                <a:gd name="connsiteX117" fmla="*/ 783886 w 3362066"/>
                <a:gd name="connsiteY117" fmla="*/ 1797408 h 3391524"/>
                <a:gd name="connsiteX118" fmla="*/ 188594 w 3362066"/>
                <a:gd name="connsiteY118" fmla="*/ 1797408 h 3391524"/>
                <a:gd name="connsiteX119" fmla="*/ 191269 w 3362066"/>
                <a:gd name="connsiteY119" fmla="*/ 1850386 h 3391524"/>
                <a:gd name="connsiteX120" fmla="*/ 212326 w 3362066"/>
                <a:gd name="connsiteY120" fmla="*/ 1991304 h 3391524"/>
                <a:gd name="connsiteX121" fmla="*/ 235664 w 3362066"/>
                <a:gd name="connsiteY121" fmla="*/ 2085719 h 3391524"/>
                <a:gd name="connsiteX122" fmla="*/ 223447 w 3362066"/>
                <a:gd name="connsiteY122" fmla="*/ 2076943 h 3391524"/>
                <a:gd name="connsiteX123" fmla="*/ 65563 w 3362066"/>
                <a:gd name="connsiteY123" fmla="*/ 1921896 h 3391524"/>
                <a:gd name="connsiteX124" fmla="*/ 7652 w 3362066"/>
                <a:gd name="connsiteY124" fmla="*/ 1847299 h 3391524"/>
                <a:gd name="connsiteX125" fmla="*/ 0 w 3362066"/>
                <a:gd name="connsiteY125" fmla="*/ 1695762 h 3391524"/>
                <a:gd name="connsiteX126" fmla="*/ 1695762 w 3362066"/>
                <a:gd name="connsiteY126"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294999 w 3362066"/>
                <a:gd name="connsiteY87" fmla="*/ 306828 h 3391524"/>
                <a:gd name="connsiteX88" fmla="*/ 2221829 w 3362066"/>
                <a:gd name="connsiteY88" fmla="*/ 279343 h 3391524"/>
                <a:gd name="connsiteX89" fmla="*/ 2434620 w 3362066"/>
                <a:gd name="connsiteY89" fmla="*/ 620472 h 3391524"/>
                <a:gd name="connsiteX90" fmla="*/ 2479189 w 3362066"/>
                <a:gd name="connsiteY90" fmla="*/ 728039 h 3391524"/>
                <a:gd name="connsiteX91" fmla="*/ 2375112 w 3362066"/>
                <a:gd name="connsiteY91" fmla="*/ 764890 h 3391524"/>
                <a:gd name="connsiteX92" fmla="*/ 2349822 w 3362066"/>
                <a:gd name="connsiteY92" fmla="*/ 700898 h 3391524"/>
                <a:gd name="connsiteX93" fmla="*/ 2034904 w 3362066"/>
                <a:gd name="connsiteY93" fmla="*/ 256318 h 3391524"/>
                <a:gd name="connsiteX94" fmla="*/ 1967195 w 3362066"/>
                <a:gd name="connsiteY94" fmla="*/ 209428 h 3391524"/>
                <a:gd name="connsiteX95" fmla="*/ 1869416 w 3362066"/>
                <a:gd name="connsiteY95" fmla="*/ 193323 h 3391524"/>
                <a:gd name="connsiteX96" fmla="*/ 1732947 w 3362066"/>
                <a:gd name="connsiteY96" fmla="*/ 185573 h 3391524"/>
                <a:gd name="connsiteX97" fmla="*/ 1732947 w 3362066"/>
                <a:gd name="connsiteY97" fmla="*/ 818129 h 3391524"/>
                <a:gd name="connsiteX98" fmla="*/ 2039422 w 3362066"/>
                <a:gd name="connsiteY98" fmla="*/ 826847 h 3391524"/>
                <a:gd name="connsiteX99" fmla="*/ 1919541 w 3362066"/>
                <a:gd name="connsiteY99" fmla="*/ 1019749 h 3391524"/>
                <a:gd name="connsiteX100" fmla="*/ 1732947 w 3362066"/>
                <a:gd name="connsiteY100" fmla="*/ 1018941 h 3391524"/>
                <a:gd name="connsiteX101" fmla="*/ 1732947 w 3362066"/>
                <a:gd name="connsiteY101" fmla="*/ 1596595 h 3391524"/>
                <a:gd name="connsiteX102" fmla="*/ 2063964 w 3362066"/>
                <a:gd name="connsiteY102" fmla="*/ 1596595 h 3391524"/>
                <a:gd name="connsiteX103" fmla="*/ 1924258 w 3362066"/>
                <a:gd name="connsiteY103" fmla="*/ 1712711 h 3391524"/>
                <a:gd name="connsiteX104" fmla="*/ 1815019 w 3362066"/>
                <a:gd name="connsiteY104" fmla="*/ 1797408 h 3391524"/>
                <a:gd name="connsiteX105" fmla="*/ 1732947 w 3362066"/>
                <a:gd name="connsiteY105" fmla="*/ 1797408 h 3391524"/>
                <a:gd name="connsiteX106" fmla="*/ 1732947 w 3362066"/>
                <a:gd name="connsiteY106" fmla="*/ 1858449 h 3391524"/>
                <a:gd name="connsiteX107" fmla="*/ 1658571 w 3362066"/>
                <a:gd name="connsiteY107" fmla="*/ 1910772 h 3391524"/>
                <a:gd name="connsiteX108" fmla="*/ 1658571 w 3362066"/>
                <a:gd name="connsiteY108" fmla="*/ 1797408 h 3391524"/>
                <a:gd name="connsiteX109" fmla="*/ 896447 w 3362066"/>
                <a:gd name="connsiteY109" fmla="*/ 1797408 h 3391524"/>
                <a:gd name="connsiteX110" fmla="*/ 907564 w 3362066"/>
                <a:gd name="connsiteY110" fmla="*/ 2006064 h 3391524"/>
                <a:gd name="connsiteX111" fmla="*/ 946467 w 3362066"/>
                <a:gd name="connsiteY111" fmla="*/ 2243192 h 3391524"/>
                <a:gd name="connsiteX112" fmla="*/ 910284 w 3362066"/>
                <a:gd name="connsiteY112" fmla="*/ 2252024 h 3391524"/>
                <a:gd name="connsiteX113" fmla="*/ 837993 w 3362066"/>
                <a:gd name="connsiteY113" fmla="*/ 2260760 h 3391524"/>
                <a:gd name="connsiteX114" fmla="*/ 810325 w 3362066"/>
                <a:gd name="connsiteY114" fmla="*/ 2113048 h 3391524"/>
                <a:gd name="connsiteX115" fmla="*/ 785757 w 3362066"/>
                <a:gd name="connsiteY115" fmla="*/ 1864280 h 3391524"/>
                <a:gd name="connsiteX116" fmla="*/ 783886 w 3362066"/>
                <a:gd name="connsiteY116" fmla="*/ 1797408 h 3391524"/>
                <a:gd name="connsiteX117" fmla="*/ 188594 w 3362066"/>
                <a:gd name="connsiteY117" fmla="*/ 1797408 h 3391524"/>
                <a:gd name="connsiteX118" fmla="*/ 191269 w 3362066"/>
                <a:gd name="connsiteY118" fmla="*/ 1850386 h 3391524"/>
                <a:gd name="connsiteX119" fmla="*/ 212326 w 3362066"/>
                <a:gd name="connsiteY119" fmla="*/ 1991304 h 3391524"/>
                <a:gd name="connsiteX120" fmla="*/ 235664 w 3362066"/>
                <a:gd name="connsiteY120" fmla="*/ 2085719 h 3391524"/>
                <a:gd name="connsiteX121" fmla="*/ 223447 w 3362066"/>
                <a:gd name="connsiteY121" fmla="*/ 2076943 h 3391524"/>
                <a:gd name="connsiteX122" fmla="*/ 65563 w 3362066"/>
                <a:gd name="connsiteY122" fmla="*/ 1921896 h 3391524"/>
                <a:gd name="connsiteX123" fmla="*/ 7652 w 3362066"/>
                <a:gd name="connsiteY123" fmla="*/ 1847299 h 3391524"/>
                <a:gd name="connsiteX124" fmla="*/ 0 w 3362066"/>
                <a:gd name="connsiteY124" fmla="*/ 1695762 h 3391524"/>
                <a:gd name="connsiteX125" fmla="*/ 1695762 w 3362066"/>
                <a:gd name="connsiteY125"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294999 w 3362066"/>
                <a:gd name="connsiteY87" fmla="*/ 306828 h 3391524"/>
                <a:gd name="connsiteX88" fmla="*/ 2221829 w 3362066"/>
                <a:gd name="connsiteY88" fmla="*/ 279343 h 3391524"/>
                <a:gd name="connsiteX89" fmla="*/ 2434620 w 3362066"/>
                <a:gd name="connsiteY89" fmla="*/ 620472 h 3391524"/>
                <a:gd name="connsiteX90" fmla="*/ 2479189 w 3362066"/>
                <a:gd name="connsiteY90" fmla="*/ 728039 h 3391524"/>
                <a:gd name="connsiteX91" fmla="*/ 2375112 w 3362066"/>
                <a:gd name="connsiteY91" fmla="*/ 764890 h 3391524"/>
                <a:gd name="connsiteX92" fmla="*/ 2349822 w 3362066"/>
                <a:gd name="connsiteY92" fmla="*/ 700898 h 3391524"/>
                <a:gd name="connsiteX93" fmla="*/ 2034904 w 3362066"/>
                <a:gd name="connsiteY93" fmla="*/ 256318 h 3391524"/>
                <a:gd name="connsiteX94" fmla="*/ 1967195 w 3362066"/>
                <a:gd name="connsiteY94" fmla="*/ 209428 h 3391524"/>
                <a:gd name="connsiteX95" fmla="*/ 1869416 w 3362066"/>
                <a:gd name="connsiteY95" fmla="*/ 193323 h 3391524"/>
                <a:gd name="connsiteX96" fmla="*/ 1732947 w 3362066"/>
                <a:gd name="connsiteY96" fmla="*/ 185573 h 3391524"/>
                <a:gd name="connsiteX97" fmla="*/ 1732947 w 3362066"/>
                <a:gd name="connsiteY97" fmla="*/ 818129 h 3391524"/>
                <a:gd name="connsiteX98" fmla="*/ 2039422 w 3362066"/>
                <a:gd name="connsiteY98" fmla="*/ 826847 h 3391524"/>
                <a:gd name="connsiteX99" fmla="*/ 1919541 w 3362066"/>
                <a:gd name="connsiteY99" fmla="*/ 1019749 h 3391524"/>
                <a:gd name="connsiteX100" fmla="*/ 1732947 w 3362066"/>
                <a:gd name="connsiteY100" fmla="*/ 1018941 h 3391524"/>
                <a:gd name="connsiteX101" fmla="*/ 1732947 w 3362066"/>
                <a:gd name="connsiteY101" fmla="*/ 1596595 h 3391524"/>
                <a:gd name="connsiteX102" fmla="*/ 2063964 w 3362066"/>
                <a:gd name="connsiteY102" fmla="*/ 1596595 h 3391524"/>
                <a:gd name="connsiteX103" fmla="*/ 1924258 w 3362066"/>
                <a:gd name="connsiteY103" fmla="*/ 1712711 h 3391524"/>
                <a:gd name="connsiteX104" fmla="*/ 1815019 w 3362066"/>
                <a:gd name="connsiteY104" fmla="*/ 1797408 h 3391524"/>
                <a:gd name="connsiteX105" fmla="*/ 1732947 w 3362066"/>
                <a:gd name="connsiteY105" fmla="*/ 1797408 h 3391524"/>
                <a:gd name="connsiteX106" fmla="*/ 1732947 w 3362066"/>
                <a:gd name="connsiteY106" fmla="*/ 1858449 h 3391524"/>
                <a:gd name="connsiteX107" fmla="*/ 1658571 w 3362066"/>
                <a:gd name="connsiteY107" fmla="*/ 1910772 h 3391524"/>
                <a:gd name="connsiteX108" fmla="*/ 1658571 w 3362066"/>
                <a:gd name="connsiteY108" fmla="*/ 1797408 h 3391524"/>
                <a:gd name="connsiteX109" fmla="*/ 896447 w 3362066"/>
                <a:gd name="connsiteY109" fmla="*/ 1797408 h 3391524"/>
                <a:gd name="connsiteX110" fmla="*/ 907564 w 3362066"/>
                <a:gd name="connsiteY110" fmla="*/ 2006064 h 3391524"/>
                <a:gd name="connsiteX111" fmla="*/ 946467 w 3362066"/>
                <a:gd name="connsiteY111" fmla="*/ 2243192 h 3391524"/>
                <a:gd name="connsiteX112" fmla="*/ 837993 w 3362066"/>
                <a:gd name="connsiteY112" fmla="*/ 2260760 h 3391524"/>
                <a:gd name="connsiteX113" fmla="*/ 810325 w 3362066"/>
                <a:gd name="connsiteY113" fmla="*/ 2113048 h 3391524"/>
                <a:gd name="connsiteX114" fmla="*/ 785757 w 3362066"/>
                <a:gd name="connsiteY114" fmla="*/ 1864280 h 3391524"/>
                <a:gd name="connsiteX115" fmla="*/ 783886 w 3362066"/>
                <a:gd name="connsiteY115" fmla="*/ 1797408 h 3391524"/>
                <a:gd name="connsiteX116" fmla="*/ 188594 w 3362066"/>
                <a:gd name="connsiteY116" fmla="*/ 1797408 h 3391524"/>
                <a:gd name="connsiteX117" fmla="*/ 191269 w 3362066"/>
                <a:gd name="connsiteY117" fmla="*/ 1850386 h 3391524"/>
                <a:gd name="connsiteX118" fmla="*/ 212326 w 3362066"/>
                <a:gd name="connsiteY118" fmla="*/ 1991304 h 3391524"/>
                <a:gd name="connsiteX119" fmla="*/ 235664 w 3362066"/>
                <a:gd name="connsiteY119" fmla="*/ 2085719 h 3391524"/>
                <a:gd name="connsiteX120" fmla="*/ 223447 w 3362066"/>
                <a:gd name="connsiteY120" fmla="*/ 2076943 h 3391524"/>
                <a:gd name="connsiteX121" fmla="*/ 65563 w 3362066"/>
                <a:gd name="connsiteY121" fmla="*/ 1921896 h 3391524"/>
                <a:gd name="connsiteX122" fmla="*/ 7652 w 3362066"/>
                <a:gd name="connsiteY122" fmla="*/ 1847299 h 3391524"/>
                <a:gd name="connsiteX123" fmla="*/ 0 w 3362066"/>
                <a:gd name="connsiteY123" fmla="*/ 1695762 h 3391524"/>
                <a:gd name="connsiteX124" fmla="*/ 1695762 w 3362066"/>
                <a:gd name="connsiteY124"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294999 w 3362066"/>
                <a:gd name="connsiteY87" fmla="*/ 306828 h 3391524"/>
                <a:gd name="connsiteX88" fmla="*/ 2221829 w 3362066"/>
                <a:gd name="connsiteY88" fmla="*/ 279343 h 3391524"/>
                <a:gd name="connsiteX89" fmla="*/ 2434620 w 3362066"/>
                <a:gd name="connsiteY89" fmla="*/ 620472 h 3391524"/>
                <a:gd name="connsiteX90" fmla="*/ 2479189 w 3362066"/>
                <a:gd name="connsiteY90" fmla="*/ 728039 h 3391524"/>
                <a:gd name="connsiteX91" fmla="*/ 2375112 w 3362066"/>
                <a:gd name="connsiteY91" fmla="*/ 764890 h 3391524"/>
                <a:gd name="connsiteX92" fmla="*/ 2349822 w 3362066"/>
                <a:gd name="connsiteY92" fmla="*/ 700898 h 3391524"/>
                <a:gd name="connsiteX93" fmla="*/ 2034904 w 3362066"/>
                <a:gd name="connsiteY93" fmla="*/ 256318 h 3391524"/>
                <a:gd name="connsiteX94" fmla="*/ 1967195 w 3362066"/>
                <a:gd name="connsiteY94" fmla="*/ 209428 h 3391524"/>
                <a:gd name="connsiteX95" fmla="*/ 1869416 w 3362066"/>
                <a:gd name="connsiteY95" fmla="*/ 193323 h 3391524"/>
                <a:gd name="connsiteX96" fmla="*/ 1732947 w 3362066"/>
                <a:gd name="connsiteY96" fmla="*/ 185573 h 3391524"/>
                <a:gd name="connsiteX97" fmla="*/ 1732947 w 3362066"/>
                <a:gd name="connsiteY97" fmla="*/ 818129 h 3391524"/>
                <a:gd name="connsiteX98" fmla="*/ 2039422 w 3362066"/>
                <a:gd name="connsiteY98" fmla="*/ 826847 h 3391524"/>
                <a:gd name="connsiteX99" fmla="*/ 1919541 w 3362066"/>
                <a:gd name="connsiteY99" fmla="*/ 1019749 h 3391524"/>
                <a:gd name="connsiteX100" fmla="*/ 1732947 w 3362066"/>
                <a:gd name="connsiteY100" fmla="*/ 1018941 h 3391524"/>
                <a:gd name="connsiteX101" fmla="*/ 1732947 w 3362066"/>
                <a:gd name="connsiteY101" fmla="*/ 1596595 h 3391524"/>
                <a:gd name="connsiteX102" fmla="*/ 2063964 w 3362066"/>
                <a:gd name="connsiteY102" fmla="*/ 1596595 h 3391524"/>
                <a:gd name="connsiteX103" fmla="*/ 1924258 w 3362066"/>
                <a:gd name="connsiteY103" fmla="*/ 1712711 h 3391524"/>
                <a:gd name="connsiteX104" fmla="*/ 1815019 w 3362066"/>
                <a:gd name="connsiteY104" fmla="*/ 1797408 h 3391524"/>
                <a:gd name="connsiteX105" fmla="*/ 1732947 w 3362066"/>
                <a:gd name="connsiteY105" fmla="*/ 1797408 h 3391524"/>
                <a:gd name="connsiteX106" fmla="*/ 1732947 w 3362066"/>
                <a:gd name="connsiteY106" fmla="*/ 1858449 h 3391524"/>
                <a:gd name="connsiteX107" fmla="*/ 1658571 w 3362066"/>
                <a:gd name="connsiteY107" fmla="*/ 1910772 h 3391524"/>
                <a:gd name="connsiteX108" fmla="*/ 1658571 w 3362066"/>
                <a:gd name="connsiteY108" fmla="*/ 1797408 h 3391524"/>
                <a:gd name="connsiteX109" fmla="*/ 896447 w 3362066"/>
                <a:gd name="connsiteY109" fmla="*/ 1797408 h 3391524"/>
                <a:gd name="connsiteX110" fmla="*/ 907564 w 3362066"/>
                <a:gd name="connsiteY110" fmla="*/ 2006064 h 3391524"/>
                <a:gd name="connsiteX111" fmla="*/ 946467 w 3362066"/>
                <a:gd name="connsiteY111" fmla="*/ 2243192 h 3391524"/>
                <a:gd name="connsiteX112" fmla="*/ 837993 w 3362066"/>
                <a:gd name="connsiteY112" fmla="*/ 2260760 h 3391524"/>
                <a:gd name="connsiteX113" fmla="*/ 810325 w 3362066"/>
                <a:gd name="connsiteY113" fmla="*/ 2113048 h 3391524"/>
                <a:gd name="connsiteX114" fmla="*/ 785757 w 3362066"/>
                <a:gd name="connsiteY114" fmla="*/ 1864280 h 3391524"/>
                <a:gd name="connsiteX115" fmla="*/ 783886 w 3362066"/>
                <a:gd name="connsiteY115" fmla="*/ 1797408 h 3391524"/>
                <a:gd name="connsiteX116" fmla="*/ 188594 w 3362066"/>
                <a:gd name="connsiteY116" fmla="*/ 1797408 h 3391524"/>
                <a:gd name="connsiteX117" fmla="*/ 191269 w 3362066"/>
                <a:gd name="connsiteY117" fmla="*/ 1850386 h 3391524"/>
                <a:gd name="connsiteX118" fmla="*/ 212326 w 3362066"/>
                <a:gd name="connsiteY118" fmla="*/ 1991304 h 3391524"/>
                <a:gd name="connsiteX119" fmla="*/ 235664 w 3362066"/>
                <a:gd name="connsiteY119" fmla="*/ 2085719 h 3391524"/>
                <a:gd name="connsiteX120" fmla="*/ 223447 w 3362066"/>
                <a:gd name="connsiteY120" fmla="*/ 2076943 h 3391524"/>
                <a:gd name="connsiteX121" fmla="*/ 65563 w 3362066"/>
                <a:gd name="connsiteY121" fmla="*/ 1921896 h 3391524"/>
                <a:gd name="connsiteX122" fmla="*/ 7652 w 3362066"/>
                <a:gd name="connsiteY122" fmla="*/ 1847299 h 3391524"/>
                <a:gd name="connsiteX123" fmla="*/ 0 w 3362066"/>
                <a:gd name="connsiteY123" fmla="*/ 1695762 h 3391524"/>
                <a:gd name="connsiteX124" fmla="*/ 1695762 w 3362066"/>
                <a:gd name="connsiteY124"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294999 w 3362066"/>
                <a:gd name="connsiteY87" fmla="*/ 306828 h 3391524"/>
                <a:gd name="connsiteX88" fmla="*/ 2221829 w 3362066"/>
                <a:gd name="connsiteY88" fmla="*/ 279343 h 3391524"/>
                <a:gd name="connsiteX89" fmla="*/ 2434620 w 3362066"/>
                <a:gd name="connsiteY89" fmla="*/ 620472 h 3391524"/>
                <a:gd name="connsiteX90" fmla="*/ 2479189 w 3362066"/>
                <a:gd name="connsiteY90" fmla="*/ 728039 h 3391524"/>
                <a:gd name="connsiteX91" fmla="*/ 2375112 w 3362066"/>
                <a:gd name="connsiteY91" fmla="*/ 764890 h 3391524"/>
                <a:gd name="connsiteX92" fmla="*/ 2349822 w 3362066"/>
                <a:gd name="connsiteY92" fmla="*/ 700898 h 3391524"/>
                <a:gd name="connsiteX93" fmla="*/ 2034904 w 3362066"/>
                <a:gd name="connsiteY93" fmla="*/ 256318 h 3391524"/>
                <a:gd name="connsiteX94" fmla="*/ 1967195 w 3362066"/>
                <a:gd name="connsiteY94" fmla="*/ 209428 h 3391524"/>
                <a:gd name="connsiteX95" fmla="*/ 1869416 w 3362066"/>
                <a:gd name="connsiteY95" fmla="*/ 193323 h 3391524"/>
                <a:gd name="connsiteX96" fmla="*/ 1732947 w 3362066"/>
                <a:gd name="connsiteY96" fmla="*/ 185573 h 3391524"/>
                <a:gd name="connsiteX97" fmla="*/ 1732947 w 3362066"/>
                <a:gd name="connsiteY97" fmla="*/ 818129 h 3391524"/>
                <a:gd name="connsiteX98" fmla="*/ 2039422 w 3362066"/>
                <a:gd name="connsiteY98" fmla="*/ 826847 h 3391524"/>
                <a:gd name="connsiteX99" fmla="*/ 1919541 w 3362066"/>
                <a:gd name="connsiteY99" fmla="*/ 1019749 h 3391524"/>
                <a:gd name="connsiteX100" fmla="*/ 1732947 w 3362066"/>
                <a:gd name="connsiteY100" fmla="*/ 1018941 h 3391524"/>
                <a:gd name="connsiteX101" fmla="*/ 1732947 w 3362066"/>
                <a:gd name="connsiteY101" fmla="*/ 1596595 h 3391524"/>
                <a:gd name="connsiteX102" fmla="*/ 2063964 w 3362066"/>
                <a:gd name="connsiteY102" fmla="*/ 1596595 h 3391524"/>
                <a:gd name="connsiteX103" fmla="*/ 1924258 w 3362066"/>
                <a:gd name="connsiteY103" fmla="*/ 1712711 h 3391524"/>
                <a:gd name="connsiteX104" fmla="*/ 1815019 w 3362066"/>
                <a:gd name="connsiteY104" fmla="*/ 1797408 h 3391524"/>
                <a:gd name="connsiteX105" fmla="*/ 1732947 w 3362066"/>
                <a:gd name="connsiteY105" fmla="*/ 1797408 h 3391524"/>
                <a:gd name="connsiteX106" fmla="*/ 1732947 w 3362066"/>
                <a:gd name="connsiteY106" fmla="*/ 1858449 h 3391524"/>
                <a:gd name="connsiteX107" fmla="*/ 1658571 w 3362066"/>
                <a:gd name="connsiteY107" fmla="*/ 1910772 h 3391524"/>
                <a:gd name="connsiteX108" fmla="*/ 1658571 w 3362066"/>
                <a:gd name="connsiteY108" fmla="*/ 1797408 h 3391524"/>
                <a:gd name="connsiteX109" fmla="*/ 896447 w 3362066"/>
                <a:gd name="connsiteY109" fmla="*/ 1797408 h 3391524"/>
                <a:gd name="connsiteX110" fmla="*/ 907564 w 3362066"/>
                <a:gd name="connsiteY110" fmla="*/ 2006064 h 3391524"/>
                <a:gd name="connsiteX111" fmla="*/ 946467 w 3362066"/>
                <a:gd name="connsiteY111" fmla="*/ 2243192 h 3391524"/>
                <a:gd name="connsiteX112" fmla="*/ 837993 w 3362066"/>
                <a:gd name="connsiteY112" fmla="*/ 2260760 h 3391524"/>
                <a:gd name="connsiteX113" fmla="*/ 810325 w 3362066"/>
                <a:gd name="connsiteY113" fmla="*/ 2113048 h 3391524"/>
                <a:gd name="connsiteX114" fmla="*/ 785757 w 3362066"/>
                <a:gd name="connsiteY114" fmla="*/ 1864280 h 3391524"/>
                <a:gd name="connsiteX115" fmla="*/ 783886 w 3362066"/>
                <a:gd name="connsiteY115" fmla="*/ 1797408 h 3391524"/>
                <a:gd name="connsiteX116" fmla="*/ 188594 w 3362066"/>
                <a:gd name="connsiteY116" fmla="*/ 1797408 h 3391524"/>
                <a:gd name="connsiteX117" fmla="*/ 191269 w 3362066"/>
                <a:gd name="connsiteY117" fmla="*/ 1850386 h 3391524"/>
                <a:gd name="connsiteX118" fmla="*/ 212326 w 3362066"/>
                <a:gd name="connsiteY118" fmla="*/ 1991304 h 3391524"/>
                <a:gd name="connsiteX119" fmla="*/ 235664 w 3362066"/>
                <a:gd name="connsiteY119" fmla="*/ 2085719 h 3391524"/>
                <a:gd name="connsiteX120" fmla="*/ 223447 w 3362066"/>
                <a:gd name="connsiteY120" fmla="*/ 2076943 h 3391524"/>
                <a:gd name="connsiteX121" fmla="*/ 65563 w 3362066"/>
                <a:gd name="connsiteY121" fmla="*/ 1921896 h 3391524"/>
                <a:gd name="connsiteX122" fmla="*/ 7652 w 3362066"/>
                <a:gd name="connsiteY122" fmla="*/ 1847299 h 3391524"/>
                <a:gd name="connsiteX123" fmla="*/ 0 w 3362066"/>
                <a:gd name="connsiteY123" fmla="*/ 1695762 h 3391524"/>
                <a:gd name="connsiteX124" fmla="*/ 1695762 w 3362066"/>
                <a:gd name="connsiteY124"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294999 w 3362066"/>
                <a:gd name="connsiteY87" fmla="*/ 306828 h 3391524"/>
                <a:gd name="connsiteX88" fmla="*/ 2221829 w 3362066"/>
                <a:gd name="connsiteY88" fmla="*/ 279343 h 3391524"/>
                <a:gd name="connsiteX89" fmla="*/ 2434620 w 3362066"/>
                <a:gd name="connsiteY89" fmla="*/ 620472 h 3391524"/>
                <a:gd name="connsiteX90" fmla="*/ 2479189 w 3362066"/>
                <a:gd name="connsiteY90" fmla="*/ 728039 h 3391524"/>
                <a:gd name="connsiteX91" fmla="*/ 2375112 w 3362066"/>
                <a:gd name="connsiteY91" fmla="*/ 764890 h 3391524"/>
                <a:gd name="connsiteX92" fmla="*/ 2349822 w 3362066"/>
                <a:gd name="connsiteY92" fmla="*/ 700898 h 3391524"/>
                <a:gd name="connsiteX93" fmla="*/ 2034904 w 3362066"/>
                <a:gd name="connsiteY93" fmla="*/ 256318 h 3391524"/>
                <a:gd name="connsiteX94" fmla="*/ 1967195 w 3362066"/>
                <a:gd name="connsiteY94" fmla="*/ 209428 h 3391524"/>
                <a:gd name="connsiteX95" fmla="*/ 1869416 w 3362066"/>
                <a:gd name="connsiteY95" fmla="*/ 193323 h 3391524"/>
                <a:gd name="connsiteX96" fmla="*/ 1732947 w 3362066"/>
                <a:gd name="connsiteY96" fmla="*/ 185573 h 3391524"/>
                <a:gd name="connsiteX97" fmla="*/ 1732947 w 3362066"/>
                <a:gd name="connsiteY97" fmla="*/ 818129 h 3391524"/>
                <a:gd name="connsiteX98" fmla="*/ 2039422 w 3362066"/>
                <a:gd name="connsiteY98" fmla="*/ 811348 h 3391524"/>
                <a:gd name="connsiteX99" fmla="*/ 1919541 w 3362066"/>
                <a:gd name="connsiteY99" fmla="*/ 1019749 h 3391524"/>
                <a:gd name="connsiteX100" fmla="*/ 1732947 w 3362066"/>
                <a:gd name="connsiteY100" fmla="*/ 1018941 h 3391524"/>
                <a:gd name="connsiteX101" fmla="*/ 1732947 w 3362066"/>
                <a:gd name="connsiteY101" fmla="*/ 1596595 h 3391524"/>
                <a:gd name="connsiteX102" fmla="*/ 2063964 w 3362066"/>
                <a:gd name="connsiteY102" fmla="*/ 1596595 h 3391524"/>
                <a:gd name="connsiteX103" fmla="*/ 1924258 w 3362066"/>
                <a:gd name="connsiteY103" fmla="*/ 1712711 h 3391524"/>
                <a:gd name="connsiteX104" fmla="*/ 1815019 w 3362066"/>
                <a:gd name="connsiteY104" fmla="*/ 1797408 h 3391524"/>
                <a:gd name="connsiteX105" fmla="*/ 1732947 w 3362066"/>
                <a:gd name="connsiteY105" fmla="*/ 1797408 h 3391524"/>
                <a:gd name="connsiteX106" fmla="*/ 1732947 w 3362066"/>
                <a:gd name="connsiteY106" fmla="*/ 1858449 h 3391524"/>
                <a:gd name="connsiteX107" fmla="*/ 1658571 w 3362066"/>
                <a:gd name="connsiteY107" fmla="*/ 1910772 h 3391524"/>
                <a:gd name="connsiteX108" fmla="*/ 1658571 w 3362066"/>
                <a:gd name="connsiteY108" fmla="*/ 1797408 h 3391524"/>
                <a:gd name="connsiteX109" fmla="*/ 896447 w 3362066"/>
                <a:gd name="connsiteY109" fmla="*/ 1797408 h 3391524"/>
                <a:gd name="connsiteX110" fmla="*/ 907564 w 3362066"/>
                <a:gd name="connsiteY110" fmla="*/ 2006064 h 3391524"/>
                <a:gd name="connsiteX111" fmla="*/ 946467 w 3362066"/>
                <a:gd name="connsiteY111" fmla="*/ 2243192 h 3391524"/>
                <a:gd name="connsiteX112" fmla="*/ 837993 w 3362066"/>
                <a:gd name="connsiteY112" fmla="*/ 2260760 h 3391524"/>
                <a:gd name="connsiteX113" fmla="*/ 810325 w 3362066"/>
                <a:gd name="connsiteY113" fmla="*/ 2113048 h 3391524"/>
                <a:gd name="connsiteX114" fmla="*/ 785757 w 3362066"/>
                <a:gd name="connsiteY114" fmla="*/ 1864280 h 3391524"/>
                <a:gd name="connsiteX115" fmla="*/ 783886 w 3362066"/>
                <a:gd name="connsiteY115" fmla="*/ 1797408 h 3391524"/>
                <a:gd name="connsiteX116" fmla="*/ 188594 w 3362066"/>
                <a:gd name="connsiteY116" fmla="*/ 1797408 h 3391524"/>
                <a:gd name="connsiteX117" fmla="*/ 191269 w 3362066"/>
                <a:gd name="connsiteY117" fmla="*/ 1850386 h 3391524"/>
                <a:gd name="connsiteX118" fmla="*/ 212326 w 3362066"/>
                <a:gd name="connsiteY118" fmla="*/ 1991304 h 3391524"/>
                <a:gd name="connsiteX119" fmla="*/ 235664 w 3362066"/>
                <a:gd name="connsiteY119" fmla="*/ 2085719 h 3391524"/>
                <a:gd name="connsiteX120" fmla="*/ 223447 w 3362066"/>
                <a:gd name="connsiteY120" fmla="*/ 2076943 h 3391524"/>
                <a:gd name="connsiteX121" fmla="*/ 65563 w 3362066"/>
                <a:gd name="connsiteY121" fmla="*/ 1921896 h 3391524"/>
                <a:gd name="connsiteX122" fmla="*/ 7652 w 3362066"/>
                <a:gd name="connsiteY122" fmla="*/ 1847299 h 3391524"/>
                <a:gd name="connsiteX123" fmla="*/ 0 w 3362066"/>
                <a:gd name="connsiteY123" fmla="*/ 1695762 h 3391524"/>
                <a:gd name="connsiteX124" fmla="*/ 1695762 w 3362066"/>
                <a:gd name="connsiteY124"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042618 w 3362066"/>
                <a:gd name="connsiteY47" fmla="*/ 2384240 h 3391524"/>
                <a:gd name="connsiteX48" fmla="*/ 3179199 w 3362066"/>
                <a:gd name="connsiteY48" fmla="*/ 1991304 h 3391524"/>
                <a:gd name="connsiteX49" fmla="*/ 3197400 w 3362066"/>
                <a:gd name="connsiteY49" fmla="*/ 1869492 h 3391524"/>
                <a:gd name="connsiteX50" fmla="*/ 974651 w 3362066"/>
                <a:gd name="connsiteY50" fmla="*/ 1018941 h 3391524"/>
                <a:gd name="connsiteX51" fmla="*/ 955549 w 3362066"/>
                <a:gd name="connsiteY51" fmla="*/ 1085530 h 3391524"/>
                <a:gd name="connsiteX52" fmla="*/ 907564 w 3362066"/>
                <a:gd name="connsiteY52" fmla="*/ 1378013 h 3391524"/>
                <a:gd name="connsiteX53" fmla="*/ 895917 w 3362066"/>
                <a:gd name="connsiteY53" fmla="*/ 1596595 h 3391524"/>
                <a:gd name="connsiteX54" fmla="*/ 1658571 w 3362066"/>
                <a:gd name="connsiteY54" fmla="*/ 1596595 h 3391524"/>
                <a:gd name="connsiteX55" fmla="*/ 1658571 w 3362066"/>
                <a:gd name="connsiteY55" fmla="*/ 1018941 h 3391524"/>
                <a:gd name="connsiteX56" fmla="*/ 974651 w 3362066"/>
                <a:gd name="connsiteY56" fmla="*/ 1018941 h 3391524"/>
                <a:gd name="connsiteX57" fmla="*/ 344777 w 3362066"/>
                <a:gd name="connsiteY57" fmla="*/ 1018941 h 3391524"/>
                <a:gd name="connsiteX58" fmla="*/ 302306 w 3362066"/>
                <a:gd name="connsiteY58" fmla="*/ 1107107 h 3391524"/>
                <a:gd name="connsiteX59" fmla="*/ 191269 w 3362066"/>
                <a:gd name="connsiteY59" fmla="*/ 1541138 h 3391524"/>
                <a:gd name="connsiteX60" fmla="*/ 188469 w 3362066"/>
                <a:gd name="connsiteY60" fmla="*/ 1596595 h 3391524"/>
                <a:gd name="connsiteX61" fmla="*/ 783608 w 3362066"/>
                <a:gd name="connsiteY61" fmla="*/ 1596595 h 3391524"/>
                <a:gd name="connsiteX62" fmla="*/ 785757 w 3362066"/>
                <a:gd name="connsiteY62" fmla="*/ 1519797 h 3391524"/>
                <a:gd name="connsiteX63" fmla="*/ 854291 w 3362066"/>
                <a:gd name="connsiteY63" fmla="*/ 1036313 h 3391524"/>
                <a:gd name="connsiteX64" fmla="*/ 858928 w 3362066"/>
                <a:gd name="connsiteY64" fmla="*/ 1018941 h 3391524"/>
                <a:gd name="connsiteX65" fmla="*/ 344777 w 3362066"/>
                <a:gd name="connsiteY65" fmla="*/ 1018941 h 3391524"/>
                <a:gd name="connsiteX66" fmla="*/ 1226253 w 3362066"/>
                <a:gd name="connsiteY66" fmla="*/ 258097 h 3391524"/>
                <a:gd name="connsiteX67" fmla="*/ 1096526 w 3362066"/>
                <a:gd name="connsiteY67" fmla="*/ 306828 h 3391524"/>
                <a:gd name="connsiteX68" fmla="*/ 528798 w 3362066"/>
                <a:gd name="connsiteY68" fmla="*/ 733798 h 3391524"/>
                <a:gd name="connsiteX69" fmla="*/ 465736 w 3362066"/>
                <a:gd name="connsiteY69" fmla="*/ 818129 h 3391524"/>
                <a:gd name="connsiteX70" fmla="*/ 917471 w 3362066"/>
                <a:gd name="connsiteY70" fmla="*/ 818129 h 3391524"/>
                <a:gd name="connsiteX71" fmla="*/ 940351 w 3362066"/>
                <a:gd name="connsiteY71" fmla="*/ 750159 h 3391524"/>
                <a:gd name="connsiteX72" fmla="*/ 1192472 w 3362066"/>
                <a:gd name="connsiteY72" fmla="*/ 295136 h 3391524"/>
                <a:gd name="connsiteX73" fmla="*/ 1226253 w 3362066"/>
                <a:gd name="connsiteY73" fmla="*/ 258097 h 3391524"/>
                <a:gd name="connsiteX74" fmla="*/ 1658571 w 3362066"/>
                <a:gd name="connsiteY74" fmla="*/ 185574 h 3391524"/>
                <a:gd name="connsiteX75" fmla="*/ 1522109 w 3362066"/>
                <a:gd name="connsiteY75" fmla="*/ 193323 h 3391524"/>
                <a:gd name="connsiteX76" fmla="*/ 1475452 w 3362066"/>
                <a:gd name="connsiteY76" fmla="*/ 201008 h 3391524"/>
                <a:gd name="connsiteX77" fmla="*/ 1469463 w 3362066"/>
                <a:gd name="connsiteY77" fmla="*/ 203922 h 3391524"/>
                <a:gd name="connsiteX78" fmla="*/ 1078885 w 3362066"/>
                <a:gd name="connsiteY78" fmla="*/ 700898 h 3391524"/>
                <a:gd name="connsiteX79" fmla="*/ 1032553 w 3362066"/>
                <a:gd name="connsiteY79" fmla="*/ 818129 h 3391524"/>
                <a:gd name="connsiteX80" fmla="*/ 1658571 w 3362066"/>
                <a:gd name="connsiteY80" fmla="*/ 818129 h 3391524"/>
                <a:gd name="connsiteX81" fmla="*/ 1658571 w 3362066"/>
                <a:gd name="connsiteY81" fmla="*/ 185574 h 3391524"/>
                <a:gd name="connsiteX82" fmla="*/ 1695762 w 3362066"/>
                <a:gd name="connsiteY82" fmla="*/ 0 h 3391524"/>
                <a:gd name="connsiteX83" fmla="*/ 2894847 w 3362066"/>
                <a:gd name="connsiteY83" fmla="*/ 496677 h 3391524"/>
                <a:gd name="connsiteX84" fmla="*/ 2952732 w 3362066"/>
                <a:gd name="connsiteY84" fmla="*/ 560367 h 3391524"/>
                <a:gd name="connsiteX85" fmla="*/ 2763757 w 3362066"/>
                <a:gd name="connsiteY85" fmla="*/ 627279 h 3391524"/>
                <a:gd name="connsiteX86" fmla="*/ 2294999 w 3362066"/>
                <a:gd name="connsiteY86" fmla="*/ 306828 h 3391524"/>
                <a:gd name="connsiteX87" fmla="*/ 2221829 w 3362066"/>
                <a:gd name="connsiteY87" fmla="*/ 279343 h 3391524"/>
                <a:gd name="connsiteX88" fmla="*/ 2434620 w 3362066"/>
                <a:gd name="connsiteY88" fmla="*/ 620472 h 3391524"/>
                <a:gd name="connsiteX89" fmla="*/ 2479189 w 3362066"/>
                <a:gd name="connsiteY89" fmla="*/ 728039 h 3391524"/>
                <a:gd name="connsiteX90" fmla="*/ 2375112 w 3362066"/>
                <a:gd name="connsiteY90" fmla="*/ 764890 h 3391524"/>
                <a:gd name="connsiteX91" fmla="*/ 2349822 w 3362066"/>
                <a:gd name="connsiteY91" fmla="*/ 700898 h 3391524"/>
                <a:gd name="connsiteX92" fmla="*/ 2034904 w 3362066"/>
                <a:gd name="connsiteY92" fmla="*/ 256318 h 3391524"/>
                <a:gd name="connsiteX93" fmla="*/ 1967195 w 3362066"/>
                <a:gd name="connsiteY93" fmla="*/ 209428 h 3391524"/>
                <a:gd name="connsiteX94" fmla="*/ 1869416 w 3362066"/>
                <a:gd name="connsiteY94" fmla="*/ 193323 h 3391524"/>
                <a:gd name="connsiteX95" fmla="*/ 1732947 w 3362066"/>
                <a:gd name="connsiteY95" fmla="*/ 185573 h 3391524"/>
                <a:gd name="connsiteX96" fmla="*/ 1732947 w 3362066"/>
                <a:gd name="connsiteY96" fmla="*/ 818129 h 3391524"/>
                <a:gd name="connsiteX97" fmla="*/ 2039422 w 3362066"/>
                <a:gd name="connsiteY97" fmla="*/ 811348 h 3391524"/>
                <a:gd name="connsiteX98" fmla="*/ 1919541 w 3362066"/>
                <a:gd name="connsiteY98" fmla="*/ 1019749 h 3391524"/>
                <a:gd name="connsiteX99" fmla="*/ 1732947 w 3362066"/>
                <a:gd name="connsiteY99" fmla="*/ 1018941 h 3391524"/>
                <a:gd name="connsiteX100" fmla="*/ 1732947 w 3362066"/>
                <a:gd name="connsiteY100" fmla="*/ 1596595 h 3391524"/>
                <a:gd name="connsiteX101" fmla="*/ 2063964 w 3362066"/>
                <a:gd name="connsiteY101" fmla="*/ 1596595 h 3391524"/>
                <a:gd name="connsiteX102" fmla="*/ 1924258 w 3362066"/>
                <a:gd name="connsiteY102" fmla="*/ 1712711 h 3391524"/>
                <a:gd name="connsiteX103" fmla="*/ 1815019 w 3362066"/>
                <a:gd name="connsiteY103" fmla="*/ 1797408 h 3391524"/>
                <a:gd name="connsiteX104" fmla="*/ 1732947 w 3362066"/>
                <a:gd name="connsiteY104" fmla="*/ 1797408 h 3391524"/>
                <a:gd name="connsiteX105" fmla="*/ 1732947 w 3362066"/>
                <a:gd name="connsiteY105" fmla="*/ 1858449 h 3391524"/>
                <a:gd name="connsiteX106" fmla="*/ 1658571 w 3362066"/>
                <a:gd name="connsiteY106" fmla="*/ 1910772 h 3391524"/>
                <a:gd name="connsiteX107" fmla="*/ 1658571 w 3362066"/>
                <a:gd name="connsiteY107" fmla="*/ 1797408 h 3391524"/>
                <a:gd name="connsiteX108" fmla="*/ 896447 w 3362066"/>
                <a:gd name="connsiteY108" fmla="*/ 1797408 h 3391524"/>
                <a:gd name="connsiteX109" fmla="*/ 907564 w 3362066"/>
                <a:gd name="connsiteY109" fmla="*/ 2006064 h 3391524"/>
                <a:gd name="connsiteX110" fmla="*/ 946467 w 3362066"/>
                <a:gd name="connsiteY110" fmla="*/ 2243192 h 3391524"/>
                <a:gd name="connsiteX111" fmla="*/ 837993 w 3362066"/>
                <a:gd name="connsiteY111" fmla="*/ 2260760 h 3391524"/>
                <a:gd name="connsiteX112" fmla="*/ 810325 w 3362066"/>
                <a:gd name="connsiteY112" fmla="*/ 2113048 h 3391524"/>
                <a:gd name="connsiteX113" fmla="*/ 785757 w 3362066"/>
                <a:gd name="connsiteY113" fmla="*/ 1864280 h 3391524"/>
                <a:gd name="connsiteX114" fmla="*/ 783886 w 3362066"/>
                <a:gd name="connsiteY114" fmla="*/ 1797408 h 3391524"/>
                <a:gd name="connsiteX115" fmla="*/ 188594 w 3362066"/>
                <a:gd name="connsiteY115" fmla="*/ 1797408 h 3391524"/>
                <a:gd name="connsiteX116" fmla="*/ 191269 w 3362066"/>
                <a:gd name="connsiteY116" fmla="*/ 1850386 h 3391524"/>
                <a:gd name="connsiteX117" fmla="*/ 212326 w 3362066"/>
                <a:gd name="connsiteY117" fmla="*/ 1991304 h 3391524"/>
                <a:gd name="connsiteX118" fmla="*/ 235664 w 3362066"/>
                <a:gd name="connsiteY118" fmla="*/ 2085719 h 3391524"/>
                <a:gd name="connsiteX119" fmla="*/ 223447 w 3362066"/>
                <a:gd name="connsiteY119" fmla="*/ 2076943 h 3391524"/>
                <a:gd name="connsiteX120" fmla="*/ 65563 w 3362066"/>
                <a:gd name="connsiteY120" fmla="*/ 1921896 h 3391524"/>
                <a:gd name="connsiteX121" fmla="*/ 7652 w 3362066"/>
                <a:gd name="connsiteY121" fmla="*/ 1847299 h 3391524"/>
                <a:gd name="connsiteX122" fmla="*/ 0 w 3362066"/>
                <a:gd name="connsiteY122" fmla="*/ 1695762 h 3391524"/>
                <a:gd name="connsiteX123" fmla="*/ 1695762 w 3362066"/>
                <a:gd name="connsiteY123"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7564 w 3362066"/>
                <a:gd name="connsiteY108" fmla="*/ 2006064 h 3391524"/>
                <a:gd name="connsiteX109" fmla="*/ 946467 w 3362066"/>
                <a:gd name="connsiteY109" fmla="*/ 2243192 h 3391524"/>
                <a:gd name="connsiteX110" fmla="*/ 837993 w 3362066"/>
                <a:gd name="connsiteY110" fmla="*/ 2260760 h 3391524"/>
                <a:gd name="connsiteX111" fmla="*/ 810325 w 3362066"/>
                <a:gd name="connsiteY111" fmla="*/ 2113048 h 3391524"/>
                <a:gd name="connsiteX112" fmla="*/ 785757 w 3362066"/>
                <a:gd name="connsiteY112" fmla="*/ 1864280 h 3391524"/>
                <a:gd name="connsiteX113" fmla="*/ 783886 w 3362066"/>
                <a:gd name="connsiteY113" fmla="*/ 1797408 h 3391524"/>
                <a:gd name="connsiteX114" fmla="*/ 188594 w 3362066"/>
                <a:gd name="connsiteY114" fmla="*/ 1797408 h 3391524"/>
                <a:gd name="connsiteX115" fmla="*/ 191269 w 3362066"/>
                <a:gd name="connsiteY115" fmla="*/ 1850386 h 3391524"/>
                <a:gd name="connsiteX116" fmla="*/ 212326 w 3362066"/>
                <a:gd name="connsiteY116" fmla="*/ 1991304 h 3391524"/>
                <a:gd name="connsiteX117" fmla="*/ 235664 w 3362066"/>
                <a:gd name="connsiteY117" fmla="*/ 2085719 h 3391524"/>
                <a:gd name="connsiteX118" fmla="*/ 223447 w 3362066"/>
                <a:gd name="connsiteY118" fmla="*/ 2076943 h 3391524"/>
                <a:gd name="connsiteX119" fmla="*/ 65563 w 3362066"/>
                <a:gd name="connsiteY119" fmla="*/ 1921896 h 3391524"/>
                <a:gd name="connsiteX120" fmla="*/ 7652 w 3362066"/>
                <a:gd name="connsiteY120" fmla="*/ 1847299 h 3391524"/>
                <a:gd name="connsiteX121" fmla="*/ 0 w 3362066"/>
                <a:gd name="connsiteY121" fmla="*/ 1695762 h 3391524"/>
                <a:gd name="connsiteX122" fmla="*/ 1695762 w 3362066"/>
                <a:gd name="connsiteY122"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7564 w 3362066"/>
                <a:gd name="connsiteY108" fmla="*/ 2006064 h 3391524"/>
                <a:gd name="connsiteX109" fmla="*/ 946467 w 3362066"/>
                <a:gd name="connsiteY109" fmla="*/ 2243192 h 3391524"/>
                <a:gd name="connsiteX110" fmla="*/ 837993 w 3362066"/>
                <a:gd name="connsiteY110" fmla="*/ 2260760 h 3391524"/>
                <a:gd name="connsiteX111" fmla="*/ 810325 w 3362066"/>
                <a:gd name="connsiteY111" fmla="*/ 2113048 h 3391524"/>
                <a:gd name="connsiteX112" fmla="*/ 785757 w 3362066"/>
                <a:gd name="connsiteY112" fmla="*/ 1864280 h 3391524"/>
                <a:gd name="connsiteX113" fmla="*/ 783886 w 3362066"/>
                <a:gd name="connsiteY113" fmla="*/ 1797408 h 3391524"/>
                <a:gd name="connsiteX114" fmla="*/ 188594 w 3362066"/>
                <a:gd name="connsiteY114" fmla="*/ 1797408 h 3391524"/>
                <a:gd name="connsiteX115" fmla="*/ 191269 w 3362066"/>
                <a:gd name="connsiteY115" fmla="*/ 1850386 h 3391524"/>
                <a:gd name="connsiteX116" fmla="*/ 212326 w 3362066"/>
                <a:gd name="connsiteY116" fmla="*/ 1991304 h 3391524"/>
                <a:gd name="connsiteX117" fmla="*/ 235664 w 3362066"/>
                <a:gd name="connsiteY117" fmla="*/ 2085719 h 3391524"/>
                <a:gd name="connsiteX118" fmla="*/ 223447 w 3362066"/>
                <a:gd name="connsiteY118" fmla="*/ 2076943 h 3391524"/>
                <a:gd name="connsiteX119" fmla="*/ 65563 w 3362066"/>
                <a:gd name="connsiteY119" fmla="*/ 1921896 h 3391524"/>
                <a:gd name="connsiteX120" fmla="*/ 7652 w 3362066"/>
                <a:gd name="connsiteY120" fmla="*/ 1847299 h 3391524"/>
                <a:gd name="connsiteX121" fmla="*/ 0 w 3362066"/>
                <a:gd name="connsiteY121" fmla="*/ 1695762 h 3391524"/>
                <a:gd name="connsiteX122" fmla="*/ 1695762 w 3362066"/>
                <a:gd name="connsiteY122"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7564 w 3362066"/>
                <a:gd name="connsiteY108" fmla="*/ 2006064 h 3391524"/>
                <a:gd name="connsiteX109" fmla="*/ 946467 w 3362066"/>
                <a:gd name="connsiteY109" fmla="*/ 2243192 h 3391524"/>
                <a:gd name="connsiteX110" fmla="*/ 837993 w 3362066"/>
                <a:gd name="connsiteY110" fmla="*/ 2260760 h 3391524"/>
                <a:gd name="connsiteX111" fmla="*/ 810325 w 3362066"/>
                <a:gd name="connsiteY111" fmla="*/ 2113048 h 3391524"/>
                <a:gd name="connsiteX112" fmla="*/ 785757 w 3362066"/>
                <a:gd name="connsiteY112" fmla="*/ 1864280 h 3391524"/>
                <a:gd name="connsiteX113" fmla="*/ 783886 w 3362066"/>
                <a:gd name="connsiteY113" fmla="*/ 1797408 h 3391524"/>
                <a:gd name="connsiteX114" fmla="*/ 188594 w 3362066"/>
                <a:gd name="connsiteY114" fmla="*/ 1797408 h 3391524"/>
                <a:gd name="connsiteX115" fmla="*/ 191269 w 3362066"/>
                <a:gd name="connsiteY115" fmla="*/ 1850386 h 3391524"/>
                <a:gd name="connsiteX116" fmla="*/ 212326 w 3362066"/>
                <a:gd name="connsiteY116" fmla="*/ 1991304 h 3391524"/>
                <a:gd name="connsiteX117" fmla="*/ 235664 w 3362066"/>
                <a:gd name="connsiteY117" fmla="*/ 2085719 h 3391524"/>
                <a:gd name="connsiteX118" fmla="*/ 223447 w 3362066"/>
                <a:gd name="connsiteY118" fmla="*/ 2076943 h 3391524"/>
                <a:gd name="connsiteX119" fmla="*/ 65563 w 3362066"/>
                <a:gd name="connsiteY119" fmla="*/ 1921896 h 3391524"/>
                <a:gd name="connsiteX120" fmla="*/ 7652 w 3362066"/>
                <a:gd name="connsiteY120" fmla="*/ 1847299 h 3391524"/>
                <a:gd name="connsiteX121" fmla="*/ 0 w 3362066"/>
                <a:gd name="connsiteY121" fmla="*/ 1695762 h 3391524"/>
                <a:gd name="connsiteX122" fmla="*/ 1695762 w 3362066"/>
                <a:gd name="connsiteY122"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7564 w 3362066"/>
                <a:gd name="connsiteY108" fmla="*/ 2006064 h 3391524"/>
                <a:gd name="connsiteX109" fmla="*/ 946467 w 3362066"/>
                <a:gd name="connsiteY109" fmla="*/ 2243192 h 3391524"/>
                <a:gd name="connsiteX110" fmla="*/ 765667 w 3362066"/>
                <a:gd name="connsiteY110" fmla="*/ 2265926 h 3391524"/>
                <a:gd name="connsiteX111" fmla="*/ 810325 w 3362066"/>
                <a:gd name="connsiteY111" fmla="*/ 2113048 h 3391524"/>
                <a:gd name="connsiteX112" fmla="*/ 785757 w 3362066"/>
                <a:gd name="connsiteY112" fmla="*/ 1864280 h 3391524"/>
                <a:gd name="connsiteX113" fmla="*/ 783886 w 3362066"/>
                <a:gd name="connsiteY113" fmla="*/ 1797408 h 3391524"/>
                <a:gd name="connsiteX114" fmla="*/ 188594 w 3362066"/>
                <a:gd name="connsiteY114" fmla="*/ 1797408 h 3391524"/>
                <a:gd name="connsiteX115" fmla="*/ 191269 w 3362066"/>
                <a:gd name="connsiteY115" fmla="*/ 1850386 h 3391524"/>
                <a:gd name="connsiteX116" fmla="*/ 212326 w 3362066"/>
                <a:gd name="connsiteY116" fmla="*/ 1991304 h 3391524"/>
                <a:gd name="connsiteX117" fmla="*/ 235664 w 3362066"/>
                <a:gd name="connsiteY117" fmla="*/ 2085719 h 3391524"/>
                <a:gd name="connsiteX118" fmla="*/ 223447 w 3362066"/>
                <a:gd name="connsiteY118" fmla="*/ 2076943 h 3391524"/>
                <a:gd name="connsiteX119" fmla="*/ 65563 w 3362066"/>
                <a:gd name="connsiteY119" fmla="*/ 1921896 h 3391524"/>
                <a:gd name="connsiteX120" fmla="*/ 7652 w 3362066"/>
                <a:gd name="connsiteY120" fmla="*/ 1847299 h 3391524"/>
                <a:gd name="connsiteX121" fmla="*/ 0 w 3362066"/>
                <a:gd name="connsiteY121" fmla="*/ 1695762 h 3391524"/>
                <a:gd name="connsiteX122" fmla="*/ 1695762 w 3362066"/>
                <a:gd name="connsiteY122"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7564 w 3362066"/>
                <a:gd name="connsiteY108" fmla="*/ 2006064 h 3391524"/>
                <a:gd name="connsiteX109" fmla="*/ 946467 w 3362066"/>
                <a:gd name="connsiteY109" fmla="*/ 2243192 h 3391524"/>
                <a:gd name="connsiteX110" fmla="*/ 765667 w 3362066"/>
                <a:gd name="connsiteY110" fmla="*/ 2265926 h 3391524"/>
                <a:gd name="connsiteX111" fmla="*/ 785757 w 3362066"/>
                <a:gd name="connsiteY111" fmla="*/ 1864280 h 3391524"/>
                <a:gd name="connsiteX112" fmla="*/ 783886 w 3362066"/>
                <a:gd name="connsiteY112" fmla="*/ 1797408 h 3391524"/>
                <a:gd name="connsiteX113" fmla="*/ 188594 w 3362066"/>
                <a:gd name="connsiteY113" fmla="*/ 1797408 h 3391524"/>
                <a:gd name="connsiteX114" fmla="*/ 191269 w 3362066"/>
                <a:gd name="connsiteY114" fmla="*/ 1850386 h 3391524"/>
                <a:gd name="connsiteX115" fmla="*/ 212326 w 3362066"/>
                <a:gd name="connsiteY115" fmla="*/ 1991304 h 3391524"/>
                <a:gd name="connsiteX116" fmla="*/ 235664 w 3362066"/>
                <a:gd name="connsiteY116" fmla="*/ 2085719 h 3391524"/>
                <a:gd name="connsiteX117" fmla="*/ 223447 w 3362066"/>
                <a:gd name="connsiteY117" fmla="*/ 2076943 h 3391524"/>
                <a:gd name="connsiteX118" fmla="*/ 65563 w 3362066"/>
                <a:gd name="connsiteY118" fmla="*/ 1921896 h 3391524"/>
                <a:gd name="connsiteX119" fmla="*/ 7652 w 3362066"/>
                <a:gd name="connsiteY119" fmla="*/ 1847299 h 3391524"/>
                <a:gd name="connsiteX120" fmla="*/ 0 w 3362066"/>
                <a:gd name="connsiteY120" fmla="*/ 1695762 h 3391524"/>
                <a:gd name="connsiteX121" fmla="*/ 1695762 w 3362066"/>
                <a:gd name="connsiteY121"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7564 w 3362066"/>
                <a:gd name="connsiteY108" fmla="*/ 2006064 h 3391524"/>
                <a:gd name="connsiteX109" fmla="*/ 946467 w 3362066"/>
                <a:gd name="connsiteY109" fmla="*/ 2243192 h 3391524"/>
                <a:gd name="connsiteX110" fmla="*/ 791497 w 3362066"/>
                <a:gd name="connsiteY110" fmla="*/ 2271092 h 3391524"/>
                <a:gd name="connsiteX111" fmla="*/ 785757 w 3362066"/>
                <a:gd name="connsiteY111" fmla="*/ 1864280 h 3391524"/>
                <a:gd name="connsiteX112" fmla="*/ 783886 w 3362066"/>
                <a:gd name="connsiteY112" fmla="*/ 1797408 h 3391524"/>
                <a:gd name="connsiteX113" fmla="*/ 188594 w 3362066"/>
                <a:gd name="connsiteY113" fmla="*/ 1797408 h 3391524"/>
                <a:gd name="connsiteX114" fmla="*/ 191269 w 3362066"/>
                <a:gd name="connsiteY114" fmla="*/ 1850386 h 3391524"/>
                <a:gd name="connsiteX115" fmla="*/ 212326 w 3362066"/>
                <a:gd name="connsiteY115" fmla="*/ 1991304 h 3391524"/>
                <a:gd name="connsiteX116" fmla="*/ 235664 w 3362066"/>
                <a:gd name="connsiteY116" fmla="*/ 2085719 h 3391524"/>
                <a:gd name="connsiteX117" fmla="*/ 223447 w 3362066"/>
                <a:gd name="connsiteY117" fmla="*/ 2076943 h 3391524"/>
                <a:gd name="connsiteX118" fmla="*/ 65563 w 3362066"/>
                <a:gd name="connsiteY118" fmla="*/ 1921896 h 3391524"/>
                <a:gd name="connsiteX119" fmla="*/ 7652 w 3362066"/>
                <a:gd name="connsiteY119" fmla="*/ 1847299 h 3391524"/>
                <a:gd name="connsiteX120" fmla="*/ 0 w 3362066"/>
                <a:gd name="connsiteY120" fmla="*/ 1695762 h 3391524"/>
                <a:gd name="connsiteX121" fmla="*/ 1695762 w 3362066"/>
                <a:gd name="connsiteY121"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7564 w 3362066"/>
                <a:gd name="connsiteY108" fmla="*/ 2006064 h 3391524"/>
                <a:gd name="connsiteX109" fmla="*/ 910304 w 3362066"/>
                <a:gd name="connsiteY109" fmla="*/ 2243192 h 3391524"/>
                <a:gd name="connsiteX110" fmla="*/ 791497 w 3362066"/>
                <a:gd name="connsiteY110" fmla="*/ 2271092 h 3391524"/>
                <a:gd name="connsiteX111" fmla="*/ 785757 w 3362066"/>
                <a:gd name="connsiteY111" fmla="*/ 1864280 h 3391524"/>
                <a:gd name="connsiteX112" fmla="*/ 783886 w 3362066"/>
                <a:gd name="connsiteY112" fmla="*/ 1797408 h 3391524"/>
                <a:gd name="connsiteX113" fmla="*/ 188594 w 3362066"/>
                <a:gd name="connsiteY113" fmla="*/ 1797408 h 3391524"/>
                <a:gd name="connsiteX114" fmla="*/ 191269 w 3362066"/>
                <a:gd name="connsiteY114" fmla="*/ 1850386 h 3391524"/>
                <a:gd name="connsiteX115" fmla="*/ 212326 w 3362066"/>
                <a:gd name="connsiteY115" fmla="*/ 1991304 h 3391524"/>
                <a:gd name="connsiteX116" fmla="*/ 235664 w 3362066"/>
                <a:gd name="connsiteY116" fmla="*/ 2085719 h 3391524"/>
                <a:gd name="connsiteX117" fmla="*/ 223447 w 3362066"/>
                <a:gd name="connsiteY117" fmla="*/ 2076943 h 3391524"/>
                <a:gd name="connsiteX118" fmla="*/ 65563 w 3362066"/>
                <a:gd name="connsiteY118" fmla="*/ 1921896 h 3391524"/>
                <a:gd name="connsiteX119" fmla="*/ 7652 w 3362066"/>
                <a:gd name="connsiteY119" fmla="*/ 1847299 h 3391524"/>
                <a:gd name="connsiteX120" fmla="*/ 0 w 3362066"/>
                <a:gd name="connsiteY120" fmla="*/ 1695762 h 3391524"/>
                <a:gd name="connsiteX121" fmla="*/ 1695762 w 3362066"/>
                <a:gd name="connsiteY121"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0304 w 3362066"/>
                <a:gd name="connsiteY108" fmla="*/ 2243192 h 3391524"/>
                <a:gd name="connsiteX109" fmla="*/ 791497 w 3362066"/>
                <a:gd name="connsiteY109" fmla="*/ 2271092 h 3391524"/>
                <a:gd name="connsiteX110" fmla="*/ 785757 w 3362066"/>
                <a:gd name="connsiteY110" fmla="*/ 1864280 h 3391524"/>
                <a:gd name="connsiteX111" fmla="*/ 783886 w 3362066"/>
                <a:gd name="connsiteY111" fmla="*/ 1797408 h 3391524"/>
                <a:gd name="connsiteX112" fmla="*/ 188594 w 3362066"/>
                <a:gd name="connsiteY112" fmla="*/ 1797408 h 3391524"/>
                <a:gd name="connsiteX113" fmla="*/ 191269 w 3362066"/>
                <a:gd name="connsiteY113" fmla="*/ 1850386 h 3391524"/>
                <a:gd name="connsiteX114" fmla="*/ 212326 w 3362066"/>
                <a:gd name="connsiteY114" fmla="*/ 1991304 h 3391524"/>
                <a:gd name="connsiteX115" fmla="*/ 235664 w 3362066"/>
                <a:gd name="connsiteY115" fmla="*/ 2085719 h 3391524"/>
                <a:gd name="connsiteX116" fmla="*/ 223447 w 3362066"/>
                <a:gd name="connsiteY116" fmla="*/ 2076943 h 3391524"/>
                <a:gd name="connsiteX117" fmla="*/ 65563 w 3362066"/>
                <a:gd name="connsiteY117" fmla="*/ 1921896 h 3391524"/>
                <a:gd name="connsiteX118" fmla="*/ 7652 w 3362066"/>
                <a:gd name="connsiteY118" fmla="*/ 1847299 h 3391524"/>
                <a:gd name="connsiteX119" fmla="*/ 0 w 3362066"/>
                <a:gd name="connsiteY119" fmla="*/ 1695762 h 3391524"/>
                <a:gd name="connsiteX120" fmla="*/ 1695762 w 3362066"/>
                <a:gd name="connsiteY120"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0304 w 3362066"/>
                <a:gd name="connsiteY108" fmla="*/ 2243192 h 3391524"/>
                <a:gd name="connsiteX109" fmla="*/ 786331 w 3362066"/>
                <a:gd name="connsiteY109" fmla="*/ 2271092 h 3391524"/>
                <a:gd name="connsiteX110" fmla="*/ 785757 w 3362066"/>
                <a:gd name="connsiteY110" fmla="*/ 1864280 h 3391524"/>
                <a:gd name="connsiteX111" fmla="*/ 783886 w 3362066"/>
                <a:gd name="connsiteY111" fmla="*/ 1797408 h 3391524"/>
                <a:gd name="connsiteX112" fmla="*/ 188594 w 3362066"/>
                <a:gd name="connsiteY112" fmla="*/ 1797408 h 3391524"/>
                <a:gd name="connsiteX113" fmla="*/ 191269 w 3362066"/>
                <a:gd name="connsiteY113" fmla="*/ 1850386 h 3391524"/>
                <a:gd name="connsiteX114" fmla="*/ 212326 w 3362066"/>
                <a:gd name="connsiteY114" fmla="*/ 1991304 h 3391524"/>
                <a:gd name="connsiteX115" fmla="*/ 235664 w 3362066"/>
                <a:gd name="connsiteY115" fmla="*/ 2085719 h 3391524"/>
                <a:gd name="connsiteX116" fmla="*/ 223447 w 3362066"/>
                <a:gd name="connsiteY116" fmla="*/ 2076943 h 3391524"/>
                <a:gd name="connsiteX117" fmla="*/ 65563 w 3362066"/>
                <a:gd name="connsiteY117" fmla="*/ 1921896 h 3391524"/>
                <a:gd name="connsiteX118" fmla="*/ 7652 w 3362066"/>
                <a:gd name="connsiteY118" fmla="*/ 1847299 h 3391524"/>
                <a:gd name="connsiteX119" fmla="*/ 0 w 3362066"/>
                <a:gd name="connsiteY119" fmla="*/ 1695762 h 3391524"/>
                <a:gd name="connsiteX120" fmla="*/ 1695762 w 3362066"/>
                <a:gd name="connsiteY120"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5757 w 3362066"/>
                <a:gd name="connsiteY110" fmla="*/ 1864280 h 3391524"/>
                <a:gd name="connsiteX111" fmla="*/ 783886 w 3362066"/>
                <a:gd name="connsiteY111" fmla="*/ 1797408 h 3391524"/>
                <a:gd name="connsiteX112" fmla="*/ 188594 w 3362066"/>
                <a:gd name="connsiteY112" fmla="*/ 1797408 h 3391524"/>
                <a:gd name="connsiteX113" fmla="*/ 191269 w 3362066"/>
                <a:gd name="connsiteY113" fmla="*/ 1850386 h 3391524"/>
                <a:gd name="connsiteX114" fmla="*/ 212326 w 3362066"/>
                <a:gd name="connsiteY114" fmla="*/ 1991304 h 3391524"/>
                <a:gd name="connsiteX115" fmla="*/ 235664 w 3362066"/>
                <a:gd name="connsiteY115" fmla="*/ 2085719 h 3391524"/>
                <a:gd name="connsiteX116" fmla="*/ 223447 w 3362066"/>
                <a:gd name="connsiteY116" fmla="*/ 2076943 h 3391524"/>
                <a:gd name="connsiteX117" fmla="*/ 65563 w 3362066"/>
                <a:gd name="connsiteY117" fmla="*/ 1921896 h 3391524"/>
                <a:gd name="connsiteX118" fmla="*/ 7652 w 3362066"/>
                <a:gd name="connsiteY118" fmla="*/ 1847299 h 3391524"/>
                <a:gd name="connsiteX119" fmla="*/ 0 w 3362066"/>
                <a:gd name="connsiteY119" fmla="*/ 1695762 h 3391524"/>
                <a:gd name="connsiteX120" fmla="*/ 1695762 w 3362066"/>
                <a:gd name="connsiteY120"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5138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5138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3362066" h="3391524">
                  <a:moveTo>
                    <a:pt x="2502887" y="2590747"/>
                  </a:moveTo>
                  <a:lnTo>
                    <a:pt x="2488354" y="2633919"/>
                  </a:lnTo>
                  <a:cubicBezTo>
                    <a:pt x="2421258" y="2813162"/>
                    <a:pt x="2335549" y="2967848"/>
                    <a:pt x="2236234" y="3088942"/>
                  </a:cubicBezTo>
                  <a:lnTo>
                    <a:pt x="2211102" y="3116497"/>
                  </a:lnTo>
                  <a:lnTo>
                    <a:pt x="2317868" y="3074590"/>
                  </a:lnTo>
                  <a:cubicBezTo>
                    <a:pt x="2546872" y="2971105"/>
                    <a:pt x="2745492" y="2812245"/>
                    <a:pt x="2896651" y="2615085"/>
                  </a:cubicBezTo>
                  <a:lnTo>
                    <a:pt x="2913629" y="2590747"/>
                  </a:lnTo>
                  <a:lnTo>
                    <a:pt x="2502887" y="2590747"/>
                  </a:lnTo>
                  <a:close/>
                  <a:moveTo>
                    <a:pt x="3197400" y="1869492"/>
                  </a:moveTo>
                  <a:lnTo>
                    <a:pt x="3362066" y="2004799"/>
                  </a:lnTo>
                  <a:lnTo>
                    <a:pt x="3357072" y="2037517"/>
                  </a:lnTo>
                  <a:cubicBezTo>
                    <a:pt x="3198949" y="2810247"/>
                    <a:pt x="2515237" y="3391524"/>
                    <a:pt x="1695762" y="3391524"/>
                  </a:cubicBezTo>
                  <a:cubicBezTo>
                    <a:pt x="1227491" y="3391524"/>
                    <a:pt x="803550" y="3201719"/>
                    <a:pt x="496678" y="2894847"/>
                  </a:cubicBezTo>
                  <a:lnTo>
                    <a:pt x="402889" y="2791653"/>
                  </a:lnTo>
                  <a:lnTo>
                    <a:pt x="459383" y="2806055"/>
                  </a:lnTo>
                  <a:cubicBezTo>
                    <a:pt x="512766" y="2817216"/>
                    <a:pt x="567687" y="2826291"/>
                    <a:pt x="623945" y="2833135"/>
                  </a:cubicBezTo>
                  <a:lnTo>
                    <a:pt x="713228" y="2840220"/>
                  </a:lnTo>
                  <a:lnTo>
                    <a:pt x="814530" y="2924921"/>
                  </a:lnTo>
                  <a:cubicBezTo>
                    <a:pt x="935708" y="3011953"/>
                    <a:pt x="1070284" y="3081509"/>
                    <a:pt x="1214569" y="3129900"/>
                  </a:cubicBezTo>
                  <a:lnTo>
                    <a:pt x="1235048" y="3135624"/>
                  </a:lnTo>
                  <a:lnTo>
                    <a:pt x="1192472" y="3088942"/>
                  </a:lnTo>
                  <a:cubicBezTo>
                    <a:pt x="1142814" y="3028395"/>
                    <a:pt x="1096558" y="2959450"/>
                    <a:pt x="1054329" y="2883236"/>
                  </a:cubicBezTo>
                  <a:lnTo>
                    <a:pt x="1033273" y="2841425"/>
                  </a:lnTo>
                  <a:lnTo>
                    <a:pt x="1153493" y="2831247"/>
                  </a:lnTo>
                  <a:lnTo>
                    <a:pt x="1160637" y="2845425"/>
                  </a:lnTo>
                  <a:cubicBezTo>
                    <a:pt x="1248385" y="2996325"/>
                    <a:pt x="1353422" y="3111867"/>
                    <a:pt x="1469463" y="3180157"/>
                  </a:cubicBezTo>
                  <a:lnTo>
                    <a:pt x="1499316" y="3194679"/>
                  </a:lnTo>
                  <a:lnTo>
                    <a:pt x="1658571" y="3205864"/>
                  </a:lnTo>
                  <a:lnTo>
                    <a:pt x="1658571" y="2711266"/>
                  </a:lnTo>
                  <a:lnTo>
                    <a:pt x="1732947" y="2685985"/>
                  </a:lnTo>
                  <a:lnTo>
                    <a:pt x="1732947" y="3205864"/>
                  </a:lnTo>
                  <a:lnTo>
                    <a:pt x="1876534" y="3197371"/>
                  </a:lnTo>
                  <a:lnTo>
                    <a:pt x="1949663" y="3184816"/>
                  </a:lnTo>
                  <a:lnTo>
                    <a:pt x="1959242" y="3180157"/>
                  </a:lnTo>
                  <a:cubicBezTo>
                    <a:pt x="2113964" y="3089103"/>
                    <a:pt x="2249123" y="2914046"/>
                    <a:pt x="2349822" y="2683179"/>
                  </a:cubicBezTo>
                  <a:lnTo>
                    <a:pt x="2386352" y="2590747"/>
                  </a:lnTo>
                  <a:lnTo>
                    <a:pt x="1949981" y="2590747"/>
                  </a:lnTo>
                  <a:lnTo>
                    <a:pt x="2128828" y="2495286"/>
                  </a:lnTo>
                  <a:lnTo>
                    <a:pt x="2292703" y="2389935"/>
                  </a:lnTo>
                  <a:lnTo>
                    <a:pt x="2446941" y="2389935"/>
                  </a:lnTo>
                  <a:lnTo>
                    <a:pt x="2473156" y="2298549"/>
                  </a:lnTo>
                  <a:lnTo>
                    <a:pt x="2481168" y="2249714"/>
                  </a:lnTo>
                  <a:lnTo>
                    <a:pt x="2513452" y="2225081"/>
                  </a:lnTo>
                  <a:lnTo>
                    <a:pt x="2614348" y="2134578"/>
                  </a:lnTo>
                  <a:lnTo>
                    <a:pt x="2574415" y="2347764"/>
                  </a:lnTo>
                  <a:lnTo>
                    <a:pt x="2563159" y="2389935"/>
                  </a:lnTo>
                  <a:lnTo>
                    <a:pt x="3039367" y="2389935"/>
                  </a:lnTo>
                  <a:cubicBezTo>
                    <a:pt x="3142805" y="2251892"/>
                    <a:pt x="3153252" y="2129347"/>
                    <a:pt x="3179199" y="1991304"/>
                  </a:cubicBezTo>
                  <a:lnTo>
                    <a:pt x="3197400" y="1869492"/>
                  </a:lnTo>
                  <a:close/>
                  <a:moveTo>
                    <a:pt x="974651" y="1018941"/>
                  </a:moveTo>
                  <a:lnTo>
                    <a:pt x="955549" y="1085530"/>
                  </a:lnTo>
                  <a:cubicBezTo>
                    <a:pt x="934712" y="1178738"/>
                    <a:pt x="918533" y="1276581"/>
                    <a:pt x="907564" y="1378013"/>
                  </a:cubicBezTo>
                  <a:lnTo>
                    <a:pt x="895917" y="1596595"/>
                  </a:lnTo>
                  <a:lnTo>
                    <a:pt x="1658571" y="1596595"/>
                  </a:lnTo>
                  <a:lnTo>
                    <a:pt x="1658571" y="1018941"/>
                  </a:lnTo>
                  <a:lnTo>
                    <a:pt x="974651" y="1018941"/>
                  </a:lnTo>
                  <a:close/>
                  <a:moveTo>
                    <a:pt x="344777" y="1018941"/>
                  </a:moveTo>
                  <a:lnTo>
                    <a:pt x="302306" y="1107107"/>
                  </a:lnTo>
                  <a:cubicBezTo>
                    <a:pt x="244911" y="1242803"/>
                    <a:pt x="206758" y="1388621"/>
                    <a:pt x="191269" y="1541138"/>
                  </a:cubicBezTo>
                  <a:lnTo>
                    <a:pt x="188469" y="1596595"/>
                  </a:lnTo>
                  <a:lnTo>
                    <a:pt x="783608" y="1596595"/>
                  </a:lnTo>
                  <a:cubicBezTo>
                    <a:pt x="784324" y="1570996"/>
                    <a:pt x="785041" y="1545396"/>
                    <a:pt x="785757" y="1519797"/>
                  </a:cubicBezTo>
                  <a:cubicBezTo>
                    <a:pt x="795318" y="1349903"/>
                    <a:pt x="818865" y="1187471"/>
                    <a:pt x="854291" y="1036313"/>
                  </a:cubicBezTo>
                  <a:lnTo>
                    <a:pt x="858928" y="1018941"/>
                  </a:lnTo>
                  <a:lnTo>
                    <a:pt x="344777" y="1018941"/>
                  </a:lnTo>
                  <a:close/>
                  <a:moveTo>
                    <a:pt x="1226253" y="258097"/>
                  </a:moveTo>
                  <a:lnTo>
                    <a:pt x="1096526" y="306828"/>
                  </a:lnTo>
                  <a:cubicBezTo>
                    <a:pt x="874766" y="402633"/>
                    <a:pt x="680488" y="549991"/>
                    <a:pt x="528798" y="733798"/>
                  </a:cubicBezTo>
                  <a:lnTo>
                    <a:pt x="465736" y="818129"/>
                  </a:lnTo>
                  <a:lnTo>
                    <a:pt x="917471" y="818129"/>
                  </a:lnTo>
                  <a:lnTo>
                    <a:pt x="940351" y="750159"/>
                  </a:lnTo>
                  <a:cubicBezTo>
                    <a:pt x="1007447" y="570915"/>
                    <a:pt x="1093156" y="416230"/>
                    <a:pt x="1192472" y="295136"/>
                  </a:cubicBezTo>
                  <a:lnTo>
                    <a:pt x="1226253" y="258097"/>
                  </a:lnTo>
                  <a:close/>
                  <a:moveTo>
                    <a:pt x="1658571" y="185574"/>
                  </a:moveTo>
                  <a:lnTo>
                    <a:pt x="1522109" y="193323"/>
                  </a:lnTo>
                  <a:lnTo>
                    <a:pt x="1475452" y="201008"/>
                  </a:lnTo>
                  <a:lnTo>
                    <a:pt x="1469463" y="203922"/>
                  </a:lnTo>
                  <a:cubicBezTo>
                    <a:pt x="1314742" y="294976"/>
                    <a:pt x="1179582" y="470033"/>
                    <a:pt x="1078885" y="700898"/>
                  </a:cubicBezTo>
                  <a:lnTo>
                    <a:pt x="1032553" y="818129"/>
                  </a:lnTo>
                  <a:lnTo>
                    <a:pt x="1658571" y="818129"/>
                  </a:lnTo>
                  <a:lnTo>
                    <a:pt x="1658571" y="185574"/>
                  </a:lnTo>
                  <a:close/>
                  <a:moveTo>
                    <a:pt x="1695762" y="0"/>
                  </a:moveTo>
                  <a:cubicBezTo>
                    <a:pt x="2164034" y="0"/>
                    <a:pt x="2587974" y="189805"/>
                    <a:pt x="2894847" y="496677"/>
                  </a:cubicBezTo>
                  <a:lnTo>
                    <a:pt x="2952732" y="560367"/>
                  </a:lnTo>
                  <a:lnTo>
                    <a:pt x="2763757" y="627279"/>
                  </a:lnTo>
                  <a:lnTo>
                    <a:pt x="2294999" y="306828"/>
                  </a:lnTo>
                  <a:lnTo>
                    <a:pt x="2221829" y="279343"/>
                  </a:lnTo>
                  <a:lnTo>
                    <a:pt x="2434620" y="620472"/>
                  </a:lnTo>
                  <a:lnTo>
                    <a:pt x="2479189" y="728039"/>
                  </a:lnTo>
                  <a:lnTo>
                    <a:pt x="2375112" y="764890"/>
                  </a:lnTo>
                  <a:lnTo>
                    <a:pt x="2349822" y="700898"/>
                  </a:lnTo>
                  <a:cubicBezTo>
                    <a:pt x="2265907" y="508510"/>
                    <a:pt x="2158060" y="354878"/>
                    <a:pt x="2034904" y="256318"/>
                  </a:cubicBezTo>
                  <a:lnTo>
                    <a:pt x="1967195" y="209428"/>
                  </a:lnTo>
                  <a:lnTo>
                    <a:pt x="1869416" y="193323"/>
                  </a:lnTo>
                  <a:lnTo>
                    <a:pt x="1732947" y="185573"/>
                  </a:lnTo>
                  <a:lnTo>
                    <a:pt x="1732947" y="818129"/>
                  </a:lnTo>
                  <a:lnTo>
                    <a:pt x="2039422" y="811348"/>
                  </a:lnTo>
                  <a:lnTo>
                    <a:pt x="1919541" y="1019749"/>
                  </a:lnTo>
                  <a:lnTo>
                    <a:pt x="1732947" y="1018941"/>
                  </a:lnTo>
                  <a:lnTo>
                    <a:pt x="1732947" y="1596595"/>
                  </a:lnTo>
                  <a:lnTo>
                    <a:pt x="2063964" y="1596595"/>
                  </a:lnTo>
                  <a:lnTo>
                    <a:pt x="1924258" y="1712711"/>
                  </a:lnTo>
                  <a:lnTo>
                    <a:pt x="1815019" y="1797408"/>
                  </a:lnTo>
                  <a:lnTo>
                    <a:pt x="1732947" y="1797408"/>
                  </a:lnTo>
                  <a:lnTo>
                    <a:pt x="1732947" y="1858449"/>
                  </a:lnTo>
                  <a:lnTo>
                    <a:pt x="1658571" y="1910772"/>
                  </a:lnTo>
                  <a:lnTo>
                    <a:pt x="1658571" y="1797408"/>
                  </a:lnTo>
                  <a:lnTo>
                    <a:pt x="896447" y="1797408"/>
                  </a:lnTo>
                  <a:cubicBezTo>
                    <a:pt x="890557" y="2011190"/>
                    <a:pt x="896799" y="1993764"/>
                    <a:pt x="905138" y="2263856"/>
                  </a:cubicBezTo>
                  <a:lnTo>
                    <a:pt x="786331" y="2271092"/>
                  </a:lnTo>
                  <a:cubicBezTo>
                    <a:pt x="795397" y="2095195"/>
                    <a:pt x="785353" y="2041670"/>
                    <a:pt x="783886" y="1797408"/>
                  </a:cubicBezTo>
                  <a:lnTo>
                    <a:pt x="188594" y="1797408"/>
                  </a:lnTo>
                  <a:lnTo>
                    <a:pt x="191269" y="1850386"/>
                  </a:lnTo>
                  <a:cubicBezTo>
                    <a:pt x="196110" y="1898048"/>
                    <a:pt x="203163" y="1945056"/>
                    <a:pt x="212326" y="1991304"/>
                  </a:cubicBezTo>
                  <a:lnTo>
                    <a:pt x="235664" y="2085719"/>
                  </a:lnTo>
                  <a:lnTo>
                    <a:pt x="223447" y="2076943"/>
                  </a:lnTo>
                  <a:cubicBezTo>
                    <a:pt x="169529" y="2033757"/>
                    <a:pt x="116809" y="1982344"/>
                    <a:pt x="65563" y="1921896"/>
                  </a:cubicBezTo>
                  <a:lnTo>
                    <a:pt x="7652" y="1847299"/>
                  </a:lnTo>
                  <a:lnTo>
                    <a:pt x="0" y="1695762"/>
                  </a:lnTo>
                  <a:cubicBezTo>
                    <a:pt x="0" y="759219"/>
                    <a:pt x="759219" y="0"/>
                    <a:pt x="1695762"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a:cs typeface="Arial" panose="020B0604020202020204" pitchFamily="34" charset="0"/>
              </a:endParaRPr>
            </a:p>
          </p:txBody>
        </p:sp>
        <p:sp>
          <p:nvSpPr>
            <p:cNvPr id="38" name="Freeform 9"/>
            <p:cNvSpPr/>
            <p:nvPr/>
          </p:nvSpPr>
          <p:spPr>
            <a:xfrm rot="4481485">
              <a:off x="5227748" y="461417"/>
              <a:ext cx="173465" cy="415840"/>
            </a:xfrm>
            <a:custGeom>
              <a:avLst/>
              <a:gdLst>
                <a:gd name="connsiteX0" fmla="*/ 0 w 1479755"/>
                <a:gd name="connsiteY0" fmla="*/ 0 h 3714855"/>
                <a:gd name="connsiteX1" fmla="*/ 1188936 w 1479755"/>
                <a:gd name="connsiteY1" fmla="*/ 331910 h 3714855"/>
                <a:gd name="connsiteX2" fmla="*/ 864813 w 1479755"/>
                <a:gd name="connsiteY2" fmla="*/ 589079 h 3714855"/>
                <a:gd name="connsiteX3" fmla="*/ 1050997 w 1479755"/>
                <a:gd name="connsiteY3" fmla="*/ 925282 h 3714855"/>
                <a:gd name="connsiteX4" fmla="*/ 1050747 w 1479755"/>
                <a:gd name="connsiteY4" fmla="*/ 3592169 h 3714855"/>
                <a:gd name="connsiteX5" fmla="*/ 592836 w 1479755"/>
                <a:gd name="connsiteY5" fmla="*/ 3713710 h 3714855"/>
                <a:gd name="connsiteX6" fmla="*/ 485076 w 1479755"/>
                <a:gd name="connsiteY6" fmla="*/ 951998 h 3714855"/>
                <a:gd name="connsiteX7" fmla="*/ 463706 w 1479755"/>
                <a:gd name="connsiteY7" fmla="*/ 907329 h 3714855"/>
                <a:gd name="connsiteX8" fmla="*/ 88282 w 1479755"/>
                <a:gd name="connsiteY8" fmla="*/ 1205202 h 3714855"/>
                <a:gd name="connsiteX0" fmla="*/ 0 w 1479755"/>
                <a:gd name="connsiteY0" fmla="*/ 0 h 3718276"/>
                <a:gd name="connsiteX1" fmla="*/ 1188936 w 1479755"/>
                <a:gd name="connsiteY1" fmla="*/ 331910 h 3718276"/>
                <a:gd name="connsiteX2" fmla="*/ 864813 w 1479755"/>
                <a:gd name="connsiteY2" fmla="*/ 589079 h 3718276"/>
                <a:gd name="connsiteX3" fmla="*/ 1050997 w 1479755"/>
                <a:gd name="connsiteY3" fmla="*/ 925282 h 3718276"/>
                <a:gd name="connsiteX4" fmla="*/ 1050747 w 1479755"/>
                <a:gd name="connsiteY4" fmla="*/ 3592169 h 3718276"/>
                <a:gd name="connsiteX5" fmla="*/ 592836 w 1479755"/>
                <a:gd name="connsiteY5" fmla="*/ 3713710 h 3718276"/>
                <a:gd name="connsiteX6" fmla="*/ 485076 w 1479755"/>
                <a:gd name="connsiteY6" fmla="*/ 951998 h 3718276"/>
                <a:gd name="connsiteX7" fmla="*/ 463706 w 1479755"/>
                <a:gd name="connsiteY7" fmla="*/ 907329 h 3718276"/>
                <a:gd name="connsiteX8" fmla="*/ 88282 w 1479755"/>
                <a:gd name="connsiteY8" fmla="*/ 1205202 h 3718276"/>
                <a:gd name="connsiteX9" fmla="*/ 0 w 1479755"/>
                <a:gd name="connsiteY9" fmla="*/ 0 h 3718276"/>
                <a:gd name="connsiteX0" fmla="*/ 0 w 1479755"/>
                <a:gd name="connsiteY0" fmla="*/ 0 h 3725513"/>
                <a:gd name="connsiteX1" fmla="*/ 1188936 w 1479755"/>
                <a:gd name="connsiteY1" fmla="*/ 331910 h 3725513"/>
                <a:gd name="connsiteX2" fmla="*/ 864813 w 1479755"/>
                <a:gd name="connsiteY2" fmla="*/ 589079 h 3725513"/>
                <a:gd name="connsiteX3" fmla="*/ 1050997 w 1479755"/>
                <a:gd name="connsiteY3" fmla="*/ 925282 h 3725513"/>
                <a:gd name="connsiteX4" fmla="*/ 1050747 w 1479755"/>
                <a:gd name="connsiteY4" fmla="*/ 3592169 h 3725513"/>
                <a:gd name="connsiteX5" fmla="*/ 592836 w 1479755"/>
                <a:gd name="connsiteY5" fmla="*/ 3713710 h 3725513"/>
                <a:gd name="connsiteX6" fmla="*/ 485076 w 1479755"/>
                <a:gd name="connsiteY6" fmla="*/ 951998 h 3725513"/>
                <a:gd name="connsiteX7" fmla="*/ 463706 w 1479755"/>
                <a:gd name="connsiteY7" fmla="*/ 907329 h 3725513"/>
                <a:gd name="connsiteX8" fmla="*/ 88282 w 1479755"/>
                <a:gd name="connsiteY8" fmla="*/ 1205202 h 3725513"/>
                <a:gd name="connsiteX9" fmla="*/ 0 w 1479755"/>
                <a:gd name="connsiteY9" fmla="*/ 0 h 3725513"/>
                <a:gd name="connsiteX0" fmla="*/ 0 w 1479755"/>
                <a:gd name="connsiteY0" fmla="*/ 0 h 3713710"/>
                <a:gd name="connsiteX1" fmla="*/ 1188936 w 1479755"/>
                <a:gd name="connsiteY1" fmla="*/ 331910 h 3713710"/>
                <a:gd name="connsiteX2" fmla="*/ 864813 w 1479755"/>
                <a:gd name="connsiteY2" fmla="*/ 589079 h 3713710"/>
                <a:gd name="connsiteX3" fmla="*/ 1050997 w 1479755"/>
                <a:gd name="connsiteY3" fmla="*/ 925282 h 3713710"/>
                <a:gd name="connsiteX4" fmla="*/ 1050747 w 1479755"/>
                <a:gd name="connsiteY4" fmla="*/ 3592169 h 3713710"/>
                <a:gd name="connsiteX5" fmla="*/ 592836 w 1479755"/>
                <a:gd name="connsiteY5" fmla="*/ 3713710 h 3713710"/>
                <a:gd name="connsiteX6" fmla="*/ 485076 w 1479755"/>
                <a:gd name="connsiteY6" fmla="*/ 951998 h 3713710"/>
                <a:gd name="connsiteX7" fmla="*/ 463706 w 1479755"/>
                <a:gd name="connsiteY7" fmla="*/ 907329 h 3713710"/>
                <a:gd name="connsiteX8" fmla="*/ 88282 w 1479755"/>
                <a:gd name="connsiteY8" fmla="*/ 1205202 h 3713710"/>
                <a:gd name="connsiteX9" fmla="*/ 0 w 1479755"/>
                <a:gd name="connsiteY9" fmla="*/ 0 h 3713710"/>
                <a:gd name="connsiteX0" fmla="*/ 0 w 1479755"/>
                <a:gd name="connsiteY0" fmla="*/ 0 h 3713710"/>
                <a:gd name="connsiteX1" fmla="*/ 1188936 w 1479755"/>
                <a:gd name="connsiteY1" fmla="*/ 331910 h 3713710"/>
                <a:gd name="connsiteX2" fmla="*/ 864813 w 1479755"/>
                <a:gd name="connsiteY2" fmla="*/ 589079 h 3713710"/>
                <a:gd name="connsiteX3" fmla="*/ 1050997 w 1479755"/>
                <a:gd name="connsiteY3" fmla="*/ 925282 h 3713710"/>
                <a:gd name="connsiteX4" fmla="*/ 1050747 w 1479755"/>
                <a:gd name="connsiteY4" fmla="*/ 3592169 h 3713710"/>
                <a:gd name="connsiteX5" fmla="*/ 592836 w 1479755"/>
                <a:gd name="connsiteY5" fmla="*/ 3713710 h 3713710"/>
                <a:gd name="connsiteX6" fmla="*/ 485076 w 1479755"/>
                <a:gd name="connsiteY6" fmla="*/ 951998 h 3713710"/>
                <a:gd name="connsiteX7" fmla="*/ 463706 w 1479755"/>
                <a:gd name="connsiteY7" fmla="*/ 907329 h 3713710"/>
                <a:gd name="connsiteX8" fmla="*/ 88282 w 1479755"/>
                <a:gd name="connsiteY8" fmla="*/ 1205202 h 3713710"/>
                <a:gd name="connsiteX9" fmla="*/ 0 w 1479755"/>
                <a:gd name="connsiteY9" fmla="*/ 0 h 3713710"/>
                <a:gd name="connsiteX0" fmla="*/ 0 w 1472196"/>
                <a:gd name="connsiteY0" fmla="*/ 0 h 3713710"/>
                <a:gd name="connsiteX1" fmla="*/ 1188936 w 1472196"/>
                <a:gd name="connsiteY1" fmla="*/ 331910 h 3713710"/>
                <a:gd name="connsiteX2" fmla="*/ 864813 w 1472196"/>
                <a:gd name="connsiteY2" fmla="*/ 589079 h 3713710"/>
                <a:gd name="connsiteX3" fmla="*/ 1050997 w 1472196"/>
                <a:gd name="connsiteY3" fmla="*/ 925282 h 3713710"/>
                <a:gd name="connsiteX4" fmla="*/ 1037164 w 1472196"/>
                <a:gd name="connsiteY4" fmla="*/ 3583093 h 3713710"/>
                <a:gd name="connsiteX5" fmla="*/ 592836 w 1472196"/>
                <a:gd name="connsiteY5" fmla="*/ 3713710 h 3713710"/>
                <a:gd name="connsiteX6" fmla="*/ 485076 w 1472196"/>
                <a:gd name="connsiteY6" fmla="*/ 951998 h 3713710"/>
                <a:gd name="connsiteX7" fmla="*/ 463706 w 1472196"/>
                <a:gd name="connsiteY7" fmla="*/ 907329 h 3713710"/>
                <a:gd name="connsiteX8" fmla="*/ 88282 w 1472196"/>
                <a:gd name="connsiteY8" fmla="*/ 1205202 h 3713710"/>
                <a:gd name="connsiteX9" fmla="*/ 0 w 1472196"/>
                <a:gd name="connsiteY9" fmla="*/ 0 h 3713710"/>
                <a:gd name="connsiteX0" fmla="*/ 0 w 1472196"/>
                <a:gd name="connsiteY0" fmla="*/ 0 h 3717124"/>
                <a:gd name="connsiteX1" fmla="*/ 1188936 w 1472196"/>
                <a:gd name="connsiteY1" fmla="*/ 331910 h 3717124"/>
                <a:gd name="connsiteX2" fmla="*/ 864813 w 1472196"/>
                <a:gd name="connsiteY2" fmla="*/ 589079 h 3717124"/>
                <a:gd name="connsiteX3" fmla="*/ 1050997 w 1472196"/>
                <a:gd name="connsiteY3" fmla="*/ 925282 h 3717124"/>
                <a:gd name="connsiteX4" fmla="*/ 1037164 w 1472196"/>
                <a:gd name="connsiteY4" fmla="*/ 3583093 h 3717124"/>
                <a:gd name="connsiteX5" fmla="*/ 592836 w 1472196"/>
                <a:gd name="connsiteY5" fmla="*/ 3713710 h 3717124"/>
                <a:gd name="connsiteX6" fmla="*/ 485076 w 1472196"/>
                <a:gd name="connsiteY6" fmla="*/ 951998 h 3717124"/>
                <a:gd name="connsiteX7" fmla="*/ 463706 w 1472196"/>
                <a:gd name="connsiteY7" fmla="*/ 907329 h 3717124"/>
                <a:gd name="connsiteX8" fmla="*/ 88282 w 1472196"/>
                <a:gd name="connsiteY8" fmla="*/ 1205202 h 3717124"/>
                <a:gd name="connsiteX9" fmla="*/ 0 w 1472196"/>
                <a:gd name="connsiteY9" fmla="*/ 0 h 3717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2196" h="3717124">
                  <a:moveTo>
                    <a:pt x="0" y="0"/>
                  </a:moveTo>
                  <a:lnTo>
                    <a:pt x="1188936" y="331910"/>
                  </a:lnTo>
                  <a:lnTo>
                    <a:pt x="864813" y="589079"/>
                  </a:lnTo>
                  <a:lnTo>
                    <a:pt x="1050997" y="925282"/>
                  </a:lnTo>
                  <a:cubicBezTo>
                    <a:pt x="1524596" y="1867666"/>
                    <a:pt x="1699557" y="2920475"/>
                    <a:pt x="1037164" y="3583093"/>
                  </a:cubicBezTo>
                  <a:cubicBezTo>
                    <a:pt x="828853" y="3768493"/>
                    <a:pt x="723685" y="3704280"/>
                    <a:pt x="592836" y="3713710"/>
                  </a:cubicBezTo>
                  <a:cubicBezTo>
                    <a:pt x="1645275" y="3048201"/>
                    <a:pt x="875934" y="1745143"/>
                    <a:pt x="485076" y="951998"/>
                  </a:cubicBezTo>
                  <a:lnTo>
                    <a:pt x="463706" y="907329"/>
                  </a:lnTo>
                  <a:lnTo>
                    <a:pt x="88282" y="1205202"/>
                  </a:lnTo>
                  <a:lnTo>
                    <a:pt x="0" y="0"/>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a:cs typeface="Arial" panose="020B0604020202020204" pitchFamily="34" charset="0"/>
              </a:endParaRPr>
            </a:p>
          </p:txBody>
        </p:sp>
      </p:grpSp>
      <p:sp>
        <p:nvSpPr>
          <p:cNvPr id="13" name="Titel 3">
            <a:extLst>
              <a:ext uri="{FF2B5EF4-FFF2-40B4-BE49-F238E27FC236}">
                <a16:creationId xmlns:a16="http://schemas.microsoft.com/office/drawing/2014/main" id="{CCAC1AC3-BFF5-4EFC-9070-DB8463B141B0}"/>
              </a:ext>
            </a:extLst>
          </p:cNvPr>
          <p:cNvSpPr txBox="1">
            <a:spLocks/>
          </p:cNvSpPr>
          <p:nvPr/>
        </p:nvSpPr>
        <p:spPr>
          <a:xfrm>
            <a:off x="279955" y="1564506"/>
            <a:ext cx="11460041" cy="504000"/>
          </a:xfrm>
          <a:prstGeom prst="rect">
            <a:avLst/>
          </a:prstGeom>
        </p:spPr>
        <p:txBody>
          <a:bodyPr lIns="0" tIns="0" rIns="0" bIns="0"/>
          <a:lstStyle>
            <a:lvl1pPr algn="l" rtl="0" eaLnBrk="1" fontAlgn="base" hangingPunct="1">
              <a:spcBef>
                <a:spcPct val="0"/>
              </a:spcBef>
              <a:spcAft>
                <a:spcPct val="0"/>
              </a:spcAft>
              <a:defRPr lang="en-GB" sz="2100" b="1" kern="1200" baseline="0">
                <a:solidFill>
                  <a:schemeClr val="tx1"/>
                </a:solidFill>
                <a:latin typeface="+mn-lt"/>
                <a:ea typeface="+mn-ea"/>
                <a:cs typeface="+mn-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r>
              <a:rPr lang="lt-LT" sz="2000" dirty="0">
                <a:solidFill>
                  <a:schemeClr val="tx1">
                    <a:lumMod val="65000"/>
                    <a:lumOff val="35000"/>
                  </a:schemeClr>
                </a:solidFill>
              </a:rPr>
              <a:t>Global Festo projektas (2017 metai): Finansų ir apskaitos paslaugų centras FSSC | </a:t>
            </a:r>
            <a:r>
              <a:rPr lang="lt-LT" sz="2000" dirty="0">
                <a:solidFill>
                  <a:schemeClr val="accent6">
                    <a:lumMod val="60000"/>
                    <a:lumOff val="40000"/>
                  </a:schemeClr>
                </a:solidFill>
              </a:rPr>
              <a:t>Teigiamos pusės</a:t>
            </a:r>
            <a:endParaRPr lang="lt-LT" dirty="0"/>
          </a:p>
        </p:txBody>
      </p:sp>
      <p:sp>
        <p:nvSpPr>
          <p:cNvPr id="14" name="Textfeld 9">
            <a:extLst>
              <a:ext uri="{FF2B5EF4-FFF2-40B4-BE49-F238E27FC236}">
                <a16:creationId xmlns:a16="http://schemas.microsoft.com/office/drawing/2014/main" id="{D3AEF1B8-4C10-4B3A-AE83-7008F9949DC8}"/>
              </a:ext>
            </a:extLst>
          </p:cNvPr>
          <p:cNvSpPr txBox="1"/>
          <p:nvPr/>
        </p:nvSpPr>
        <p:spPr>
          <a:xfrm>
            <a:off x="869132" y="2896011"/>
            <a:ext cx="5886309" cy="360867"/>
          </a:xfrm>
          <a:prstGeom prst="rect">
            <a:avLst/>
          </a:prstGeom>
          <a:noFill/>
          <a:ln>
            <a:noFill/>
          </a:ln>
        </p:spPr>
        <p:txBody>
          <a:bodyPr wrap="square" lIns="81519" tIns="32608" rIns="32608" bIns="32608" rtlCol="0">
            <a:noAutofit/>
          </a:bodyPr>
          <a:lstStyle>
            <a:defPPr>
              <a:defRPr lang="en-US"/>
            </a:defPPr>
            <a:lvl1pPr algn="l" rtl="0" fontAlgn="base">
              <a:spcBef>
                <a:spcPct val="0"/>
              </a:spcBef>
              <a:spcAft>
                <a:spcPct val="0"/>
              </a:spcAft>
              <a:defRPr kern="1200">
                <a:solidFill>
                  <a:schemeClr val="tx1"/>
                </a:solidFill>
                <a:latin typeface="MetaPlusLF" charset="0"/>
                <a:ea typeface="+mn-ea"/>
                <a:cs typeface="MetaPlusLF" charset="0"/>
              </a:defRPr>
            </a:lvl1pPr>
            <a:lvl2pPr marL="457200" algn="l" rtl="0" fontAlgn="base">
              <a:spcBef>
                <a:spcPct val="0"/>
              </a:spcBef>
              <a:spcAft>
                <a:spcPct val="0"/>
              </a:spcAft>
              <a:defRPr kern="1200">
                <a:solidFill>
                  <a:schemeClr val="tx1"/>
                </a:solidFill>
                <a:latin typeface="MetaPlusLF" charset="0"/>
                <a:ea typeface="+mn-ea"/>
                <a:cs typeface="MetaPlusLF" charset="0"/>
              </a:defRPr>
            </a:lvl2pPr>
            <a:lvl3pPr marL="914400" algn="l" rtl="0" fontAlgn="base">
              <a:spcBef>
                <a:spcPct val="0"/>
              </a:spcBef>
              <a:spcAft>
                <a:spcPct val="0"/>
              </a:spcAft>
              <a:defRPr kern="1200">
                <a:solidFill>
                  <a:schemeClr val="tx1"/>
                </a:solidFill>
                <a:latin typeface="MetaPlusLF" charset="0"/>
                <a:ea typeface="+mn-ea"/>
                <a:cs typeface="MetaPlusLF" charset="0"/>
              </a:defRPr>
            </a:lvl3pPr>
            <a:lvl4pPr marL="1371600" algn="l" rtl="0" fontAlgn="base">
              <a:spcBef>
                <a:spcPct val="0"/>
              </a:spcBef>
              <a:spcAft>
                <a:spcPct val="0"/>
              </a:spcAft>
              <a:defRPr kern="1200">
                <a:solidFill>
                  <a:schemeClr val="tx1"/>
                </a:solidFill>
                <a:latin typeface="MetaPlusLF" charset="0"/>
                <a:ea typeface="+mn-ea"/>
                <a:cs typeface="MetaPlusLF" charset="0"/>
              </a:defRPr>
            </a:lvl4pPr>
            <a:lvl5pPr marL="1828800" algn="l" rtl="0" fontAlgn="base">
              <a:spcBef>
                <a:spcPct val="0"/>
              </a:spcBef>
              <a:spcAft>
                <a:spcPct val="0"/>
              </a:spcAft>
              <a:defRPr kern="1200">
                <a:solidFill>
                  <a:schemeClr val="tx1"/>
                </a:solidFill>
                <a:latin typeface="MetaPlusLF" charset="0"/>
                <a:ea typeface="+mn-ea"/>
                <a:cs typeface="MetaPlusLF" charset="0"/>
              </a:defRPr>
            </a:lvl5pPr>
            <a:lvl6pPr marL="2286000" algn="l" defTabSz="914400" rtl="0" eaLnBrk="1" latinLnBrk="0" hangingPunct="1">
              <a:defRPr kern="1200">
                <a:solidFill>
                  <a:schemeClr val="tx1"/>
                </a:solidFill>
                <a:latin typeface="MetaPlusLF" charset="0"/>
                <a:ea typeface="+mn-ea"/>
                <a:cs typeface="MetaPlusLF" charset="0"/>
              </a:defRPr>
            </a:lvl6pPr>
            <a:lvl7pPr marL="2743200" algn="l" defTabSz="914400" rtl="0" eaLnBrk="1" latinLnBrk="0" hangingPunct="1">
              <a:defRPr kern="1200">
                <a:solidFill>
                  <a:schemeClr val="tx1"/>
                </a:solidFill>
                <a:latin typeface="MetaPlusLF" charset="0"/>
                <a:ea typeface="+mn-ea"/>
                <a:cs typeface="MetaPlusLF" charset="0"/>
              </a:defRPr>
            </a:lvl7pPr>
            <a:lvl8pPr marL="3200400" algn="l" defTabSz="914400" rtl="0" eaLnBrk="1" latinLnBrk="0" hangingPunct="1">
              <a:defRPr kern="1200">
                <a:solidFill>
                  <a:schemeClr val="tx1"/>
                </a:solidFill>
                <a:latin typeface="MetaPlusLF" charset="0"/>
                <a:ea typeface="+mn-ea"/>
                <a:cs typeface="MetaPlusLF" charset="0"/>
              </a:defRPr>
            </a:lvl8pPr>
            <a:lvl9pPr marL="3657600" algn="l" defTabSz="914400" rtl="0" eaLnBrk="1" latinLnBrk="0" hangingPunct="1">
              <a:defRPr kern="1200">
                <a:solidFill>
                  <a:schemeClr val="tx1"/>
                </a:solidFill>
                <a:latin typeface="MetaPlusLF" charset="0"/>
                <a:ea typeface="+mn-ea"/>
                <a:cs typeface="MetaPlusLF" charset="0"/>
              </a:defRPr>
            </a:lvl9pPr>
          </a:lstStyle>
          <a:p>
            <a:r>
              <a:rPr lang="lt-LT" sz="1400" b="1" dirty="0">
                <a:solidFill>
                  <a:srgbClr val="7FC8ED"/>
                </a:solidFill>
                <a:latin typeface="+mj-lt"/>
              </a:rPr>
              <a:t>Teigiamos pusės globaliai organizacijai</a:t>
            </a:r>
            <a:endParaRPr lang="en-GB" sz="1400" b="1" dirty="0">
              <a:solidFill>
                <a:srgbClr val="7FC8ED"/>
              </a:solidFill>
              <a:latin typeface="+mj-lt"/>
            </a:endParaRPr>
          </a:p>
        </p:txBody>
      </p:sp>
    </p:spTree>
    <p:extLst>
      <p:ext uri="{BB962C8B-B14F-4D97-AF65-F5344CB8AC3E}">
        <p14:creationId xmlns:p14="http://schemas.microsoft.com/office/powerpoint/2010/main" val="38499243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B5AF-8EEF-4987-BEC2-76D6F408A2C1}"/>
              </a:ext>
            </a:extLst>
          </p:cNvPr>
          <p:cNvSpPr>
            <a:spLocks noGrp="1"/>
          </p:cNvSpPr>
          <p:nvPr>
            <p:ph type="title" idx="4294967295"/>
          </p:nvPr>
        </p:nvSpPr>
        <p:spPr>
          <a:xfrm>
            <a:off x="181968" y="1467981"/>
            <a:ext cx="11301413" cy="354013"/>
          </a:xfrm>
        </p:spPr>
        <p:txBody>
          <a:bodyPr/>
          <a:lstStyle/>
          <a:p>
            <a:pPr>
              <a:buClr>
                <a:schemeClr val="accent6">
                  <a:lumMod val="60000"/>
                  <a:lumOff val="40000"/>
                </a:schemeClr>
              </a:buClr>
            </a:pPr>
            <a:r>
              <a:rPr lang="lt-LT" sz="2400" dirty="0">
                <a:solidFill>
                  <a:schemeClr val="tx1">
                    <a:lumMod val="65000"/>
                    <a:lumOff val="35000"/>
                  </a:schemeClr>
                </a:solidFill>
              </a:rPr>
              <a:t>Paslaugų centrai Lietuvoje</a:t>
            </a:r>
            <a:r>
              <a:rPr lang="en-GB" sz="2400" dirty="0">
                <a:solidFill>
                  <a:schemeClr val="tx1">
                    <a:lumMod val="65000"/>
                    <a:lumOff val="35000"/>
                  </a:schemeClr>
                </a:solidFill>
              </a:rPr>
              <a:t> | </a:t>
            </a:r>
            <a:r>
              <a:rPr lang="lt-LT" sz="2400" dirty="0">
                <a:solidFill>
                  <a:schemeClr val="accent6">
                    <a:lumMod val="60000"/>
                    <a:lumOff val="40000"/>
                  </a:schemeClr>
                </a:solidFill>
              </a:rPr>
              <a:t>Pagrindiniai duomenys</a:t>
            </a:r>
            <a:br>
              <a:rPr lang="lt-LT" sz="2400" dirty="0">
                <a:solidFill>
                  <a:schemeClr val="accent3">
                    <a:lumMod val="75000"/>
                  </a:schemeClr>
                </a:solidFill>
              </a:rPr>
            </a:br>
            <a:endParaRPr lang="lt-LT" sz="2400" dirty="0">
              <a:solidFill>
                <a:schemeClr val="accent3">
                  <a:lumMod val="75000"/>
                </a:schemeClr>
              </a:solidFill>
            </a:endParaRPr>
          </a:p>
        </p:txBody>
      </p:sp>
      <p:graphicFrame>
        <p:nvGraphicFramePr>
          <p:cNvPr id="7" name="Diagramm 15">
            <a:extLst>
              <a:ext uri="{FF2B5EF4-FFF2-40B4-BE49-F238E27FC236}">
                <a16:creationId xmlns:a16="http://schemas.microsoft.com/office/drawing/2014/main" id="{49786CD8-0C6F-4668-B84F-C240AC940D27}"/>
              </a:ext>
            </a:extLst>
          </p:cNvPr>
          <p:cNvGraphicFramePr/>
          <p:nvPr>
            <p:extLst>
              <p:ext uri="{D42A27DB-BD31-4B8C-83A1-F6EECF244321}">
                <p14:modId xmlns:p14="http://schemas.microsoft.com/office/powerpoint/2010/main" val="2174977297"/>
              </p:ext>
            </p:extLst>
          </p:nvPr>
        </p:nvGraphicFramePr>
        <p:xfrm>
          <a:off x="255660" y="2301360"/>
          <a:ext cx="965828" cy="1137909"/>
        </p:xfrm>
        <a:graphic>
          <a:graphicData uri="http://schemas.openxmlformats.org/drawingml/2006/chart">
            <c:chart xmlns:c="http://schemas.openxmlformats.org/drawingml/2006/chart" xmlns:r="http://schemas.openxmlformats.org/officeDocument/2006/relationships" r:id="rId3"/>
          </a:graphicData>
        </a:graphic>
      </p:graphicFrame>
      <p:grpSp>
        <p:nvGrpSpPr>
          <p:cNvPr id="3" name="Group 2">
            <a:extLst>
              <a:ext uri="{FF2B5EF4-FFF2-40B4-BE49-F238E27FC236}">
                <a16:creationId xmlns:a16="http://schemas.microsoft.com/office/drawing/2014/main" id="{E36B97C4-B3B5-4349-8405-E1CFE092AE92}"/>
              </a:ext>
            </a:extLst>
          </p:cNvPr>
          <p:cNvGrpSpPr/>
          <p:nvPr/>
        </p:nvGrpSpPr>
        <p:grpSpPr>
          <a:xfrm>
            <a:off x="258351" y="2053351"/>
            <a:ext cx="3776015" cy="1311357"/>
            <a:chOff x="258351" y="2053351"/>
            <a:chExt cx="3776015" cy="1311357"/>
          </a:xfrm>
        </p:grpSpPr>
        <p:sp>
          <p:nvSpPr>
            <p:cNvPr id="6" name="Rechteck 27">
              <a:extLst>
                <a:ext uri="{FF2B5EF4-FFF2-40B4-BE49-F238E27FC236}">
                  <a16:creationId xmlns:a16="http://schemas.microsoft.com/office/drawing/2014/main" id="{B317EA90-DC5A-4451-8287-EC7C38D943C8}"/>
                </a:ext>
              </a:extLst>
            </p:cNvPr>
            <p:cNvSpPr/>
            <p:nvPr/>
          </p:nvSpPr>
          <p:spPr>
            <a:xfrm>
              <a:off x="258767" y="2053351"/>
              <a:ext cx="3775599" cy="1311357"/>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981075" lvl="3"/>
              <a:r>
                <a:rPr lang="lt-LT" sz="4400" b="1" dirty="0">
                  <a:solidFill>
                    <a:schemeClr val="accent4"/>
                  </a:solidFill>
                </a:rPr>
                <a:t>85</a:t>
              </a:r>
            </a:p>
            <a:p>
              <a:pPr marL="981075" lvl="3"/>
              <a:r>
                <a:rPr lang="lt-LT" sz="1400" dirty="0">
                  <a:solidFill>
                    <a:schemeClr val="tx1"/>
                  </a:solidFill>
                </a:rPr>
                <a:t>Veikiantys centrai Lietuvoje</a:t>
              </a:r>
            </a:p>
            <a:p>
              <a:pPr marL="981075" lvl="3"/>
              <a:r>
                <a:rPr lang="lt-LT" sz="1400" dirty="0">
                  <a:solidFill>
                    <a:schemeClr val="tx1"/>
                  </a:solidFill>
                </a:rPr>
                <a:t> (JAV, Skandinavija, Vakarų Europa)</a:t>
              </a:r>
              <a:endParaRPr lang="en-GB" sz="1400" dirty="0">
                <a:solidFill>
                  <a:schemeClr val="tx1"/>
                </a:solidFill>
              </a:endParaRPr>
            </a:p>
          </p:txBody>
        </p:sp>
        <p:pic>
          <p:nvPicPr>
            <p:cNvPr id="4" name="Graphic 3" descr="City outline">
              <a:extLst>
                <a:ext uri="{FF2B5EF4-FFF2-40B4-BE49-F238E27FC236}">
                  <a16:creationId xmlns:a16="http://schemas.microsoft.com/office/drawing/2014/main" id="{AC2979F4-8C62-46F5-8406-746E72692CE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8351" y="2341382"/>
              <a:ext cx="914400" cy="914400"/>
            </a:xfrm>
            <a:prstGeom prst="rect">
              <a:avLst/>
            </a:prstGeom>
          </p:spPr>
        </p:pic>
      </p:grpSp>
      <p:grpSp>
        <p:nvGrpSpPr>
          <p:cNvPr id="10" name="Gruppieren 2">
            <a:extLst>
              <a:ext uri="{FF2B5EF4-FFF2-40B4-BE49-F238E27FC236}">
                <a16:creationId xmlns:a16="http://schemas.microsoft.com/office/drawing/2014/main" id="{64FD1243-5A78-4220-B5B7-164E3785C0F5}"/>
              </a:ext>
            </a:extLst>
          </p:cNvPr>
          <p:cNvGrpSpPr/>
          <p:nvPr/>
        </p:nvGrpSpPr>
        <p:grpSpPr>
          <a:xfrm>
            <a:off x="255660" y="3556040"/>
            <a:ext cx="3778705" cy="1212661"/>
            <a:chOff x="256566" y="2047392"/>
            <a:chExt cx="5603823" cy="1212661"/>
          </a:xfrm>
          <a:solidFill>
            <a:schemeClr val="bg2">
              <a:lumMod val="85000"/>
            </a:schemeClr>
          </a:solidFill>
        </p:grpSpPr>
        <p:sp>
          <p:nvSpPr>
            <p:cNvPr id="11" name="Rechteck 27">
              <a:extLst>
                <a:ext uri="{FF2B5EF4-FFF2-40B4-BE49-F238E27FC236}">
                  <a16:creationId xmlns:a16="http://schemas.microsoft.com/office/drawing/2014/main" id="{813ED7E5-4978-46A9-B9CE-0C9330F1454C}"/>
                </a:ext>
              </a:extLst>
            </p:cNvPr>
            <p:cNvSpPr/>
            <p:nvPr/>
          </p:nvSpPr>
          <p:spPr>
            <a:xfrm>
              <a:off x="265781" y="2087415"/>
              <a:ext cx="5594608" cy="11726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981075" lvl="3"/>
              <a:r>
                <a:rPr lang="lt-LT" sz="4400" b="1" dirty="0">
                  <a:solidFill>
                    <a:schemeClr val="accent4"/>
                  </a:solidFill>
                </a:rPr>
                <a:t>20,170</a:t>
              </a:r>
            </a:p>
            <a:p>
              <a:pPr marL="981075" lvl="3"/>
              <a:r>
                <a:rPr lang="lt-LT" sz="1400" dirty="0">
                  <a:solidFill>
                    <a:schemeClr val="tx1"/>
                  </a:solidFill>
                </a:rPr>
                <a:t>Viso darbuotojų centruose</a:t>
              </a:r>
              <a:endParaRPr lang="en-GB" sz="1400" dirty="0">
                <a:solidFill>
                  <a:schemeClr val="tx1"/>
                </a:solidFill>
              </a:endParaRPr>
            </a:p>
          </p:txBody>
        </p:sp>
        <p:graphicFrame>
          <p:nvGraphicFramePr>
            <p:cNvPr id="12" name="Diagramm 15">
              <a:extLst>
                <a:ext uri="{FF2B5EF4-FFF2-40B4-BE49-F238E27FC236}">
                  <a16:creationId xmlns:a16="http://schemas.microsoft.com/office/drawing/2014/main" id="{4B24CA6B-CFE6-4312-9193-05A068FC83CD}"/>
                </a:ext>
              </a:extLst>
            </p:cNvPr>
            <p:cNvGraphicFramePr/>
            <p:nvPr>
              <p:extLst>
                <p:ext uri="{D42A27DB-BD31-4B8C-83A1-F6EECF244321}">
                  <p14:modId xmlns:p14="http://schemas.microsoft.com/office/powerpoint/2010/main" val="3766398100"/>
                </p:ext>
              </p:extLst>
            </p:nvPr>
          </p:nvGraphicFramePr>
          <p:xfrm>
            <a:off x="256566" y="2047392"/>
            <a:ext cx="1429966" cy="1172638"/>
          </p:xfrm>
          <a:graphic>
            <a:graphicData uri="http://schemas.openxmlformats.org/drawingml/2006/chart">
              <c:chart xmlns:c="http://schemas.openxmlformats.org/drawingml/2006/chart" xmlns:r="http://schemas.openxmlformats.org/officeDocument/2006/relationships" r:id="rId6"/>
            </a:graphicData>
          </a:graphic>
        </p:graphicFrame>
      </p:grpSp>
      <p:grpSp>
        <p:nvGrpSpPr>
          <p:cNvPr id="8" name="Group 7">
            <a:extLst>
              <a:ext uri="{FF2B5EF4-FFF2-40B4-BE49-F238E27FC236}">
                <a16:creationId xmlns:a16="http://schemas.microsoft.com/office/drawing/2014/main" id="{8B76E7C6-345A-4BDA-849C-CC73C0BF6251}"/>
              </a:ext>
            </a:extLst>
          </p:cNvPr>
          <p:cNvGrpSpPr/>
          <p:nvPr/>
        </p:nvGrpSpPr>
        <p:grpSpPr>
          <a:xfrm>
            <a:off x="265792" y="5138774"/>
            <a:ext cx="3847488" cy="1311356"/>
            <a:chOff x="265792" y="5138774"/>
            <a:chExt cx="3847488" cy="1311356"/>
          </a:xfrm>
        </p:grpSpPr>
        <p:sp>
          <p:nvSpPr>
            <p:cNvPr id="13" name="Rechteck 27">
              <a:extLst>
                <a:ext uri="{FF2B5EF4-FFF2-40B4-BE49-F238E27FC236}">
                  <a16:creationId xmlns:a16="http://schemas.microsoft.com/office/drawing/2014/main" id="{E73FABCD-D2B2-473E-AA3F-E74F23986FF6}"/>
                </a:ext>
              </a:extLst>
            </p:cNvPr>
            <p:cNvSpPr/>
            <p:nvPr/>
          </p:nvSpPr>
          <p:spPr>
            <a:xfrm>
              <a:off x="265792" y="5138774"/>
              <a:ext cx="3847488" cy="1311356"/>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981075" lvl="3"/>
              <a:r>
                <a:rPr lang="lt-LT" sz="4400" b="1" dirty="0">
                  <a:solidFill>
                    <a:schemeClr val="accent4"/>
                  </a:solidFill>
                </a:rPr>
                <a:t>237</a:t>
              </a:r>
            </a:p>
            <a:p>
              <a:pPr marL="981075" lvl="3"/>
              <a:r>
                <a:rPr lang="lt-LT" sz="1400" dirty="0">
                  <a:solidFill>
                    <a:schemeClr val="tx1"/>
                  </a:solidFill>
                </a:rPr>
                <a:t>Vidutinis darbuotojų skaičius ofise</a:t>
              </a:r>
              <a:endParaRPr lang="en-GB" sz="1400" dirty="0">
                <a:solidFill>
                  <a:schemeClr val="tx1"/>
                </a:solidFill>
              </a:endParaRPr>
            </a:p>
          </p:txBody>
        </p:sp>
        <p:sp>
          <p:nvSpPr>
            <p:cNvPr id="18" name="Work4" descr="{&quot;Key&quot;:&quot;POWER_USER_SHAPE_ICON&quot;,&quot;Value&quot;:&quot;POWER_USER_SHAPE_ICON_STYLE_1&quot;}">
              <a:extLst>
                <a:ext uri="{FF2B5EF4-FFF2-40B4-BE49-F238E27FC236}">
                  <a16:creationId xmlns:a16="http://schemas.microsoft.com/office/drawing/2014/main" id="{4F7C8FDB-1D01-4052-8ED9-40D6396C4512}"/>
                </a:ext>
              </a:extLst>
            </p:cNvPr>
            <p:cNvSpPr>
              <a:spLocks noChangeAspect="1" noEditPoints="1"/>
            </p:cNvSpPr>
            <p:nvPr>
              <p:custDataLst>
                <p:tags r:id="rId1"/>
              </p:custDataLst>
            </p:nvPr>
          </p:nvSpPr>
          <p:spPr bwMode="auto">
            <a:xfrm>
              <a:off x="325317" y="5380930"/>
              <a:ext cx="780468" cy="655395"/>
            </a:xfrm>
            <a:custGeom>
              <a:avLst/>
              <a:gdLst>
                <a:gd name="T0" fmla="*/ 709 w 1644"/>
                <a:gd name="T1" fmla="*/ 855 h 1384"/>
                <a:gd name="T2" fmla="*/ 675 w 1644"/>
                <a:gd name="T3" fmla="*/ 745 h 1384"/>
                <a:gd name="T4" fmla="*/ 922 w 1644"/>
                <a:gd name="T5" fmla="*/ 834 h 1384"/>
                <a:gd name="T6" fmla="*/ 861 w 1644"/>
                <a:gd name="T7" fmla="*/ 808 h 1384"/>
                <a:gd name="T8" fmla="*/ 1328 w 1644"/>
                <a:gd name="T9" fmla="*/ 1216 h 1384"/>
                <a:gd name="T10" fmla="*/ 1227 w 1644"/>
                <a:gd name="T11" fmla="*/ 1120 h 1384"/>
                <a:gd name="T12" fmla="*/ 1103 w 1644"/>
                <a:gd name="T13" fmla="*/ 1101 h 1384"/>
                <a:gd name="T14" fmla="*/ 1251 w 1644"/>
                <a:gd name="T15" fmla="*/ 926 h 1384"/>
                <a:gd name="T16" fmla="*/ 1069 w 1644"/>
                <a:gd name="T17" fmla="*/ 0 h 1384"/>
                <a:gd name="T18" fmla="*/ 966 w 1644"/>
                <a:gd name="T19" fmla="*/ 145 h 1384"/>
                <a:gd name="T20" fmla="*/ 819 w 1644"/>
                <a:gd name="T21" fmla="*/ 379 h 1384"/>
                <a:gd name="T22" fmla="*/ 806 w 1644"/>
                <a:gd name="T23" fmla="*/ 649 h 1384"/>
                <a:gd name="T24" fmla="*/ 843 w 1644"/>
                <a:gd name="T25" fmla="*/ 883 h 1384"/>
                <a:gd name="T26" fmla="*/ 901 w 1644"/>
                <a:gd name="T27" fmla="*/ 919 h 1384"/>
                <a:gd name="T28" fmla="*/ 1053 w 1644"/>
                <a:gd name="T29" fmla="*/ 939 h 1384"/>
                <a:gd name="T30" fmla="*/ 1047 w 1644"/>
                <a:gd name="T31" fmla="*/ 1051 h 1384"/>
                <a:gd name="T32" fmla="*/ 1004 w 1644"/>
                <a:gd name="T33" fmla="*/ 1124 h 1384"/>
                <a:gd name="T34" fmla="*/ 873 w 1644"/>
                <a:gd name="T35" fmla="*/ 1196 h 1384"/>
                <a:gd name="T36" fmla="*/ 945 w 1644"/>
                <a:gd name="T37" fmla="*/ 1223 h 1384"/>
                <a:gd name="T38" fmla="*/ 1050 w 1644"/>
                <a:gd name="T39" fmla="*/ 1334 h 1384"/>
                <a:gd name="T40" fmla="*/ 1114 w 1644"/>
                <a:gd name="T41" fmla="*/ 1207 h 1384"/>
                <a:gd name="T42" fmla="*/ 1335 w 1644"/>
                <a:gd name="T43" fmla="*/ 1325 h 1384"/>
                <a:gd name="T44" fmla="*/ 1606 w 1644"/>
                <a:gd name="T45" fmla="*/ 1328 h 1384"/>
                <a:gd name="T46" fmla="*/ 1498 w 1644"/>
                <a:gd name="T47" fmla="*/ 1249 h 1384"/>
                <a:gd name="T48" fmla="*/ 1552 w 1644"/>
                <a:gd name="T49" fmla="*/ 1190 h 1384"/>
                <a:gd name="T50" fmla="*/ 1538 w 1644"/>
                <a:gd name="T51" fmla="*/ 792 h 1384"/>
                <a:gd name="T52" fmla="*/ 1333 w 1644"/>
                <a:gd name="T53" fmla="*/ 629 h 1384"/>
                <a:gd name="T54" fmla="*/ 1186 w 1644"/>
                <a:gd name="T55" fmla="*/ 589 h 1384"/>
                <a:gd name="T56" fmla="*/ 1095 w 1644"/>
                <a:gd name="T57" fmla="*/ 521 h 1384"/>
                <a:gd name="T58" fmla="*/ 1074 w 1644"/>
                <a:gd name="T59" fmla="*/ 400 h 1384"/>
                <a:gd name="T60" fmla="*/ 1089 w 1644"/>
                <a:gd name="T61" fmla="*/ 289 h 1384"/>
                <a:gd name="T62" fmla="*/ 1173 w 1644"/>
                <a:gd name="T63" fmla="*/ 152 h 1384"/>
                <a:gd name="T64" fmla="*/ 1083 w 1644"/>
                <a:gd name="T65" fmla="*/ 2 h 1384"/>
                <a:gd name="T66" fmla="*/ 485 w 1644"/>
                <a:gd name="T67" fmla="*/ 47 h 1384"/>
                <a:gd name="T68" fmla="*/ 449 w 1644"/>
                <a:gd name="T69" fmla="*/ 257 h 1384"/>
                <a:gd name="T70" fmla="*/ 493 w 1644"/>
                <a:gd name="T71" fmla="*/ 386 h 1384"/>
                <a:gd name="T72" fmla="*/ 428 w 1644"/>
                <a:gd name="T73" fmla="*/ 573 h 1384"/>
                <a:gd name="T74" fmla="*/ 323 w 1644"/>
                <a:gd name="T75" fmla="*/ 661 h 1384"/>
                <a:gd name="T76" fmla="*/ 224 w 1644"/>
                <a:gd name="T77" fmla="*/ 692 h 1384"/>
                <a:gd name="T78" fmla="*/ 103 w 1644"/>
                <a:gd name="T79" fmla="*/ 779 h 1384"/>
                <a:gd name="T80" fmla="*/ 108 w 1644"/>
                <a:gd name="T81" fmla="*/ 1025 h 1384"/>
                <a:gd name="T82" fmla="*/ 51 w 1644"/>
                <a:gd name="T83" fmla="*/ 1225 h 1384"/>
                <a:gd name="T84" fmla="*/ 209 w 1644"/>
                <a:gd name="T85" fmla="*/ 1221 h 1384"/>
                <a:gd name="T86" fmla="*/ 228 w 1644"/>
                <a:gd name="T87" fmla="*/ 1123 h 1384"/>
                <a:gd name="T88" fmla="*/ 218 w 1644"/>
                <a:gd name="T89" fmla="*/ 881 h 1384"/>
                <a:gd name="T90" fmla="*/ 380 w 1644"/>
                <a:gd name="T91" fmla="*/ 1081 h 1384"/>
                <a:gd name="T92" fmla="*/ 328 w 1644"/>
                <a:gd name="T93" fmla="*/ 1171 h 1384"/>
                <a:gd name="T94" fmla="*/ 304 w 1644"/>
                <a:gd name="T95" fmla="*/ 1292 h 1384"/>
                <a:gd name="T96" fmla="*/ 443 w 1644"/>
                <a:gd name="T97" fmla="*/ 1222 h 1384"/>
                <a:gd name="T98" fmla="*/ 509 w 1644"/>
                <a:gd name="T99" fmla="*/ 1314 h 1384"/>
                <a:gd name="T100" fmla="*/ 526 w 1644"/>
                <a:gd name="T101" fmla="*/ 1219 h 1384"/>
                <a:gd name="T102" fmla="*/ 721 w 1644"/>
                <a:gd name="T103" fmla="*/ 1273 h 1384"/>
                <a:gd name="T104" fmla="*/ 723 w 1644"/>
                <a:gd name="T105" fmla="*/ 1201 h 1384"/>
                <a:gd name="T106" fmla="*/ 564 w 1644"/>
                <a:gd name="T107" fmla="*/ 1169 h 1384"/>
                <a:gd name="T108" fmla="*/ 526 w 1644"/>
                <a:gd name="T109" fmla="*/ 1149 h 1384"/>
                <a:gd name="T110" fmla="*/ 687 w 1644"/>
                <a:gd name="T111" fmla="*/ 982 h 1384"/>
                <a:gd name="T112" fmla="*/ 737 w 1644"/>
                <a:gd name="T113" fmla="*/ 876 h 1384"/>
                <a:gd name="T114" fmla="*/ 726 w 1644"/>
                <a:gd name="T115" fmla="*/ 666 h 1384"/>
                <a:gd name="T116" fmla="*/ 712 w 1644"/>
                <a:gd name="T117" fmla="*/ 520 h 1384"/>
                <a:gd name="T118" fmla="*/ 675 w 1644"/>
                <a:gd name="T119" fmla="*/ 346 h 1384"/>
                <a:gd name="T120" fmla="*/ 711 w 1644"/>
                <a:gd name="T121" fmla="*/ 153 h 1384"/>
                <a:gd name="T122" fmla="*/ 641 w 1644"/>
                <a:gd name="T123" fmla="*/ 31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44" h="1384">
                  <a:moveTo>
                    <a:pt x="682" y="341"/>
                  </a:moveTo>
                  <a:cubicBezTo>
                    <a:pt x="681" y="341"/>
                    <a:pt x="681" y="342"/>
                    <a:pt x="681" y="342"/>
                  </a:cubicBezTo>
                  <a:cubicBezTo>
                    <a:pt x="681" y="342"/>
                    <a:pt x="681" y="343"/>
                    <a:pt x="681" y="343"/>
                  </a:cubicBezTo>
                  <a:cubicBezTo>
                    <a:pt x="681" y="343"/>
                    <a:pt x="681" y="343"/>
                    <a:pt x="682" y="343"/>
                  </a:cubicBezTo>
                  <a:cubicBezTo>
                    <a:pt x="682" y="342"/>
                    <a:pt x="682" y="342"/>
                    <a:pt x="682" y="341"/>
                  </a:cubicBezTo>
                  <a:cubicBezTo>
                    <a:pt x="682" y="341"/>
                    <a:pt x="682" y="341"/>
                    <a:pt x="682" y="341"/>
                  </a:cubicBezTo>
                  <a:close/>
                  <a:moveTo>
                    <a:pt x="696" y="742"/>
                  </a:moveTo>
                  <a:cubicBezTo>
                    <a:pt x="697" y="742"/>
                    <a:pt x="698" y="742"/>
                    <a:pt x="699" y="743"/>
                  </a:cubicBezTo>
                  <a:cubicBezTo>
                    <a:pt x="700" y="744"/>
                    <a:pt x="700" y="745"/>
                    <a:pt x="699" y="747"/>
                  </a:cubicBezTo>
                  <a:cubicBezTo>
                    <a:pt x="699" y="750"/>
                    <a:pt x="699" y="750"/>
                    <a:pt x="700" y="751"/>
                  </a:cubicBezTo>
                  <a:cubicBezTo>
                    <a:pt x="701" y="751"/>
                    <a:pt x="702" y="752"/>
                    <a:pt x="702" y="755"/>
                  </a:cubicBezTo>
                  <a:cubicBezTo>
                    <a:pt x="701" y="760"/>
                    <a:pt x="704" y="781"/>
                    <a:pt x="705" y="782"/>
                  </a:cubicBezTo>
                  <a:cubicBezTo>
                    <a:pt x="705" y="783"/>
                    <a:pt x="706" y="787"/>
                    <a:pt x="707" y="792"/>
                  </a:cubicBezTo>
                  <a:cubicBezTo>
                    <a:pt x="707" y="797"/>
                    <a:pt x="708" y="802"/>
                    <a:pt x="709" y="804"/>
                  </a:cubicBezTo>
                  <a:cubicBezTo>
                    <a:pt x="710" y="806"/>
                    <a:pt x="710" y="811"/>
                    <a:pt x="711" y="816"/>
                  </a:cubicBezTo>
                  <a:cubicBezTo>
                    <a:pt x="711" y="820"/>
                    <a:pt x="712" y="826"/>
                    <a:pt x="713" y="829"/>
                  </a:cubicBezTo>
                  <a:cubicBezTo>
                    <a:pt x="713" y="832"/>
                    <a:pt x="714" y="838"/>
                    <a:pt x="714" y="844"/>
                  </a:cubicBezTo>
                  <a:cubicBezTo>
                    <a:pt x="714" y="854"/>
                    <a:pt x="713" y="855"/>
                    <a:pt x="709" y="855"/>
                  </a:cubicBezTo>
                  <a:cubicBezTo>
                    <a:pt x="707" y="855"/>
                    <a:pt x="706" y="853"/>
                    <a:pt x="706" y="849"/>
                  </a:cubicBezTo>
                  <a:cubicBezTo>
                    <a:pt x="706" y="847"/>
                    <a:pt x="706" y="845"/>
                    <a:pt x="705" y="843"/>
                  </a:cubicBezTo>
                  <a:cubicBezTo>
                    <a:pt x="704" y="841"/>
                    <a:pt x="703" y="838"/>
                    <a:pt x="702" y="836"/>
                  </a:cubicBezTo>
                  <a:cubicBezTo>
                    <a:pt x="702" y="833"/>
                    <a:pt x="701" y="830"/>
                    <a:pt x="700" y="829"/>
                  </a:cubicBezTo>
                  <a:cubicBezTo>
                    <a:pt x="699" y="827"/>
                    <a:pt x="698" y="824"/>
                    <a:pt x="698" y="822"/>
                  </a:cubicBezTo>
                  <a:cubicBezTo>
                    <a:pt x="697" y="820"/>
                    <a:pt x="697" y="817"/>
                    <a:pt x="696" y="816"/>
                  </a:cubicBezTo>
                  <a:cubicBezTo>
                    <a:pt x="695" y="815"/>
                    <a:pt x="694" y="813"/>
                    <a:pt x="694" y="810"/>
                  </a:cubicBezTo>
                  <a:cubicBezTo>
                    <a:pt x="694" y="808"/>
                    <a:pt x="692" y="805"/>
                    <a:pt x="692" y="803"/>
                  </a:cubicBezTo>
                  <a:cubicBezTo>
                    <a:pt x="691" y="802"/>
                    <a:pt x="690" y="800"/>
                    <a:pt x="690" y="798"/>
                  </a:cubicBezTo>
                  <a:cubicBezTo>
                    <a:pt x="690" y="797"/>
                    <a:pt x="689" y="794"/>
                    <a:pt x="688" y="793"/>
                  </a:cubicBezTo>
                  <a:cubicBezTo>
                    <a:pt x="687" y="792"/>
                    <a:pt x="686" y="790"/>
                    <a:pt x="686" y="788"/>
                  </a:cubicBezTo>
                  <a:cubicBezTo>
                    <a:pt x="685" y="786"/>
                    <a:pt x="684" y="784"/>
                    <a:pt x="683" y="782"/>
                  </a:cubicBezTo>
                  <a:cubicBezTo>
                    <a:pt x="683" y="781"/>
                    <a:pt x="682" y="778"/>
                    <a:pt x="681" y="775"/>
                  </a:cubicBezTo>
                  <a:cubicBezTo>
                    <a:pt x="681" y="773"/>
                    <a:pt x="680" y="769"/>
                    <a:pt x="679" y="767"/>
                  </a:cubicBezTo>
                  <a:cubicBezTo>
                    <a:pt x="678" y="765"/>
                    <a:pt x="677" y="762"/>
                    <a:pt x="677" y="760"/>
                  </a:cubicBezTo>
                  <a:cubicBezTo>
                    <a:pt x="677" y="758"/>
                    <a:pt x="676" y="756"/>
                    <a:pt x="675" y="755"/>
                  </a:cubicBezTo>
                  <a:cubicBezTo>
                    <a:pt x="673" y="752"/>
                    <a:pt x="673" y="745"/>
                    <a:pt x="675" y="745"/>
                  </a:cubicBezTo>
                  <a:lnTo>
                    <a:pt x="675" y="745"/>
                  </a:lnTo>
                  <a:cubicBezTo>
                    <a:pt x="676" y="745"/>
                    <a:pt x="677" y="746"/>
                    <a:pt x="678" y="747"/>
                  </a:cubicBezTo>
                  <a:cubicBezTo>
                    <a:pt x="679" y="748"/>
                    <a:pt x="680" y="748"/>
                    <a:pt x="681" y="748"/>
                  </a:cubicBezTo>
                  <a:cubicBezTo>
                    <a:pt x="682" y="748"/>
                    <a:pt x="683" y="748"/>
                    <a:pt x="685" y="747"/>
                  </a:cubicBezTo>
                  <a:cubicBezTo>
                    <a:pt x="688" y="746"/>
                    <a:pt x="691" y="745"/>
                    <a:pt x="692" y="744"/>
                  </a:cubicBezTo>
                  <a:cubicBezTo>
                    <a:pt x="693" y="743"/>
                    <a:pt x="695" y="742"/>
                    <a:pt x="696" y="742"/>
                  </a:cubicBezTo>
                  <a:close/>
                  <a:moveTo>
                    <a:pt x="874" y="746"/>
                  </a:moveTo>
                  <a:cubicBezTo>
                    <a:pt x="876" y="746"/>
                    <a:pt x="877" y="747"/>
                    <a:pt x="877" y="748"/>
                  </a:cubicBezTo>
                  <a:cubicBezTo>
                    <a:pt x="878" y="750"/>
                    <a:pt x="879" y="751"/>
                    <a:pt x="880" y="752"/>
                  </a:cubicBezTo>
                  <a:cubicBezTo>
                    <a:pt x="880" y="752"/>
                    <a:pt x="881" y="753"/>
                    <a:pt x="881" y="755"/>
                  </a:cubicBezTo>
                  <a:cubicBezTo>
                    <a:pt x="883" y="760"/>
                    <a:pt x="895" y="776"/>
                    <a:pt x="898" y="776"/>
                  </a:cubicBezTo>
                  <a:cubicBezTo>
                    <a:pt x="899" y="776"/>
                    <a:pt x="900" y="778"/>
                    <a:pt x="901" y="780"/>
                  </a:cubicBezTo>
                  <a:cubicBezTo>
                    <a:pt x="904" y="785"/>
                    <a:pt x="908" y="792"/>
                    <a:pt x="910" y="792"/>
                  </a:cubicBezTo>
                  <a:cubicBezTo>
                    <a:pt x="910" y="792"/>
                    <a:pt x="910" y="793"/>
                    <a:pt x="910" y="794"/>
                  </a:cubicBezTo>
                  <a:cubicBezTo>
                    <a:pt x="910" y="794"/>
                    <a:pt x="912" y="797"/>
                    <a:pt x="914" y="799"/>
                  </a:cubicBezTo>
                  <a:cubicBezTo>
                    <a:pt x="918" y="804"/>
                    <a:pt x="918" y="807"/>
                    <a:pt x="916" y="810"/>
                  </a:cubicBezTo>
                  <a:cubicBezTo>
                    <a:pt x="914" y="812"/>
                    <a:pt x="914" y="815"/>
                    <a:pt x="917" y="820"/>
                  </a:cubicBezTo>
                  <a:cubicBezTo>
                    <a:pt x="918" y="821"/>
                    <a:pt x="919" y="824"/>
                    <a:pt x="919" y="825"/>
                  </a:cubicBezTo>
                  <a:cubicBezTo>
                    <a:pt x="919" y="829"/>
                    <a:pt x="920" y="834"/>
                    <a:pt x="922" y="834"/>
                  </a:cubicBezTo>
                  <a:cubicBezTo>
                    <a:pt x="922" y="834"/>
                    <a:pt x="923" y="835"/>
                    <a:pt x="923" y="837"/>
                  </a:cubicBezTo>
                  <a:cubicBezTo>
                    <a:pt x="923" y="839"/>
                    <a:pt x="924" y="842"/>
                    <a:pt x="925" y="843"/>
                  </a:cubicBezTo>
                  <a:cubicBezTo>
                    <a:pt x="926" y="844"/>
                    <a:pt x="927" y="846"/>
                    <a:pt x="927" y="847"/>
                  </a:cubicBezTo>
                  <a:cubicBezTo>
                    <a:pt x="927" y="848"/>
                    <a:pt x="928" y="849"/>
                    <a:pt x="929" y="850"/>
                  </a:cubicBezTo>
                  <a:cubicBezTo>
                    <a:pt x="930" y="852"/>
                    <a:pt x="931" y="854"/>
                    <a:pt x="932" y="856"/>
                  </a:cubicBezTo>
                  <a:cubicBezTo>
                    <a:pt x="933" y="858"/>
                    <a:pt x="934" y="859"/>
                    <a:pt x="934" y="859"/>
                  </a:cubicBezTo>
                  <a:cubicBezTo>
                    <a:pt x="936" y="859"/>
                    <a:pt x="935" y="863"/>
                    <a:pt x="933" y="864"/>
                  </a:cubicBezTo>
                  <a:cubicBezTo>
                    <a:pt x="932" y="864"/>
                    <a:pt x="931" y="865"/>
                    <a:pt x="931" y="866"/>
                  </a:cubicBezTo>
                  <a:cubicBezTo>
                    <a:pt x="931" y="867"/>
                    <a:pt x="918" y="880"/>
                    <a:pt x="915" y="881"/>
                  </a:cubicBezTo>
                  <a:cubicBezTo>
                    <a:pt x="914" y="882"/>
                    <a:pt x="914" y="882"/>
                    <a:pt x="913" y="882"/>
                  </a:cubicBezTo>
                  <a:cubicBezTo>
                    <a:pt x="909" y="882"/>
                    <a:pt x="904" y="880"/>
                    <a:pt x="901" y="878"/>
                  </a:cubicBezTo>
                  <a:cubicBezTo>
                    <a:pt x="900" y="877"/>
                    <a:pt x="898" y="877"/>
                    <a:pt x="897" y="877"/>
                  </a:cubicBezTo>
                  <a:cubicBezTo>
                    <a:pt x="895" y="877"/>
                    <a:pt x="894" y="876"/>
                    <a:pt x="893" y="875"/>
                  </a:cubicBezTo>
                  <a:cubicBezTo>
                    <a:pt x="893" y="874"/>
                    <a:pt x="885" y="868"/>
                    <a:pt x="883" y="868"/>
                  </a:cubicBezTo>
                  <a:cubicBezTo>
                    <a:pt x="882" y="868"/>
                    <a:pt x="877" y="864"/>
                    <a:pt x="873" y="858"/>
                  </a:cubicBezTo>
                  <a:cubicBezTo>
                    <a:pt x="871" y="856"/>
                    <a:pt x="869" y="853"/>
                    <a:pt x="868" y="850"/>
                  </a:cubicBezTo>
                  <a:cubicBezTo>
                    <a:pt x="868" y="847"/>
                    <a:pt x="867" y="845"/>
                    <a:pt x="866" y="844"/>
                  </a:cubicBezTo>
                  <a:cubicBezTo>
                    <a:pt x="864" y="841"/>
                    <a:pt x="862" y="824"/>
                    <a:pt x="861" y="808"/>
                  </a:cubicBezTo>
                  <a:cubicBezTo>
                    <a:pt x="861" y="799"/>
                    <a:pt x="862" y="793"/>
                    <a:pt x="862" y="792"/>
                  </a:cubicBezTo>
                  <a:cubicBezTo>
                    <a:pt x="863" y="792"/>
                    <a:pt x="863" y="789"/>
                    <a:pt x="863" y="786"/>
                  </a:cubicBezTo>
                  <a:cubicBezTo>
                    <a:pt x="864" y="783"/>
                    <a:pt x="864" y="774"/>
                    <a:pt x="864" y="766"/>
                  </a:cubicBezTo>
                  <a:cubicBezTo>
                    <a:pt x="865" y="759"/>
                    <a:pt x="865" y="751"/>
                    <a:pt x="865" y="750"/>
                  </a:cubicBezTo>
                  <a:cubicBezTo>
                    <a:pt x="864" y="748"/>
                    <a:pt x="865" y="748"/>
                    <a:pt x="868" y="747"/>
                  </a:cubicBezTo>
                  <a:cubicBezTo>
                    <a:pt x="871" y="746"/>
                    <a:pt x="873" y="746"/>
                    <a:pt x="874" y="746"/>
                  </a:cubicBezTo>
                  <a:close/>
                  <a:moveTo>
                    <a:pt x="1386" y="897"/>
                  </a:moveTo>
                  <a:lnTo>
                    <a:pt x="1386" y="897"/>
                  </a:lnTo>
                  <a:cubicBezTo>
                    <a:pt x="1381" y="925"/>
                    <a:pt x="1378" y="946"/>
                    <a:pt x="1377" y="961"/>
                  </a:cubicBezTo>
                  <a:cubicBezTo>
                    <a:pt x="1375" y="969"/>
                    <a:pt x="1375" y="986"/>
                    <a:pt x="1375" y="1010"/>
                  </a:cubicBezTo>
                  <a:cubicBezTo>
                    <a:pt x="1375" y="1014"/>
                    <a:pt x="1374" y="1017"/>
                    <a:pt x="1374" y="1020"/>
                  </a:cubicBezTo>
                  <a:cubicBezTo>
                    <a:pt x="1373" y="1023"/>
                    <a:pt x="1372" y="1026"/>
                    <a:pt x="1371" y="1030"/>
                  </a:cubicBezTo>
                  <a:lnTo>
                    <a:pt x="1360" y="1054"/>
                  </a:lnTo>
                  <a:cubicBezTo>
                    <a:pt x="1358" y="1058"/>
                    <a:pt x="1356" y="1062"/>
                    <a:pt x="1355" y="1066"/>
                  </a:cubicBezTo>
                  <a:cubicBezTo>
                    <a:pt x="1355" y="1069"/>
                    <a:pt x="1354" y="1073"/>
                    <a:pt x="1354" y="1077"/>
                  </a:cubicBezTo>
                  <a:cubicBezTo>
                    <a:pt x="1352" y="1097"/>
                    <a:pt x="1351" y="1108"/>
                    <a:pt x="1350" y="1112"/>
                  </a:cubicBezTo>
                  <a:cubicBezTo>
                    <a:pt x="1349" y="1119"/>
                    <a:pt x="1348" y="1126"/>
                    <a:pt x="1346" y="1135"/>
                  </a:cubicBezTo>
                  <a:cubicBezTo>
                    <a:pt x="1343" y="1154"/>
                    <a:pt x="1337" y="1181"/>
                    <a:pt x="1328" y="1216"/>
                  </a:cubicBezTo>
                  <a:lnTo>
                    <a:pt x="1328" y="1216"/>
                  </a:lnTo>
                  <a:cubicBezTo>
                    <a:pt x="1327" y="1215"/>
                    <a:pt x="1327" y="1212"/>
                    <a:pt x="1327" y="1207"/>
                  </a:cubicBezTo>
                  <a:cubicBezTo>
                    <a:pt x="1327" y="1204"/>
                    <a:pt x="1327" y="1202"/>
                    <a:pt x="1325" y="1201"/>
                  </a:cubicBezTo>
                  <a:cubicBezTo>
                    <a:pt x="1324" y="1200"/>
                    <a:pt x="1323" y="1199"/>
                    <a:pt x="1323" y="1198"/>
                  </a:cubicBezTo>
                  <a:cubicBezTo>
                    <a:pt x="1323" y="1197"/>
                    <a:pt x="1319" y="1194"/>
                    <a:pt x="1315" y="1193"/>
                  </a:cubicBezTo>
                  <a:cubicBezTo>
                    <a:pt x="1313" y="1193"/>
                    <a:pt x="1311" y="1192"/>
                    <a:pt x="1309" y="1191"/>
                  </a:cubicBezTo>
                  <a:cubicBezTo>
                    <a:pt x="1307" y="1190"/>
                    <a:pt x="1302" y="1189"/>
                    <a:pt x="1298" y="1189"/>
                  </a:cubicBezTo>
                  <a:cubicBezTo>
                    <a:pt x="1293" y="1188"/>
                    <a:pt x="1289" y="1188"/>
                    <a:pt x="1288" y="1187"/>
                  </a:cubicBezTo>
                  <a:cubicBezTo>
                    <a:pt x="1287" y="1187"/>
                    <a:pt x="1281" y="1186"/>
                    <a:pt x="1274" y="1185"/>
                  </a:cubicBezTo>
                  <a:cubicBezTo>
                    <a:pt x="1268" y="1184"/>
                    <a:pt x="1262" y="1183"/>
                    <a:pt x="1261" y="1182"/>
                  </a:cubicBezTo>
                  <a:cubicBezTo>
                    <a:pt x="1260" y="1182"/>
                    <a:pt x="1256" y="1181"/>
                    <a:pt x="1252" y="1181"/>
                  </a:cubicBezTo>
                  <a:cubicBezTo>
                    <a:pt x="1247" y="1180"/>
                    <a:pt x="1242" y="1179"/>
                    <a:pt x="1239" y="1178"/>
                  </a:cubicBezTo>
                  <a:cubicBezTo>
                    <a:pt x="1237" y="1178"/>
                    <a:pt x="1233" y="1177"/>
                    <a:pt x="1231" y="1176"/>
                  </a:cubicBezTo>
                  <a:lnTo>
                    <a:pt x="1227" y="1176"/>
                  </a:lnTo>
                  <a:lnTo>
                    <a:pt x="1226" y="1167"/>
                  </a:lnTo>
                  <a:cubicBezTo>
                    <a:pt x="1225" y="1157"/>
                    <a:pt x="1226" y="1152"/>
                    <a:pt x="1229" y="1148"/>
                  </a:cubicBezTo>
                  <a:cubicBezTo>
                    <a:pt x="1231" y="1145"/>
                    <a:pt x="1232" y="1128"/>
                    <a:pt x="1229" y="1125"/>
                  </a:cubicBezTo>
                  <a:cubicBezTo>
                    <a:pt x="1229" y="1124"/>
                    <a:pt x="1228" y="1121"/>
                    <a:pt x="1227" y="1120"/>
                  </a:cubicBezTo>
                  <a:cubicBezTo>
                    <a:pt x="1225" y="1116"/>
                    <a:pt x="1224" y="1116"/>
                    <a:pt x="1219" y="1115"/>
                  </a:cubicBezTo>
                  <a:lnTo>
                    <a:pt x="1215" y="1114"/>
                  </a:lnTo>
                  <a:lnTo>
                    <a:pt x="1214" y="1108"/>
                  </a:lnTo>
                  <a:cubicBezTo>
                    <a:pt x="1214" y="1101"/>
                    <a:pt x="1210" y="1094"/>
                    <a:pt x="1207" y="1093"/>
                  </a:cubicBezTo>
                  <a:cubicBezTo>
                    <a:pt x="1206" y="1093"/>
                    <a:pt x="1203" y="1092"/>
                    <a:pt x="1201" y="1091"/>
                  </a:cubicBezTo>
                  <a:cubicBezTo>
                    <a:pt x="1200" y="1091"/>
                    <a:pt x="1199" y="1090"/>
                    <a:pt x="1198" y="1090"/>
                  </a:cubicBezTo>
                  <a:cubicBezTo>
                    <a:pt x="1197" y="1090"/>
                    <a:pt x="1196" y="1090"/>
                    <a:pt x="1195" y="1091"/>
                  </a:cubicBezTo>
                  <a:cubicBezTo>
                    <a:pt x="1193" y="1092"/>
                    <a:pt x="1184" y="1097"/>
                    <a:pt x="1174" y="1101"/>
                  </a:cubicBezTo>
                  <a:cubicBezTo>
                    <a:pt x="1164" y="1106"/>
                    <a:pt x="1155" y="1111"/>
                    <a:pt x="1154" y="1111"/>
                  </a:cubicBezTo>
                  <a:cubicBezTo>
                    <a:pt x="1153" y="1112"/>
                    <a:pt x="1152" y="1112"/>
                    <a:pt x="1150" y="1113"/>
                  </a:cubicBezTo>
                  <a:cubicBezTo>
                    <a:pt x="1147" y="1115"/>
                    <a:pt x="1131" y="1122"/>
                    <a:pt x="1120" y="1127"/>
                  </a:cubicBezTo>
                  <a:cubicBezTo>
                    <a:pt x="1116" y="1129"/>
                    <a:pt x="1111" y="1132"/>
                    <a:pt x="1109" y="1132"/>
                  </a:cubicBezTo>
                  <a:cubicBezTo>
                    <a:pt x="1109" y="1132"/>
                    <a:pt x="1108" y="1132"/>
                    <a:pt x="1108" y="1132"/>
                  </a:cubicBezTo>
                  <a:cubicBezTo>
                    <a:pt x="1106" y="1132"/>
                    <a:pt x="1106" y="1131"/>
                    <a:pt x="1105" y="1130"/>
                  </a:cubicBezTo>
                  <a:cubicBezTo>
                    <a:pt x="1105" y="1128"/>
                    <a:pt x="1104" y="1124"/>
                    <a:pt x="1104" y="1119"/>
                  </a:cubicBezTo>
                  <a:cubicBezTo>
                    <a:pt x="1104" y="1115"/>
                    <a:pt x="1104" y="1111"/>
                    <a:pt x="1103" y="1110"/>
                  </a:cubicBezTo>
                  <a:cubicBezTo>
                    <a:pt x="1102" y="1110"/>
                    <a:pt x="1103" y="1105"/>
                    <a:pt x="1104" y="1104"/>
                  </a:cubicBezTo>
                  <a:cubicBezTo>
                    <a:pt x="1104" y="1104"/>
                    <a:pt x="1104" y="1103"/>
                    <a:pt x="1103" y="1101"/>
                  </a:cubicBezTo>
                  <a:cubicBezTo>
                    <a:pt x="1103" y="1099"/>
                    <a:pt x="1103" y="1098"/>
                    <a:pt x="1103" y="1096"/>
                  </a:cubicBezTo>
                  <a:cubicBezTo>
                    <a:pt x="1104" y="1095"/>
                    <a:pt x="1104" y="1095"/>
                    <a:pt x="1104" y="1094"/>
                  </a:cubicBezTo>
                  <a:cubicBezTo>
                    <a:pt x="1103" y="1094"/>
                    <a:pt x="1103" y="1083"/>
                    <a:pt x="1103" y="1070"/>
                  </a:cubicBezTo>
                  <a:lnTo>
                    <a:pt x="1103" y="1054"/>
                  </a:lnTo>
                  <a:cubicBezTo>
                    <a:pt x="1102" y="1034"/>
                    <a:pt x="1103" y="984"/>
                    <a:pt x="1104" y="983"/>
                  </a:cubicBezTo>
                  <a:cubicBezTo>
                    <a:pt x="1104" y="983"/>
                    <a:pt x="1104" y="982"/>
                    <a:pt x="1104" y="982"/>
                  </a:cubicBezTo>
                  <a:cubicBezTo>
                    <a:pt x="1103" y="980"/>
                    <a:pt x="1103" y="958"/>
                    <a:pt x="1104" y="956"/>
                  </a:cubicBezTo>
                  <a:cubicBezTo>
                    <a:pt x="1104" y="954"/>
                    <a:pt x="1104" y="953"/>
                    <a:pt x="1101" y="952"/>
                  </a:cubicBezTo>
                  <a:cubicBezTo>
                    <a:pt x="1099" y="951"/>
                    <a:pt x="1096" y="949"/>
                    <a:pt x="1094" y="948"/>
                  </a:cubicBezTo>
                  <a:cubicBezTo>
                    <a:pt x="1090" y="948"/>
                    <a:pt x="1089" y="947"/>
                    <a:pt x="1089" y="945"/>
                  </a:cubicBezTo>
                  <a:cubicBezTo>
                    <a:pt x="1089" y="944"/>
                    <a:pt x="1090" y="943"/>
                    <a:pt x="1091" y="943"/>
                  </a:cubicBezTo>
                  <a:cubicBezTo>
                    <a:pt x="1093" y="942"/>
                    <a:pt x="1098" y="938"/>
                    <a:pt x="1098" y="936"/>
                  </a:cubicBezTo>
                  <a:cubicBezTo>
                    <a:pt x="1098" y="936"/>
                    <a:pt x="1099" y="934"/>
                    <a:pt x="1101" y="933"/>
                  </a:cubicBezTo>
                  <a:lnTo>
                    <a:pt x="1104" y="930"/>
                  </a:lnTo>
                  <a:lnTo>
                    <a:pt x="1170" y="930"/>
                  </a:lnTo>
                  <a:cubicBezTo>
                    <a:pt x="1178" y="930"/>
                    <a:pt x="1185" y="930"/>
                    <a:pt x="1192" y="930"/>
                  </a:cubicBezTo>
                  <a:cubicBezTo>
                    <a:pt x="1230" y="930"/>
                    <a:pt x="1237" y="929"/>
                    <a:pt x="1239" y="928"/>
                  </a:cubicBezTo>
                  <a:cubicBezTo>
                    <a:pt x="1240" y="928"/>
                    <a:pt x="1245" y="927"/>
                    <a:pt x="1251" y="926"/>
                  </a:cubicBezTo>
                  <a:cubicBezTo>
                    <a:pt x="1257" y="926"/>
                    <a:pt x="1262" y="925"/>
                    <a:pt x="1264" y="924"/>
                  </a:cubicBezTo>
                  <a:cubicBezTo>
                    <a:pt x="1265" y="923"/>
                    <a:pt x="1268" y="922"/>
                    <a:pt x="1271" y="922"/>
                  </a:cubicBezTo>
                  <a:cubicBezTo>
                    <a:pt x="1273" y="922"/>
                    <a:pt x="1276" y="921"/>
                    <a:pt x="1276" y="920"/>
                  </a:cubicBezTo>
                  <a:cubicBezTo>
                    <a:pt x="1277" y="919"/>
                    <a:pt x="1279" y="918"/>
                    <a:pt x="1280" y="918"/>
                  </a:cubicBezTo>
                  <a:cubicBezTo>
                    <a:pt x="1281" y="918"/>
                    <a:pt x="1283" y="917"/>
                    <a:pt x="1285" y="916"/>
                  </a:cubicBezTo>
                  <a:cubicBezTo>
                    <a:pt x="1286" y="914"/>
                    <a:pt x="1288" y="913"/>
                    <a:pt x="1288" y="913"/>
                  </a:cubicBezTo>
                  <a:cubicBezTo>
                    <a:pt x="1289" y="913"/>
                    <a:pt x="1290" y="913"/>
                    <a:pt x="1290" y="912"/>
                  </a:cubicBezTo>
                  <a:cubicBezTo>
                    <a:pt x="1291" y="910"/>
                    <a:pt x="1292" y="910"/>
                    <a:pt x="1292" y="910"/>
                  </a:cubicBezTo>
                  <a:cubicBezTo>
                    <a:pt x="1293" y="910"/>
                    <a:pt x="1295" y="908"/>
                    <a:pt x="1298" y="906"/>
                  </a:cubicBezTo>
                  <a:cubicBezTo>
                    <a:pt x="1299" y="904"/>
                    <a:pt x="1300" y="903"/>
                    <a:pt x="1301" y="902"/>
                  </a:cubicBezTo>
                  <a:lnTo>
                    <a:pt x="1301" y="902"/>
                  </a:lnTo>
                  <a:lnTo>
                    <a:pt x="1386" y="897"/>
                  </a:lnTo>
                  <a:close/>
                  <a:moveTo>
                    <a:pt x="736" y="1266"/>
                  </a:moveTo>
                  <a:lnTo>
                    <a:pt x="737" y="1266"/>
                  </a:lnTo>
                  <a:lnTo>
                    <a:pt x="736" y="1266"/>
                  </a:lnTo>
                  <a:lnTo>
                    <a:pt x="736" y="1266"/>
                  </a:lnTo>
                  <a:cubicBezTo>
                    <a:pt x="736" y="1266"/>
                    <a:pt x="736" y="1266"/>
                    <a:pt x="736" y="1266"/>
                  </a:cubicBezTo>
                  <a:close/>
                  <a:moveTo>
                    <a:pt x="1069" y="0"/>
                  </a:moveTo>
                  <a:cubicBezTo>
                    <a:pt x="1068" y="0"/>
                    <a:pt x="1067" y="0"/>
                    <a:pt x="1065" y="1"/>
                  </a:cubicBezTo>
                  <a:cubicBezTo>
                    <a:pt x="1056" y="3"/>
                    <a:pt x="1042" y="8"/>
                    <a:pt x="1036" y="10"/>
                  </a:cubicBezTo>
                  <a:cubicBezTo>
                    <a:pt x="1033" y="12"/>
                    <a:pt x="1029" y="13"/>
                    <a:pt x="1028" y="13"/>
                  </a:cubicBezTo>
                  <a:cubicBezTo>
                    <a:pt x="1026" y="13"/>
                    <a:pt x="1021" y="16"/>
                    <a:pt x="1020" y="19"/>
                  </a:cubicBezTo>
                  <a:cubicBezTo>
                    <a:pt x="1019" y="21"/>
                    <a:pt x="1018" y="22"/>
                    <a:pt x="1014" y="24"/>
                  </a:cubicBezTo>
                  <a:cubicBezTo>
                    <a:pt x="1011" y="25"/>
                    <a:pt x="1009" y="27"/>
                    <a:pt x="1008" y="28"/>
                  </a:cubicBezTo>
                  <a:cubicBezTo>
                    <a:pt x="1008" y="30"/>
                    <a:pt x="1006" y="31"/>
                    <a:pt x="1005" y="32"/>
                  </a:cubicBezTo>
                  <a:cubicBezTo>
                    <a:pt x="1003" y="34"/>
                    <a:pt x="996" y="43"/>
                    <a:pt x="996" y="44"/>
                  </a:cubicBezTo>
                  <a:cubicBezTo>
                    <a:pt x="996" y="45"/>
                    <a:pt x="994" y="48"/>
                    <a:pt x="991" y="51"/>
                  </a:cubicBezTo>
                  <a:cubicBezTo>
                    <a:pt x="989" y="55"/>
                    <a:pt x="987" y="58"/>
                    <a:pt x="987" y="59"/>
                  </a:cubicBezTo>
                  <a:cubicBezTo>
                    <a:pt x="987" y="59"/>
                    <a:pt x="985" y="64"/>
                    <a:pt x="983" y="69"/>
                  </a:cubicBezTo>
                  <a:cubicBezTo>
                    <a:pt x="980" y="74"/>
                    <a:pt x="978" y="79"/>
                    <a:pt x="978" y="80"/>
                  </a:cubicBezTo>
                  <a:cubicBezTo>
                    <a:pt x="978" y="80"/>
                    <a:pt x="977" y="83"/>
                    <a:pt x="976" y="85"/>
                  </a:cubicBezTo>
                  <a:cubicBezTo>
                    <a:pt x="975" y="87"/>
                    <a:pt x="975" y="91"/>
                    <a:pt x="974" y="98"/>
                  </a:cubicBezTo>
                  <a:cubicBezTo>
                    <a:pt x="974" y="103"/>
                    <a:pt x="973" y="109"/>
                    <a:pt x="972" y="111"/>
                  </a:cubicBezTo>
                  <a:cubicBezTo>
                    <a:pt x="971" y="114"/>
                    <a:pt x="971" y="119"/>
                    <a:pt x="970" y="123"/>
                  </a:cubicBezTo>
                  <a:cubicBezTo>
                    <a:pt x="970" y="128"/>
                    <a:pt x="969" y="133"/>
                    <a:pt x="968" y="135"/>
                  </a:cubicBezTo>
                  <a:cubicBezTo>
                    <a:pt x="968" y="137"/>
                    <a:pt x="967" y="141"/>
                    <a:pt x="966" y="145"/>
                  </a:cubicBezTo>
                  <a:cubicBezTo>
                    <a:pt x="966" y="148"/>
                    <a:pt x="965" y="153"/>
                    <a:pt x="964" y="155"/>
                  </a:cubicBezTo>
                  <a:cubicBezTo>
                    <a:pt x="962" y="160"/>
                    <a:pt x="963" y="173"/>
                    <a:pt x="964" y="182"/>
                  </a:cubicBezTo>
                  <a:cubicBezTo>
                    <a:pt x="965" y="187"/>
                    <a:pt x="964" y="190"/>
                    <a:pt x="960" y="199"/>
                  </a:cubicBezTo>
                  <a:cubicBezTo>
                    <a:pt x="956" y="207"/>
                    <a:pt x="953" y="210"/>
                    <a:pt x="950" y="210"/>
                  </a:cubicBezTo>
                  <a:cubicBezTo>
                    <a:pt x="948" y="210"/>
                    <a:pt x="947" y="210"/>
                    <a:pt x="946" y="209"/>
                  </a:cubicBezTo>
                  <a:cubicBezTo>
                    <a:pt x="946" y="208"/>
                    <a:pt x="944" y="208"/>
                    <a:pt x="941" y="208"/>
                  </a:cubicBezTo>
                  <a:cubicBezTo>
                    <a:pt x="938" y="208"/>
                    <a:pt x="934" y="209"/>
                    <a:pt x="933" y="210"/>
                  </a:cubicBezTo>
                  <a:cubicBezTo>
                    <a:pt x="932" y="211"/>
                    <a:pt x="931" y="215"/>
                    <a:pt x="930" y="219"/>
                  </a:cubicBezTo>
                  <a:cubicBezTo>
                    <a:pt x="929" y="224"/>
                    <a:pt x="927" y="228"/>
                    <a:pt x="927" y="228"/>
                  </a:cubicBezTo>
                  <a:cubicBezTo>
                    <a:pt x="927" y="229"/>
                    <a:pt x="926" y="230"/>
                    <a:pt x="926" y="232"/>
                  </a:cubicBezTo>
                  <a:cubicBezTo>
                    <a:pt x="925" y="236"/>
                    <a:pt x="924" y="237"/>
                    <a:pt x="906" y="259"/>
                  </a:cubicBezTo>
                  <a:cubicBezTo>
                    <a:pt x="901" y="265"/>
                    <a:pt x="894" y="273"/>
                    <a:pt x="891" y="278"/>
                  </a:cubicBezTo>
                  <a:cubicBezTo>
                    <a:pt x="887" y="283"/>
                    <a:pt x="884" y="287"/>
                    <a:pt x="882" y="288"/>
                  </a:cubicBezTo>
                  <a:cubicBezTo>
                    <a:pt x="880" y="291"/>
                    <a:pt x="874" y="300"/>
                    <a:pt x="871" y="306"/>
                  </a:cubicBezTo>
                  <a:cubicBezTo>
                    <a:pt x="868" y="312"/>
                    <a:pt x="861" y="323"/>
                    <a:pt x="849" y="340"/>
                  </a:cubicBezTo>
                  <a:cubicBezTo>
                    <a:pt x="845" y="345"/>
                    <a:pt x="837" y="354"/>
                    <a:pt x="832" y="360"/>
                  </a:cubicBezTo>
                  <a:cubicBezTo>
                    <a:pt x="825" y="367"/>
                    <a:pt x="822" y="371"/>
                    <a:pt x="821" y="373"/>
                  </a:cubicBezTo>
                  <a:cubicBezTo>
                    <a:pt x="821" y="375"/>
                    <a:pt x="820" y="378"/>
                    <a:pt x="819" y="379"/>
                  </a:cubicBezTo>
                  <a:cubicBezTo>
                    <a:pt x="818" y="380"/>
                    <a:pt x="817" y="384"/>
                    <a:pt x="817" y="387"/>
                  </a:cubicBezTo>
                  <a:cubicBezTo>
                    <a:pt x="816" y="390"/>
                    <a:pt x="815" y="393"/>
                    <a:pt x="815" y="394"/>
                  </a:cubicBezTo>
                  <a:cubicBezTo>
                    <a:pt x="814" y="395"/>
                    <a:pt x="813" y="398"/>
                    <a:pt x="813" y="401"/>
                  </a:cubicBezTo>
                  <a:cubicBezTo>
                    <a:pt x="813" y="404"/>
                    <a:pt x="812" y="408"/>
                    <a:pt x="811" y="410"/>
                  </a:cubicBezTo>
                  <a:cubicBezTo>
                    <a:pt x="810" y="412"/>
                    <a:pt x="809" y="417"/>
                    <a:pt x="809" y="421"/>
                  </a:cubicBezTo>
                  <a:cubicBezTo>
                    <a:pt x="808" y="425"/>
                    <a:pt x="807" y="430"/>
                    <a:pt x="806" y="432"/>
                  </a:cubicBezTo>
                  <a:cubicBezTo>
                    <a:pt x="805" y="434"/>
                    <a:pt x="805" y="441"/>
                    <a:pt x="804" y="462"/>
                  </a:cubicBezTo>
                  <a:cubicBezTo>
                    <a:pt x="803" y="487"/>
                    <a:pt x="803" y="490"/>
                    <a:pt x="805" y="494"/>
                  </a:cubicBezTo>
                  <a:cubicBezTo>
                    <a:pt x="805" y="496"/>
                    <a:pt x="806" y="500"/>
                    <a:pt x="806" y="502"/>
                  </a:cubicBezTo>
                  <a:cubicBezTo>
                    <a:pt x="806" y="504"/>
                    <a:pt x="806" y="505"/>
                    <a:pt x="804" y="506"/>
                  </a:cubicBezTo>
                  <a:cubicBezTo>
                    <a:pt x="800" y="508"/>
                    <a:pt x="794" y="515"/>
                    <a:pt x="790" y="521"/>
                  </a:cubicBezTo>
                  <a:cubicBezTo>
                    <a:pt x="785" y="531"/>
                    <a:pt x="782" y="548"/>
                    <a:pt x="784" y="558"/>
                  </a:cubicBezTo>
                  <a:cubicBezTo>
                    <a:pt x="785" y="561"/>
                    <a:pt x="786" y="567"/>
                    <a:pt x="786" y="570"/>
                  </a:cubicBezTo>
                  <a:cubicBezTo>
                    <a:pt x="787" y="575"/>
                    <a:pt x="790" y="589"/>
                    <a:pt x="792" y="600"/>
                  </a:cubicBezTo>
                  <a:cubicBezTo>
                    <a:pt x="793" y="602"/>
                    <a:pt x="794" y="605"/>
                    <a:pt x="794" y="608"/>
                  </a:cubicBezTo>
                  <a:cubicBezTo>
                    <a:pt x="795" y="610"/>
                    <a:pt x="796" y="616"/>
                    <a:pt x="797" y="620"/>
                  </a:cubicBezTo>
                  <a:cubicBezTo>
                    <a:pt x="800" y="628"/>
                    <a:pt x="801" y="633"/>
                    <a:pt x="803" y="641"/>
                  </a:cubicBezTo>
                  <a:cubicBezTo>
                    <a:pt x="804" y="644"/>
                    <a:pt x="805" y="648"/>
                    <a:pt x="806" y="649"/>
                  </a:cubicBezTo>
                  <a:cubicBezTo>
                    <a:pt x="808" y="655"/>
                    <a:pt x="811" y="667"/>
                    <a:pt x="811" y="672"/>
                  </a:cubicBezTo>
                  <a:cubicBezTo>
                    <a:pt x="811" y="676"/>
                    <a:pt x="811" y="678"/>
                    <a:pt x="812" y="680"/>
                  </a:cubicBezTo>
                  <a:cubicBezTo>
                    <a:pt x="813" y="682"/>
                    <a:pt x="814" y="685"/>
                    <a:pt x="815" y="688"/>
                  </a:cubicBezTo>
                  <a:cubicBezTo>
                    <a:pt x="815" y="690"/>
                    <a:pt x="816" y="694"/>
                    <a:pt x="817" y="695"/>
                  </a:cubicBezTo>
                  <a:cubicBezTo>
                    <a:pt x="818" y="697"/>
                    <a:pt x="819" y="700"/>
                    <a:pt x="819" y="703"/>
                  </a:cubicBezTo>
                  <a:cubicBezTo>
                    <a:pt x="820" y="705"/>
                    <a:pt x="820" y="708"/>
                    <a:pt x="821" y="708"/>
                  </a:cubicBezTo>
                  <a:cubicBezTo>
                    <a:pt x="822" y="709"/>
                    <a:pt x="823" y="712"/>
                    <a:pt x="824" y="714"/>
                  </a:cubicBezTo>
                  <a:cubicBezTo>
                    <a:pt x="825" y="716"/>
                    <a:pt x="826" y="718"/>
                    <a:pt x="827" y="719"/>
                  </a:cubicBezTo>
                  <a:cubicBezTo>
                    <a:pt x="830" y="723"/>
                    <a:pt x="831" y="742"/>
                    <a:pt x="830" y="756"/>
                  </a:cubicBezTo>
                  <a:cubicBezTo>
                    <a:pt x="829" y="760"/>
                    <a:pt x="829" y="768"/>
                    <a:pt x="828" y="774"/>
                  </a:cubicBezTo>
                  <a:cubicBezTo>
                    <a:pt x="828" y="779"/>
                    <a:pt x="828" y="785"/>
                    <a:pt x="827" y="786"/>
                  </a:cubicBezTo>
                  <a:cubicBezTo>
                    <a:pt x="827" y="787"/>
                    <a:pt x="827" y="789"/>
                    <a:pt x="827" y="790"/>
                  </a:cubicBezTo>
                  <a:cubicBezTo>
                    <a:pt x="826" y="792"/>
                    <a:pt x="826" y="796"/>
                    <a:pt x="826" y="801"/>
                  </a:cubicBezTo>
                  <a:cubicBezTo>
                    <a:pt x="825" y="805"/>
                    <a:pt x="825" y="816"/>
                    <a:pt x="825" y="826"/>
                  </a:cubicBezTo>
                  <a:cubicBezTo>
                    <a:pt x="825" y="842"/>
                    <a:pt x="825" y="844"/>
                    <a:pt x="827" y="852"/>
                  </a:cubicBezTo>
                  <a:cubicBezTo>
                    <a:pt x="830" y="862"/>
                    <a:pt x="836" y="875"/>
                    <a:pt x="838" y="876"/>
                  </a:cubicBezTo>
                  <a:cubicBezTo>
                    <a:pt x="839" y="876"/>
                    <a:pt x="840" y="878"/>
                    <a:pt x="840" y="879"/>
                  </a:cubicBezTo>
                  <a:cubicBezTo>
                    <a:pt x="840" y="881"/>
                    <a:pt x="841" y="882"/>
                    <a:pt x="843" y="883"/>
                  </a:cubicBezTo>
                  <a:cubicBezTo>
                    <a:pt x="844" y="884"/>
                    <a:pt x="845" y="886"/>
                    <a:pt x="846" y="887"/>
                  </a:cubicBezTo>
                  <a:cubicBezTo>
                    <a:pt x="846" y="889"/>
                    <a:pt x="847" y="890"/>
                    <a:pt x="849" y="891"/>
                  </a:cubicBezTo>
                  <a:cubicBezTo>
                    <a:pt x="850" y="891"/>
                    <a:pt x="852" y="892"/>
                    <a:pt x="852" y="893"/>
                  </a:cubicBezTo>
                  <a:cubicBezTo>
                    <a:pt x="853" y="894"/>
                    <a:pt x="854" y="895"/>
                    <a:pt x="856" y="897"/>
                  </a:cubicBezTo>
                  <a:cubicBezTo>
                    <a:pt x="858" y="899"/>
                    <a:pt x="859" y="900"/>
                    <a:pt x="859" y="901"/>
                  </a:cubicBezTo>
                  <a:cubicBezTo>
                    <a:pt x="859" y="902"/>
                    <a:pt x="860" y="902"/>
                    <a:pt x="861" y="902"/>
                  </a:cubicBezTo>
                  <a:cubicBezTo>
                    <a:pt x="863" y="902"/>
                    <a:pt x="864" y="903"/>
                    <a:pt x="866" y="905"/>
                  </a:cubicBezTo>
                  <a:cubicBezTo>
                    <a:pt x="867" y="907"/>
                    <a:pt x="868" y="908"/>
                    <a:pt x="870" y="908"/>
                  </a:cubicBezTo>
                  <a:cubicBezTo>
                    <a:pt x="872" y="908"/>
                    <a:pt x="873" y="909"/>
                    <a:pt x="874" y="910"/>
                  </a:cubicBezTo>
                  <a:cubicBezTo>
                    <a:pt x="875" y="911"/>
                    <a:pt x="876" y="912"/>
                    <a:pt x="878" y="912"/>
                  </a:cubicBezTo>
                  <a:cubicBezTo>
                    <a:pt x="880" y="912"/>
                    <a:pt x="881" y="912"/>
                    <a:pt x="882" y="913"/>
                  </a:cubicBezTo>
                  <a:cubicBezTo>
                    <a:pt x="883" y="914"/>
                    <a:pt x="884" y="915"/>
                    <a:pt x="885" y="915"/>
                  </a:cubicBezTo>
                  <a:cubicBezTo>
                    <a:pt x="885" y="915"/>
                    <a:pt x="886" y="915"/>
                    <a:pt x="886" y="915"/>
                  </a:cubicBezTo>
                  <a:cubicBezTo>
                    <a:pt x="887" y="915"/>
                    <a:pt x="887" y="914"/>
                    <a:pt x="888" y="914"/>
                  </a:cubicBezTo>
                  <a:cubicBezTo>
                    <a:pt x="889" y="914"/>
                    <a:pt x="890" y="915"/>
                    <a:pt x="890" y="916"/>
                  </a:cubicBezTo>
                  <a:cubicBezTo>
                    <a:pt x="891" y="916"/>
                    <a:pt x="893" y="917"/>
                    <a:pt x="895" y="917"/>
                  </a:cubicBezTo>
                  <a:cubicBezTo>
                    <a:pt x="897" y="917"/>
                    <a:pt x="899" y="917"/>
                    <a:pt x="899" y="918"/>
                  </a:cubicBezTo>
                  <a:cubicBezTo>
                    <a:pt x="899" y="919"/>
                    <a:pt x="900" y="919"/>
                    <a:pt x="901" y="919"/>
                  </a:cubicBezTo>
                  <a:cubicBezTo>
                    <a:pt x="901" y="919"/>
                    <a:pt x="902" y="919"/>
                    <a:pt x="902" y="919"/>
                  </a:cubicBezTo>
                  <a:cubicBezTo>
                    <a:pt x="903" y="919"/>
                    <a:pt x="903" y="919"/>
                    <a:pt x="904" y="919"/>
                  </a:cubicBezTo>
                  <a:cubicBezTo>
                    <a:pt x="905" y="919"/>
                    <a:pt x="906" y="919"/>
                    <a:pt x="908" y="920"/>
                  </a:cubicBezTo>
                  <a:cubicBezTo>
                    <a:pt x="909" y="921"/>
                    <a:pt x="911" y="922"/>
                    <a:pt x="912" y="922"/>
                  </a:cubicBezTo>
                  <a:cubicBezTo>
                    <a:pt x="914" y="922"/>
                    <a:pt x="916" y="922"/>
                    <a:pt x="919" y="923"/>
                  </a:cubicBezTo>
                  <a:cubicBezTo>
                    <a:pt x="922" y="924"/>
                    <a:pt x="929" y="925"/>
                    <a:pt x="943" y="925"/>
                  </a:cubicBezTo>
                  <a:cubicBezTo>
                    <a:pt x="954" y="926"/>
                    <a:pt x="965" y="927"/>
                    <a:pt x="967" y="927"/>
                  </a:cubicBezTo>
                  <a:cubicBezTo>
                    <a:pt x="969" y="928"/>
                    <a:pt x="972" y="928"/>
                    <a:pt x="974" y="928"/>
                  </a:cubicBezTo>
                  <a:cubicBezTo>
                    <a:pt x="977" y="928"/>
                    <a:pt x="978" y="929"/>
                    <a:pt x="979" y="938"/>
                  </a:cubicBezTo>
                  <a:cubicBezTo>
                    <a:pt x="980" y="940"/>
                    <a:pt x="981" y="943"/>
                    <a:pt x="982" y="945"/>
                  </a:cubicBezTo>
                  <a:cubicBezTo>
                    <a:pt x="984" y="949"/>
                    <a:pt x="984" y="950"/>
                    <a:pt x="989" y="951"/>
                  </a:cubicBezTo>
                  <a:cubicBezTo>
                    <a:pt x="990" y="951"/>
                    <a:pt x="992" y="951"/>
                    <a:pt x="994" y="951"/>
                  </a:cubicBezTo>
                  <a:cubicBezTo>
                    <a:pt x="1001" y="951"/>
                    <a:pt x="1010" y="949"/>
                    <a:pt x="1014" y="947"/>
                  </a:cubicBezTo>
                  <a:cubicBezTo>
                    <a:pt x="1020" y="943"/>
                    <a:pt x="1021" y="941"/>
                    <a:pt x="1021" y="934"/>
                  </a:cubicBezTo>
                  <a:cubicBezTo>
                    <a:pt x="1021" y="926"/>
                    <a:pt x="1021" y="925"/>
                    <a:pt x="1032" y="925"/>
                  </a:cubicBezTo>
                  <a:cubicBezTo>
                    <a:pt x="1042" y="925"/>
                    <a:pt x="1044" y="926"/>
                    <a:pt x="1045" y="932"/>
                  </a:cubicBezTo>
                  <a:cubicBezTo>
                    <a:pt x="1045" y="934"/>
                    <a:pt x="1045" y="937"/>
                    <a:pt x="1045" y="937"/>
                  </a:cubicBezTo>
                  <a:cubicBezTo>
                    <a:pt x="1046" y="938"/>
                    <a:pt x="1049" y="938"/>
                    <a:pt x="1053" y="939"/>
                  </a:cubicBezTo>
                  <a:cubicBezTo>
                    <a:pt x="1056" y="939"/>
                    <a:pt x="1059" y="940"/>
                    <a:pt x="1060" y="940"/>
                  </a:cubicBezTo>
                  <a:cubicBezTo>
                    <a:pt x="1061" y="942"/>
                    <a:pt x="1061" y="947"/>
                    <a:pt x="1059" y="950"/>
                  </a:cubicBezTo>
                  <a:cubicBezTo>
                    <a:pt x="1057" y="952"/>
                    <a:pt x="1056" y="953"/>
                    <a:pt x="1052" y="954"/>
                  </a:cubicBezTo>
                  <a:cubicBezTo>
                    <a:pt x="1046" y="955"/>
                    <a:pt x="1044" y="956"/>
                    <a:pt x="1046" y="958"/>
                  </a:cubicBezTo>
                  <a:cubicBezTo>
                    <a:pt x="1048" y="960"/>
                    <a:pt x="1048" y="962"/>
                    <a:pt x="1047" y="965"/>
                  </a:cubicBezTo>
                  <a:cubicBezTo>
                    <a:pt x="1046" y="966"/>
                    <a:pt x="1046" y="967"/>
                    <a:pt x="1047" y="967"/>
                  </a:cubicBezTo>
                  <a:cubicBezTo>
                    <a:pt x="1048" y="968"/>
                    <a:pt x="1048" y="971"/>
                    <a:pt x="1047" y="972"/>
                  </a:cubicBezTo>
                  <a:cubicBezTo>
                    <a:pt x="1046" y="973"/>
                    <a:pt x="1046" y="974"/>
                    <a:pt x="1047" y="976"/>
                  </a:cubicBezTo>
                  <a:cubicBezTo>
                    <a:pt x="1048" y="978"/>
                    <a:pt x="1048" y="979"/>
                    <a:pt x="1047" y="981"/>
                  </a:cubicBezTo>
                  <a:cubicBezTo>
                    <a:pt x="1046" y="985"/>
                    <a:pt x="1046" y="995"/>
                    <a:pt x="1048" y="996"/>
                  </a:cubicBezTo>
                  <a:cubicBezTo>
                    <a:pt x="1049" y="998"/>
                    <a:pt x="1049" y="1001"/>
                    <a:pt x="1047" y="1002"/>
                  </a:cubicBezTo>
                  <a:cubicBezTo>
                    <a:pt x="1046" y="1003"/>
                    <a:pt x="1046" y="1003"/>
                    <a:pt x="1047" y="1005"/>
                  </a:cubicBezTo>
                  <a:cubicBezTo>
                    <a:pt x="1049" y="1007"/>
                    <a:pt x="1049" y="1009"/>
                    <a:pt x="1048" y="1010"/>
                  </a:cubicBezTo>
                  <a:cubicBezTo>
                    <a:pt x="1046" y="1011"/>
                    <a:pt x="1046" y="1031"/>
                    <a:pt x="1047" y="1034"/>
                  </a:cubicBezTo>
                  <a:cubicBezTo>
                    <a:pt x="1048" y="1036"/>
                    <a:pt x="1048" y="1037"/>
                    <a:pt x="1047" y="1039"/>
                  </a:cubicBezTo>
                  <a:cubicBezTo>
                    <a:pt x="1046" y="1040"/>
                    <a:pt x="1046" y="1041"/>
                    <a:pt x="1047" y="1042"/>
                  </a:cubicBezTo>
                  <a:cubicBezTo>
                    <a:pt x="1048" y="1043"/>
                    <a:pt x="1048" y="1046"/>
                    <a:pt x="1047" y="1048"/>
                  </a:cubicBezTo>
                  <a:cubicBezTo>
                    <a:pt x="1046" y="1049"/>
                    <a:pt x="1046" y="1049"/>
                    <a:pt x="1047" y="1051"/>
                  </a:cubicBezTo>
                  <a:cubicBezTo>
                    <a:pt x="1048" y="1053"/>
                    <a:pt x="1048" y="1054"/>
                    <a:pt x="1047" y="1056"/>
                  </a:cubicBezTo>
                  <a:cubicBezTo>
                    <a:pt x="1046" y="1059"/>
                    <a:pt x="1046" y="1070"/>
                    <a:pt x="1047" y="1070"/>
                  </a:cubicBezTo>
                  <a:cubicBezTo>
                    <a:pt x="1048" y="1071"/>
                    <a:pt x="1048" y="1076"/>
                    <a:pt x="1047" y="1077"/>
                  </a:cubicBezTo>
                  <a:cubicBezTo>
                    <a:pt x="1046" y="1078"/>
                    <a:pt x="1046" y="1078"/>
                    <a:pt x="1047" y="1079"/>
                  </a:cubicBezTo>
                  <a:cubicBezTo>
                    <a:pt x="1048" y="1081"/>
                    <a:pt x="1048" y="1085"/>
                    <a:pt x="1047" y="1086"/>
                  </a:cubicBezTo>
                  <a:cubicBezTo>
                    <a:pt x="1046" y="1086"/>
                    <a:pt x="1046" y="1086"/>
                    <a:pt x="1047" y="1087"/>
                  </a:cubicBezTo>
                  <a:cubicBezTo>
                    <a:pt x="1048" y="1089"/>
                    <a:pt x="1048" y="1093"/>
                    <a:pt x="1047" y="1094"/>
                  </a:cubicBezTo>
                  <a:cubicBezTo>
                    <a:pt x="1047" y="1094"/>
                    <a:pt x="1046" y="1103"/>
                    <a:pt x="1046" y="1113"/>
                  </a:cubicBezTo>
                  <a:cubicBezTo>
                    <a:pt x="1046" y="1123"/>
                    <a:pt x="1046" y="1133"/>
                    <a:pt x="1045" y="1135"/>
                  </a:cubicBezTo>
                  <a:cubicBezTo>
                    <a:pt x="1045" y="1137"/>
                    <a:pt x="1043" y="1138"/>
                    <a:pt x="1041" y="1138"/>
                  </a:cubicBezTo>
                  <a:cubicBezTo>
                    <a:pt x="1040" y="1138"/>
                    <a:pt x="1039" y="1138"/>
                    <a:pt x="1037" y="1137"/>
                  </a:cubicBezTo>
                  <a:cubicBezTo>
                    <a:pt x="1036" y="1137"/>
                    <a:pt x="1033" y="1136"/>
                    <a:pt x="1032" y="1135"/>
                  </a:cubicBezTo>
                  <a:cubicBezTo>
                    <a:pt x="1031" y="1135"/>
                    <a:pt x="1029" y="1134"/>
                    <a:pt x="1029" y="1134"/>
                  </a:cubicBezTo>
                  <a:cubicBezTo>
                    <a:pt x="1029" y="1133"/>
                    <a:pt x="1028" y="1133"/>
                    <a:pt x="1026" y="1133"/>
                  </a:cubicBezTo>
                  <a:cubicBezTo>
                    <a:pt x="1025" y="1133"/>
                    <a:pt x="1023" y="1132"/>
                    <a:pt x="1022" y="1131"/>
                  </a:cubicBezTo>
                  <a:cubicBezTo>
                    <a:pt x="1020" y="1130"/>
                    <a:pt x="1018" y="1129"/>
                    <a:pt x="1017" y="1129"/>
                  </a:cubicBezTo>
                  <a:cubicBezTo>
                    <a:pt x="1016" y="1129"/>
                    <a:pt x="1014" y="1129"/>
                    <a:pt x="1012" y="1128"/>
                  </a:cubicBezTo>
                  <a:cubicBezTo>
                    <a:pt x="1010" y="1127"/>
                    <a:pt x="1007" y="1125"/>
                    <a:pt x="1004" y="1124"/>
                  </a:cubicBezTo>
                  <a:cubicBezTo>
                    <a:pt x="1001" y="1122"/>
                    <a:pt x="996" y="1120"/>
                    <a:pt x="993" y="1119"/>
                  </a:cubicBezTo>
                  <a:cubicBezTo>
                    <a:pt x="983" y="1114"/>
                    <a:pt x="981" y="1113"/>
                    <a:pt x="965" y="1107"/>
                  </a:cubicBezTo>
                  <a:cubicBezTo>
                    <a:pt x="949" y="1101"/>
                    <a:pt x="943" y="1099"/>
                    <a:pt x="940" y="1099"/>
                  </a:cubicBezTo>
                  <a:cubicBezTo>
                    <a:pt x="939" y="1099"/>
                    <a:pt x="938" y="1099"/>
                    <a:pt x="937" y="1099"/>
                  </a:cubicBezTo>
                  <a:cubicBezTo>
                    <a:pt x="935" y="1100"/>
                    <a:pt x="933" y="1102"/>
                    <a:pt x="931" y="1106"/>
                  </a:cubicBezTo>
                  <a:cubicBezTo>
                    <a:pt x="929" y="1111"/>
                    <a:pt x="929" y="1111"/>
                    <a:pt x="929" y="1129"/>
                  </a:cubicBezTo>
                  <a:cubicBezTo>
                    <a:pt x="929" y="1140"/>
                    <a:pt x="929" y="1149"/>
                    <a:pt x="929" y="1150"/>
                  </a:cubicBezTo>
                  <a:cubicBezTo>
                    <a:pt x="930" y="1151"/>
                    <a:pt x="931" y="1154"/>
                    <a:pt x="933" y="1156"/>
                  </a:cubicBezTo>
                  <a:cubicBezTo>
                    <a:pt x="935" y="1159"/>
                    <a:pt x="937" y="1161"/>
                    <a:pt x="937" y="1163"/>
                  </a:cubicBezTo>
                  <a:cubicBezTo>
                    <a:pt x="937" y="1166"/>
                    <a:pt x="938" y="1168"/>
                    <a:pt x="939" y="1168"/>
                  </a:cubicBezTo>
                  <a:cubicBezTo>
                    <a:pt x="942" y="1168"/>
                    <a:pt x="944" y="1171"/>
                    <a:pt x="944" y="1175"/>
                  </a:cubicBezTo>
                  <a:cubicBezTo>
                    <a:pt x="944" y="1179"/>
                    <a:pt x="944" y="1179"/>
                    <a:pt x="941" y="1180"/>
                  </a:cubicBezTo>
                  <a:cubicBezTo>
                    <a:pt x="940" y="1181"/>
                    <a:pt x="937" y="1182"/>
                    <a:pt x="935" y="1182"/>
                  </a:cubicBezTo>
                  <a:cubicBezTo>
                    <a:pt x="933" y="1182"/>
                    <a:pt x="931" y="1183"/>
                    <a:pt x="930" y="1184"/>
                  </a:cubicBezTo>
                  <a:cubicBezTo>
                    <a:pt x="930" y="1184"/>
                    <a:pt x="925" y="1185"/>
                    <a:pt x="920" y="1186"/>
                  </a:cubicBezTo>
                  <a:cubicBezTo>
                    <a:pt x="915" y="1187"/>
                    <a:pt x="906" y="1189"/>
                    <a:pt x="900" y="1190"/>
                  </a:cubicBezTo>
                  <a:cubicBezTo>
                    <a:pt x="895" y="1192"/>
                    <a:pt x="887" y="1193"/>
                    <a:pt x="883" y="1194"/>
                  </a:cubicBezTo>
                  <a:cubicBezTo>
                    <a:pt x="879" y="1195"/>
                    <a:pt x="874" y="1196"/>
                    <a:pt x="873" y="1196"/>
                  </a:cubicBezTo>
                  <a:cubicBezTo>
                    <a:pt x="871" y="1197"/>
                    <a:pt x="865" y="1198"/>
                    <a:pt x="860" y="1199"/>
                  </a:cubicBezTo>
                  <a:cubicBezTo>
                    <a:pt x="836" y="1204"/>
                    <a:pt x="832" y="1205"/>
                    <a:pt x="827" y="1210"/>
                  </a:cubicBezTo>
                  <a:cubicBezTo>
                    <a:pt x="825" y="1212"/>
                    <a:pt x="824" y="1214"/>
                    <a:pt x="824" y="1218"/>
                  </a:cubicBezTo>
                  <a:cubicBezTo>
                    <a:pt x="824" y="1221"/>
                    <a:pt x="823" y="1225"/>
                    <a:pt x="822" y="1227"/>
                  </a:cubicBezTo>
                  <a:cubicBezTo>
                    <a:pt x="822" y="1229"/>
                    <a:pt x="822" y="1236"/>
                    <a:pt x="822" y="1244"/>
                  </a:cubicBezTo>
                  <a:cubicBezTo>
                    <a:pt x="822" y="1258"/>
                    <a:pt x="824" y="1263"/>
                    <a:pt x="828" y="1268"/>
                  </a:cubicBezTo>
                  <a:cubicBezTo>
                    <a:pt x="834" y="1274"/>
                    <a:pt x="836" y="1277"/>
                    <a:pt x="835" y="1280"/>
                  </a:cubicBezTo>
                  <a:cubicBezTo>
                    <a:pt x="835" y="1282"/>
                    <a:pt x="835" y="1282"/>
                    <a:pt x="839" y="1283"/>
                  </a:cubicBezTo>
                  <a:cubicBezTo>
                    <a:pt x="841" y="1283"/>
                    <a:pt x="844" y="1284"/>
                    <a:pt x="845" y="1285"/>
                  </a:cubicBezTo>
                  <a:cubicBezTo>
                    <a:pt x="847" y="1287"/>
                    <a:pt x="849" y="1287"/>
                    <a:pt x="855" y="1287"/>
                  </a:cubicBezTo>
                  <a:cubicBezTo>
                    <a:pt x="861" y="1287"/>
                    <a:pt x="863" y="1287"/>
                    <a:pt x="867" y="1285"/>
                  </a:cubicBezTo>
                  <a:cubicBezTo>
                    <a:pt x="875" y="1281"/>
                    <a:pt x="883" y="1268"/>
                    <a:pt x="885" y="1257"/>
                  </a:cubicBezTo>
                  <a:cubicBezTo>
                    <a:pt x="886" y="1249"/>
                    <a:pt x="885" y="1242"/>
                    <a:pt x="882" y="1240"/>
                  </a:cubicBezTo>
                  <a:cubicBezTo>
                    <a:pt x="880" y="1238"/>
                    <a:pt x="880" y="1233"/>
                    <a:pt x="882" y="1232"/>
                  </a:cubicBezTo>
                  <a:cubicBezTo>
                    <a:pt x="883" y="1230"/>
                    <a:pt x="885" y="1230"/>
                    <a:pt x="899" y="1229"/>
                  </a:cubicBezTo>
                  <a:cubicBezTo>
                    <a:pt x="902" y="1228"/>
                    <a:pt x="907" y="1227"/>
                    <a:pt x="910" y="1227"/>
                  </a:cubicBezTo>
                  <a:cubicBezTo>
                    <a:pt x="913" y="1226"/>
                    <a:pt x="921" y="1225"/>
                    <a:pt x="929" y="1225"/>
                  </a:cubicBezTo>
                  <a:cubicBezTo>
                    <a:pt x="936" y="1224"/>
                    <a:pt x="943" y="1223"/>
                    <a:pt x="945" y="1223"/>
                  </a:cubicBezTo>
                  <a:cubicBezTo>
                    <a:pt x="946" y="1222"/>
                    <a:pt x="952" y="1222"/>
                    <a:pt x="958" y="1222"/>
                  </a:cubicBezTo>
                  <a:cubicBezTo>
                    <a:pt x="969" y="1222"/>
                    <a:pt x="971" y="1221"/>
                    <a:pt x="971" y="1220"/>
                  </a:cubicBezTo>
                  <a:cubicBezTo>
                    <a:pt x="971" y="1218"/>
                    <a:pt x="973" y="1218"/>
                    <a:pt x="983" y="1216"/>
                  </a:cubicBezTo>
                  <a:cubicBezTo>
                    <a:pt x="987" y="1216"/>
                    <a:pt x="992" y="1215"/>
                    <a:pt x="993" y="1215"/>
                  </a:cubicBezTo>
                  <a:cubicBezTo>
                    <a:pt x="995" y="1214"/>
                    <a:pt x="1001" y="1213"/>
                    <a:pt x="1006" y="1213"/>
                  </a:cubicBezTo>
                  <a:cubicBezTo>
                    <a:pt x="1012" y="1212"/>
                    <a:pt x="1018" y="1211"/>
                    <a:pt x="1021" y="1210"/>
                  </a:cubicBezTo>
                  <a:cubicBezTo>
                    <a:pt x="1025" y="1209"/>
                    <a:pt x="1029" y="1209"/>
                    <a:pt x="1036" y="1209"/>
                  </a:cubicBezTo>
                  <a:cubicBezTo>
                    <a:pt x="1036" y="1209"/>
                    <a:pt x="1037" y="1209"/>
                    <a:pt x="1038" y="1209"/>
                  </a:cubicBezTo>
                  <a:cubicBezTo>
                    <a:pt x="1048" y="1209"/>
                    <a:pt x="1050" y="1209"/>
                    <a:pt x="1053" y="1211"/>
                  </a:cubicBezTo>
                  <a:cubicBezTo>
                    <a:pt x="1058" y="1213"/>
                    <a:pt x="1058" y="1214"/>
                    <a:pt x="1059" y="1220"/>
                  </a:cubicBezTo>
                  <a:cubicBezTo>
                    <a:pt x="1059" y="1224"/>
                    <a:pt x="1060" y="1232"/>
                    <a:pt x="1061" y="1240"/>
                  </a:cubicBezTo>
                  <a:cubicBezTo>
                    <a:pt x="1063" y="1258"/>
                    <a:pt x="1063" y="1267"/>
                    <a:pt x="1061" y="1269"/>
                  </a:cubicBezTo>
                  <a:cubicBezTo>
                    <a:pt x="1060" y="1271"/>
                    <a:pt x="1058" y="1271"/>
                    <a:pt x="1056" y="1271"/>
                  </a:cubicBezTo>
                  <a:cubicBezTo>
                    <a:pt x="1054" y="1271"/>
                    <a:pt x="1053" y="1271"/>
                    <a:pt x="1051" y="1270"/>
                  </a:cubicBezTo>
                  <a:cubicBezTo>
                    <a:pt x="1050" y="1270"/>
                    <a:pt x="1049" y="1270"/>
                    <a:pt x="1048" y="1270"/>
                  </a:cubicBezTo>
                  <a:cubicBezTo>
                    <a:pt x="1045" y="1270"/>
                    <a:pt x="1044" y="1274"/>
                    <a:pt x="1044" y="1289"/>
                  </a:cubicBezTo>
                  <a:cubicBezTo>
                    <a:pt x="1044" y="1298"/>
                    <a:pt x="1044" y="1301"/>
                    <a:pt x="1048" y="1318"/>
                  </a:cubicBezTo>
                  <a:cubicBezTo>
                    <a:pt x="1049" y="1324"/>
                    <a:pt x="1050" y="1331"/>
                    <a:pt x="1050" y="1334"/>
                  </a:cubicBezTo>
                  <a:cubicBezTo>
                    <a:pt x="1051" y="1338"/>
                    <a:pt x="1051" y="1340"/>
                    <a:pt x="1053" y="1341"/>
                  </a:cubicBezTo>
                  <a:cubicBezTo>
                    <a:pt x="1054" y="1342"/>
                    <a:pt x="1055" y="1344"/>
                    <a:pt x="1055" y="1345"/>
                  </a:cubicBezTo>
                  <a:cubicBezTo>
                    <a:pt x="1055" y="1346"/>
                    <a:pt x="1056" y="1348"/>
                    <a:pt x="1057" y="1351"/>
                  </a:cubicBezTo>
                  <a:cubicBezTo>
                    <a:pt x="1059" y="1355"/>
                    <a:pt x="1060" y="1357"/>
                    <a:pt x="1063" y="1359"/>
                  </a:cubicBezTo>
                  <a:cubicBezTo>
                    <a:pt x="1067" y="1361"/>
                    <a:pt x="1074" y="1364"/>
                    <a:pt x="1078" y="1364"/>
                  </a:cubicBezTo>
                  <a:cubicBezTo>
                    <a:pt x="1079" y="1364"/>
                    <a:pt x="1082" y="1365"/>
                    <a:pt x="1085" y="1366"/>
                  </a:cubicBezTo>
                  <a:cubicBezTo>
                    <a:pt x="1090" y="1367"/>
                    <a:pt x="1095" y="1368"/>
                    <a:pt x="1099" y="1368"/>
                  </a:cubicBezTo>
                  <a:cubicBezTo>
                    <a:pt x="1106" y="1368"/>
                    <a:pt x="1111" y="1366"/>
                    <a:pt x="1114" y="1362"/>
                  </a:cubicBezTo>
                  <a:cubicBezTo>
                    <a:pt x="1116" y="1360"/>
                    <a:pt x="1118" y="1358"/>
                    <a:pt x="1118" y="1357"/>
                  </a:cubicBezTo>
                  <a:cubicBezTo>
                    <a:pt x="1120" y="1355"/>
                    <a:pt x="1125" y="1345"/>
                    <a:pt x="1127" y="1339"/>
                  </a:cubicBezTo>
                  <a:cubicBezTo>
                    <a:pt x="1129" y="1333"/>
                    <a:pt x="1129" y="1323"/>
                    <a:pt x="1127" y="1319"/>
                  </a:cubicBezTo>
                  <a:cubicBezTo>
                    <a:pt x="1125" y="1315"/>
                    <a:pt x="1121" y="1311"/>
                    <a:pt x="1116" y="1309"/>
                  </a:cubicBezTo>
                  <a:cubicBezTo>
                    <a:pt x="1108" y="1307"/>
                    <a:pt x="1103" y="1305"/>
                    <a:pt x="1102" y="1304"/>
                  </a:cubicBezTo>
                  <a:cubicBezTo>
                    <a:pt x="1100" y="1302"/>
                    <a:pt x="1098" y="1292"/>
                    <a:pt x="1097" y="1276"/>
                  </a:cubicBezTo>
                  <a:cubicBezTo>
                    <a:pt x="1095" y="1247"/>
                    <a:pt x="1095" y="1234"/>
                    <a:pt x="1094" y="1224"/>
                  </a:cubicBezTo>
                  <a:lnTo>
                    <a:pt x="1094" y="1214"/>
                  </a:lnTo>
                  <a:lnTo>
                    <a:pt x="1097" y="1212"/>
                  </a:lnTo>
                  <a:cubicBezTo>
                    <a:pt x="1100" y="1209"/>
                    <a:pt x="1105" y="1207"/>
                    <a:pt x="1114" y="1207"/>
                  </a:cubicBezTo>
                  <a:cubicBezTo>
                    <a:pt x="1119" y="1207"/>
                    <a:pt x="1124" y="1208"/>
                    <a:pt x="1130" y="1208"/>
                  </a:cubicBezTo>
                  <a:cubicBezTo>
                    <a:pt x="1140" y="1209"/>
                    <a:pt x="1150" y="1210"/>
                    <a:pt x="1153" y="1210"/>
                  </a:cubicBezTo>
                  <a:cubicBezTo>
                    <a:pt x="1157" y="1211"/>
                    <a:pt x="1164" y="1212"/>
                    <a:pt x="1171" y="1213"/>
                  </a:cubicBezTo>
                  <a:cubicBezTo>
                    <a:pt x="1177" y="1213"/>
                    <a:pt x="1186" y="1214"/>
                    <a:pt x="1189" y="1215"/>
                  </a:cubicBezTo>
                  <a:cubicBezTo>
                    <a:pt x="1193" y="1216"/>
                    <a:pt x="1202" y="1217"/>
                    <a:pt x="1210" y="1217"/>
                  </a:cubicBezTo>
                  <a:cubicBezTo>
                    <a:pt x="1218" y="1217"/>
                    <a:pt x="1228" y="1218"/>
                    <a:pt x="1231" y="1219"/>
                  </a:cubicBezTo>
                  <a:cubicBezTo>
                    <a:pt x="1234" y="1219"/>
                    <a:pt x="1244" y="1220"/>
                    <a:pt x="1253" y="1221"/>
                  </a:cubicBezTo>
                  <a:cubicBezTo>
                    <a:pt x="1262" y="1221"/>
                    <a:pt x="1271" y="1222"/>
                    <a:pt x="1273" y="1223"/>
                  </a:cubicBezTo>
                  <a:cubicBezTo>
                    <a:pt x="1275" y="1223"/>
                    <a:pt x="1279" y="1224"/>
                    <a:pt x="1283" y="1224"/>
                  </a:cubicBezTo>
                  <a:cubicBezTo>
                    <a:pt x="1293" y="1225"/>
                    <a:pt x="1293" y="1225"/>
                    <a:pt x="1291" y="1236"/>
                  </a:cubicBezTo>
                  <a:cubicBezTo>
                    <a:pt x="1290" y="1244"/>
                    <a:pt x="1290" y="1246"/>
                    <a:pt x="1291" y="1251"/>
                  </a:cubicBezTo>
                  <a:cubicBezTo>
                    <a:pt x="1292" y="1255"/>
                    <a:pt x="1293" y="1257"/>
                    <a:pt x="1294" y="1258"/>
                  </a:cubicBezTo>
                  <a:cubicBezTo>
                    <a:pt x="1295" y="1259"/>
                    <a:pt x="1296" y="1261"/>
                    <a:pt x="1296" y="1264"/>
                  </a:cubicBezTo>
                  <a:cubicBezTo>
                    <a:pt x="1297" y="1267"/>
                    <a:pt x="1298" y="1269"/>
                    <a:pt x="1299" y="1271"/>
                  </a:cubicBezTo>
                  <a:cubicBezTo>
                    <a:pt x="1302" y="1274"/>
                    <a:pt x="1306" y="1284"/>
                    <a:pt x="1307" y="1291"/>
                  </a:cubicBezTo>
                  <a:cubicBezTo>
                    <a:pt x="1308" y="1299"/>
                    <a:pt x="1314" y="1314"/>
                    <a:pt x="1317" y="1315"/>
                  </a:cubicBezTo>
                  <a:cubicBezTo>
                    <a:pt x="1318" y="1315"/>
                    <a:pt x="1319" y="1316"/>
                    <a:pt x="1321" y="1318"/>
                  </a:cubicBezTo>
                  <a:cubicBezTo>
                    <a:pt x="1324" y="1321"/>
                    <a:pt x="1331" y="1324"/>
                    <a:pt x="1335" y="1325"/>
                  </a:cubicBezTo>
                  <a:cubicBezTo>
                    <a:pt x="1337" y="1325"/>
                    <a:pt x="1341" y="1326"/>
                    <a:pt x="1345" y="1327"/>
                  </a:cubicBezTo>
                  <a:cubicBezTo>
                    <a:pt x="1351" y="1329"/>
                    <a:pt x="1362" y="1330"/>
                    <a:pt x="1386" y="1331"/>
                  </a:cubicBezTo>
                  <a:cubicBezTo>
                    <a:pt x="1388" y="1332"/>
                    <a:pt x="1390" y="1332"/>
                    <a:pt x="1391" y="1332"/>
                  </a:cubicBezTo>
                  <a:cubicBezTo>
                    <a:pt x="1394" y="1332"/>
                    <a:pt x="1395" y="1331"/>
                    <a:pt x="1397" y="1330"/>
                  </a:cubicBezTo>
                  <a:cubicBezTo>
                    <a:pt x="1398" y="1329"/>
                    <a:pt x="1399" y="1328"/>
                    <a:pt x="1402" y="1328"/>
                  </a:cubicBezTo>
                  <a:cubicBezTo>
                    <a:pt x="1403" y="1328"/>
                    <a:pt x="1406" y="1329"/>
                    <a:pt x="1411" y="1329"/>
                  </a:cubicBezTo>
                  <a:cubicBezTo>
                    <a:pt x="1417" y="1330"/>
                    <a:pt x="1425" y="1331"/>
                    <a:pt x="1429" y="1332"/>
                  </a:cubicBezTo>
                  <a:cubicBezTo>
                    <a:pt x="1432" y="1333"/>
                    <a:pt x="1435" y="1334"/>
                    <a:pt x="1436" y="1334"/>
                  </a:cubicBezTo>
                  <a:cubicBezTo>
                    <a:pt x="1437" y="1334"/>
                    <a:pt x="1440" y="1334"/>
                    <a:pt x="1443" y="1335"/>
                  </a:cubicBezTo>
                  <a:cubicBezTo>
                    <a:pt x="1449" y="1337"/>
                    <a:pt x="1460" y="1340"/>
                    <a:pt x="1479" y="1345"/>
                  </a:cubicBezTo>
                  <a:cubicBezTo>
                    <a:pt x="1482" y="1345"/>
                    <a:pt x="1491" y="1345"/>
                    <a:pt x="1501" y="1345"/>
                  </a:cubicBezTo>
                  <a:cubicBezTo>
                    <a:pt x="1514" y="1345"/>
                    <a:pt x="1529" y="1345"/>
                    <a:pt x="1533" y="1344"/>
                  </a:cubicBezTo>
                  <a:cubicBezTo>
                    <a:pt x="1536" y="1343"/>
                    <a:pt x="1545" y="1342"/>
                    <a:pt x="1552" y="1342"/>
                  </a:cubicBezTo>
                  <a:cubicBezTo>
                    <a:pt x="1560" y="1341"/>
                    <a:pt x="1568" y="1340"/>
                    <a:pt x="1569" y="1340"/>
                  </a:cubicBezTo>
                  <a:cubicBezTo>
                    <a:pt x="1571" y="1339"/>
                    <a:pt x="1576" y="1338"/>
                    <a:pt x="1579" y="1338"/>
                  </a:cubicBezTo>
                  <a:cubicBezTo>
                    <a:pt x="1583" y="1337"/>
                    <a:pt x="1587" y="1337"/>
                    <a:pt x="1589" y="1336"/>
                  </a:cubicBezTo>
                  <a:cubicBezTo>
                    <a:pt x="1591" y="1335"/>
                    <a:pt x="1595" y="1334"/>
                    <a:pt x="1598" y="1333"/>
                  </a:cubicBezTo>
                  <a:cubicBezTo>
                    <a:pt x="1602" y="1332"/>
                    <a:pt x="1604" y="1331"/>
                    <a:pt x="1606" y="1328"/>
                  </a:cubicBezTo>
                  <a:cubicBezTo>
                    <a:pt x="1607" y="1327"/>
                    <a:pt x="1611" y="1323"/>
                    <a:pt x="1613" y="1321"/>
                  </a:cubicBezTo>
                  <a:lnTo>
                    <a:pt x="1617" y="1316"/>
                  </a:lnTo>
                  <a:lnTo>
                    <a:pt x="1617" y="1309"/>
                  </a:lnTo>
                  <a:cubicBezTo>
                    <a:pt x="1617" y="1302"/>
                    <a:pt x="1616" y="1302"/>
                    <a:pt x="1613" y="1297"/>
                  </a:cubicBezTo>
                  <a:cubicBezTo>
                    <a:pt x="1611" y="1295"/>
                    <a:pt x="1608" y="1291"/>
                    <a:pt x="1606" y="1288"/>
                  </a:cubicBezTo>
                  <a:cubicBezTo>
                    <a:pt x="1602" y="1283"/>
                    <a:pt x="1596" y="1279"/>
                    <a:pt x="1592" y="1279"/>
                  </a:cubicBezTo>
                  <a:cubicBezTo>
                    <a:pt x="1591" y="1279"/>
                    <a:pt x="1588" y="1278"/>
                    <a:pt x="1587" y="1277"/>
                  </a:cubicBezTo>
                  <a:cubicBezTo>
                    <a:pt x="1584" y="1275"/>
                    <a:pt x="1582" y="1274"/>
                    <a:pt x="1570" y="1274"/>
                  </a:cubicBezTo>
                  <a:cubicBezTo>
                    <a:pt x="1559" y="1274"/>
                    <a:pt x="1557" y="1273"/>
                    <a:pt x="1555" y="1272"/>
                  </a:cubicBezTo>
                  <a:cubicBezTo>
                    <a:pt x="1553" y="1270"/>
                    <a:pt x="1550" y="1270"/>
                    <a:pt x="1548" y="1270"/>
                  </a:cubicBezTo>
                  <a:cubicBezTo>
                    <a:pt x="1546" y="1270"/>
                    <a:pt x="1544" y="1270"/>
                    <a:pt x="1543" y="1271"/>
                  </a:cubicBezTo>
                  <a:cubicBezTo>
                    <a:pt x="1541" y="1272"/>
                    <a:pt x="1539" y="1272"/>
                    <a:pt x="1538" y="1272"/>
                  </a:cubicBezTo>
                  <a:cubicBezTo>
                    <a:pt x="1536" y="1272"/>
                    <a:pt x="1536" y="1272"/>
                    <a:pt x="1536" y="1270"/>
                  </a:cubicBezTo>
                  <a:cubicBezTo>
                    <a:pt x="1536" y="1267"/>
                    <a:pt x="1535" y="1267"/>
                    <a:pt x="1528" y="1265"/>
                  </a:cubicBezTo>
                  <a:cubicBezTo>
                    <a:pt x="1524" y="1263"/>
                    <a:pt x="1519" y="1262"/>
                    <a:pt x="1517" y="1261"/>
                  </a:cubicBezTo>
                  <a:cubicBezTo>
                    <a:pt x="1514" y="1260"/>
                    <a:pt x="1502" y="1254"/>
                    <a:pt x="1502" y="1253"/>
                  </a:cubicBezTo>
                  <a:cubicBezTo>
                    <a:pt x="1502" y="1253"/>
                    <a:pt x="1501" y="1252"/>
                    <a:pt x="1500" y="1252"/>
                  </a:cubicBezTo>
                  <a:cubicBezTo>
                    <a:pt x="1499" y="1251"/>
                    <a:pt x="1498" y="1250"/>
                    <a:pt x="1498" y="1249"/>
                  </a:cubicBezTo>
                  <a:cubicBezTo>
                    <a:pt x="1499" y="1247"/>
                    <a:pt x="1499" y="1247"/>
                    <a:pt x="1526" y="1247"/>
                  </a:cubicBezTo>
                  <a:cubicBezTo>
                    <a:pt x="1555" y="1247"/>
                    <a:pt x="1576" y="1246"/>
                    <a:pt x="1579" y="1244"/>
                  </a:cubicBezTo>
                  <a:cubicBezTo>
                    <a:pt x="1580" y="1244"/>
                    <a:pt x="1584" y="1243"/>
                    <a:pt x="1588" y="1242"/>
                  </a:cubicBezTo>
                  <a:cubicBezTo>
                    <a:pt x="1592" y="1241"/>
                    <a:pt x="1595" y="1240"/>
                    <a:pt x="1596" y="1240"/>
                  </a:cubicBezTo>
                  <a:cubicBezTo>
                    <a:pt x="1597" y="1239"/>
                    <a:pt x="1599" y="1238"/>
                    <a:pt x="1600" y="1237"/>
                  </a:cubicBezTo>
                  <a:cubicBezTo>
                    <a:pt x="1602" y="1236"/>
                    <a:pt x="1604" y="1235"/>
                    <a:pt x="1604" y="1234"/>
                  </a:cubicBezTo>
                  <a:cubicBezTo>
                    <a:pt x="1604" y="1232"/>
                    <a:pt x="1606" y="1230"/>
                    <a:pt x="1608" y="1229"/>
                  </a:cubicBezTo>
                  <a:cubicBezTo>
                    <a:pt x="1612" y="1225"/>
                    <a:pt x="1612" y="1222"/>
                    <a:pt x="1610" y="1216"/>
                  </a:cubicBezTo>
                  <a:cubicBezTo>
                    <a:pt x="1609" y="1213"/>
                    <a:pt x="1608" y="1211"/>
                    <a:pt x="1607" y="1211"/>
                  </a:cubicBezTo>
                  <a:cubicBezTo>
                    <a:pt x="1607" y="1211"/>
                    <a:pt x="1606" y="1210"/>
                    <a:pt x="1605" y="1208"/>
                  </a:cubicBezTo>
                  <a:cubicBezTo>
                    <a:pt x="1602" y="1202"/>
                    <a:pt x="1599" y="1201"/>
                    <a:pt x="1592" y="1201"/>
                  </a:cubicBezTo>
                  <a:cubicBezTo>
                    <a:pt x="1585" y="1201"/>
                    <a:pt x="1585" y="1201"/>
                    <a:pt x="1584" y="1198"/>
                  </a:cubicBezTo>
                  <a:lnTo>
                    <a:pt x="1583" y="1196"/>
                  </a:lnTo>
                  <a:lnTo>
                    <a:pt x="1582" y="1198"/>
                  </a:lnTo>
                  <a:cubicBezTo>
                    <a:pt x="1581" y="1201"/>
                    <a:pt x="1581" y="1201"/>
                    <a:pt x="1577" y="1201"/>
                  </a:cubicBezTo>
                  <a:cubicBezTo>
                    <a:pt x="1572" y="1201"/>
                    <a:pt x="1564" y="1198"/>
                    <a:pt x="1562" y="1195"/>
                  </a:cubicBezTo>
                  <a:cubicBezTo>
                    <a:pt x="1561" y="1194"/>
                    <a:pt x="1559" y="1193"/>
                    <a:pt x="1557" y="1193"/>
                  </a:cubicBezTo>
                  <a:cubicBezTo>
                    <a:pt x="1554" y="1193"/>
                    <a:pt x="1553" y="1192"/>
                    <a:pt x="1552" y="1190"/>
                  </a:cubicBezTo>
                  <a:cubicBezTo>
                    <a:pt x="1551" y="1188"/>
                    <a:pt x="1550" y="1188"/>
                    <a:pt x="1545" y="1188"/>
                  </a:cubicBezTo>
                  <a:cubicBezTo>
                    <a:pt x="1540" y="1188"/>
                    <a:pt x="1539" y="1187"/>
                    <a:pt x="1537" y="1185"/>
                  </a:cubicBezTo>
                  <a:cubicBezTo>
                    <a:pt x="1535" y="1182"/>
                    <a:pt x="1535" y="1182"/>
                    <a:pt x="1536" y="1154"/>
                  </a:cubicBezTo>
                  <a:cubicBezTo>
                    <a:pt x="1536" y="1135"/>
                    <a:pt x="1536" y="1125"/>
                    <a:pt x="1537" y="1124"/>
                  </a:cubicBezTo>
                  <a:cubicBezTo>
                    <a:pt x="1538" y="1123"/>
                    <a:pt x="1539" y="1121"/>
                    <a:pt x="1541" y="1121"/>
                  </a:cubicBezTo>
                  <a:cubicBezTo>
                    <a:pt x="1542" y="1120"/>
                    <a:pt x="1544" y="1120"/>
                    <a:pt x="1545" y="1119"/>
                  </a:cubicBezTo>
                  <a:cubicBezTo>
                    <a:pt x="1546" y="1118"/>
                    <a:pt x="1546" y="1112"/>
                    <a:pt x="1545" y="1108"/>
                  </a:cubicBezTo>
                  <a:cubicBezTo>
                    <a:pt x="1544" y="1106"/>
                    <a:pt x="1544" y="1093"/>
                    <a:pt x="1543" y="1080"/>
                  </a:cubicBezTo>
                  <a:cubicBezTo>
                    <a:pt x="1543" y="1066"/>
                    <a:pt x="1542" y="1051"/>
                    <a:pt x="1541" y="1047"/>
                  </a:cubicBezTo>
                  <a:cubicBezTo>
                    <a:pt x="1538" y="1021"/>
                    <a:pt x="1538" y="1016"/>
                    <a:pt x="1540" y="985"/>
                  </a:cubicBezTo>
                  <a:cubicBezTo>
                    <a:pt x="1541" y="968"/>
                    <a:pt x="1543" y="949"/>
                    <a:pt x="1543" y="942"/>
                  </a:cubicBezTo>
                  <a:cubicBezTo>
                    <a:pt x="1544" y="934"/>
                    <a:pt x="1544" y="927"/>
                    <a:pt x="1545" y="926"/>
                  </a:cubicBezTo>
                  <a:cubicBezTo>
                    <a:pt x="1545" y="925"/>
                    <a:pt x="1546" y="917"/>
                    <a:pt x="1547" y="909"/>
                  </a:cubicBezTo>
                  <a:cubicBezTo>
                    <a:pt x="1547" y="901"/>
                    <a:pt x="1548" y="893"/>
                    <a:pt x="1549" y="892"/>
                  </a:cubicBezTo>
                  <a:cubicBezTo>
                    <a:pt x="1550" y="887"/>
                    <a:pt x="1551" y="862"/>
                    <a:pt x="1551" y="839"/>
                  </a:cubicBezTo>
                  <a:cubicBezTo>
                    <a:pt x="1551" y="816"/>
                    <a:pt x="1551" y="815"/>
                    <a:pt x="1549" y="811"/>
                  </a:cubicBezTo>
                  <a:cubicBezTo>
                    <a:pt x="1548" y="809"/>
                    <a:pt x="1546" y="807"/>
                    <a:pt x="1546" y="805"/>
                  </a:cubicBezTo>
                  <a:cubicBezTo>
                    <a:pt x="1544" y="802"/>
                    <a:pt x="1542" y="797"/>
                    <a:pt x="1538" y="792"/>
                  </a:cubicBezTo>
                  <a:cubicBezTo>
                    <a:pt x="1535" y="789"/>
                    <a:pt x="1535" y="787"/>
                    <a:pt x="1534" y="780"/>
                  </a:cubicBezTo>
                  <a:cubicBezTo>
                    <a:pt x="1534" y="777"/>
                    <a:pt x="1533" y="773"/>
                    <a:pt x="1532" y="772"/>
                  </a:cubicBezTo>
                  <a:cubicBezTo>
                    <a:pt x="1532" y="771"/>
                    <a:pt x="1531" y="769"/>
                    <a:pt x="1530" y="766"/>
                  </a:cubicBezTo>
                  <a:cubicBezTo>
                    <a:pt x="1530" y="762"/>
                    <a:pt x="1529" y="760"/>
                    <a:pt x="1526" y="758"/>
                  </a:cubicBezTo>
                  <a:cubicBezTo>
                    <a:pt x="1525" y="757"/>
                    <a:pt x="1524" y="756"/>
                    <a:pt x="1523" y="755"/>
                  </a:cubicBezTo>
                  <a:lnTo>
                    <a:pt x="1523" y="755"/>
                  </a:lnTo>
                  <a:lnTo>
                    <a:pt x="1644" y="513"/>
                  </a:lnTo>
                  <a:lnTo>
                    <a:pt x="1542" y="464"/>
                  </a:lnTo>
                  <a:lnTo>
                    <a:pt x="1542" y="464"/>
                  </a:lnTo>
                  <a:lnTo>
                    <a:pt x="1420" y="676"/>
                  </a:lnTo>
                  <a:lnTo>
                    <a:pt x="1420" y="676"/>
                  </a:lnTo>
                  <a:cubicBezTo>
                    <a:pt x="1415" y="673"/>
                    <a:pt x="1404" y="665"/>
                    <a:pt x="1392" y="655"/>
                  </a:cubicBezTo>
                  <a:cubicBezTo>
                    <a:pt x="1376" y="643"/>
                    <a:pt x="1361" y="632"/>
                    <a:pt x="1360" y="632"/>
                  </a:cubicBezTo>
                  <a:cubicBezTo>
                    <a:pt x="1359" y="632"/>
                    <a:pt x="1358" y="632"/>
                    <a:pt x="1357" y="631"/>
                  </a:cubicBezTo>
                  <a:cubicBezTo>
                    <a:pt x="1356" y="630"/>
                    <a:pt x="1353" y="630"/>
                    <a:pt x="1349" y="630"/>
                  </a:cubicBezTo>
                  <a:cubicBezTo>
                    <a:pt x="1346" y="630"/>
                    <a:pt x="1343" y="629"/>
                    <a:pt x="1343" y="629"/>
                  </a:cubicBezTo>
                  <a:cubicBezTo>
                    <a:pt x="1343" y="628"/>
                    <a:pt x="1342" y="628"/>
                    <a:pt x="1341" y="628"/>
                  </a:cubicBezTo>
                  <a:cubicBezTo>
                    <a:pt x="1339" y="628"/>
                    <a:pt x="1337" y="628"/>
                    <a:pt x="1333" y="629"/>
                  </a:cubicBezTo>
                  <a:cubicBezTo>
                    <a:pt x="1329" y="630"/>
                    <a:pt x="1326" y="630"/>
                    <a:pt x="1325" y="630"/>
                  </a:cubicBezTo>
                  <a:cubicBezTo>
                    <a:pt x="1324" y="630"/>
                    <a:pt x="1324" y="630"/>
                    <a:pt x="1323" y="629"/>
                  </a:cubicBezTo>
                  <a:cubicBezTo>
                    <a:pt x="1323" y="628"/>
                    <a:pt x="1321" y="628"/>
                    <a:pt x="1320" y="628"/>
                  </a:cubicBezTo>
                  <a:cubicBezTo>
                    <a:pt x="1317" y="628"/>
                    <a:pt x="1314" y="628"/>
                    <a:pt x="1311" y="630"/>
                  </a:cubicBezTo>
                  <a:cubicBezTo>
                    <a:pt x="1307" y="632"/>
                    <a:pt x="1303" y="633"/>
                    <a:pt x="1300" y="633"/>
                  </a:cubicBezTo>
                  <a:cubicBezTo>
                    <a:pt x="1299" y="633"/>
                    <a:pt x="1297" y="633"/>
                    <a:pt x="1296" y="632"/>
                  </a:cubicBezTo>
                  <a:cubicBezTo>
                    <a:pt x="1295" y="632"/>
                    <a:pt x="1290" y="631"/>
                    <a:pt x="1285" y="630"/>
                  </a:cubicBezTo>
                  <a:cubicBezTo>
                    <a:pt x="1275" y="630"/>
                    <a:pt x="1265" y="628"/>
                    <a:pt x="1262" y="626"/>
                  </a:cubicBezTo>
                  <a:cubicBezTo>
                    <a:pt x="1261" y="625"/>
                    <a:pt x="1257" y="625"/>
                    <a:pt x="1252" y="624"/>
                  </a:cubicBezTo>
                  <a:lnTo>
                    <a:pt x="1244" y="624"/>
                  </a:lnTo>
                  <a:lnTo>
                    <a:pt x="1240" y="619"/>
                  </a:lnTo>
                  <a:cubicBezTo>
                    <a:pt x="1236" y="615"/>
                    <a:pt x="1233" y="614"/>
                    <a:pt x="1223" y="612"/>
                  </a:cubicBezTo>
                  <a:cubicBezTo>
                    <a:pt x="1219" y="612"/>
                    <a:pt x="1216" y="611"/>
                    <a:pt x="1214" y="609"/>
                  </a:cubicBezTo>
                  <a:cubicBezTo>
                    <a:pt x="1213" y="608"/>
                    <a:pt x="1209" y="607"/>
                    <a:pt x="1205" y="606"/>
                  </a:cubicBezTo>
                  <a:cubicBezTo>
                    <a:pt x="1201" y="605"/>
                    <a:pt x="1198" y="604"/>
                    <a:pt x="1198" y="603"/>
                  </a:cubicBezTo>
                  <a:cubicBezTo>
                    <a:pt x="1197" y="602"/>
                    <a:pt x="1196" y="601"/>
                    <a:pt x="1196" y="601"/>
                  </a:cubicBezTo>
                  <a:cubicBezTo>
                    <a:pt x="1195" y="601"/>
                    <a:pt x="1194" y="600"/>
                    <a:pt x="1194" y="599"/>
                  </a:cubicBezTo>
                  <a:cubicBezTo>
                    <a:pt x="1194" y="596"/>
                    <a:pt x="1191" y="593"/>
                    <a:pt x="1186" y="589"/>
                  </a:cubicBezTo>
                  <a:cubicBezTo>
                    <a:pt x="1183" y="587"/>
                    <a:pt x="1182" y="587"/>
                    <a:pt x="1180" y="587"/>
                  </a:cubicBezTo>
                  <a:cubicBezTo>
                    <a:pt x="1179" y="587"/>
                    <a:pt x="1178" y="587"/>
                    <a:pt x="1177" y="587"/>
                  </a:cubicBezTo>
                  <a:cubicBezTo>
                    <a:pt x="1175" y="587"/>
                    <a:pt x="1174" y="587"/>
                    <a:pt x="1173" y="587"/>
                  </a:cubicBezTo>
                  <a:cubicBezTo>
                    <a:pt x="1171" y="587"/>
                    <a:pt x="1170" y="587"/>
                    <a:pt x="1168" y="586"/>
                  </a:cubicBezTo>
                  <a:cubicBezTo>
                    <a:pt x="1166" y="585"/>
                    <a:pt x="1165" y="584"/>
                    <a:pt x="1164" y="584"/>
                  </a:cubicBezTo>
                  <a:cubicBezTo>
                    <a:pt x="1163" y="584"/>
                    <a:pt x="1162" y="584"/>
                    <a:pt x="1161" y="585"/>
                  </a:cubicBezTo>
                  <a:cubicBezTo>
                    <a:pt x="1158" y="586"/>
                    <a:pt x="1156" y="587"/>
                    <a:pt x="1154" y="587"/>
                  </a:cubicBezTo>
                  <a:cubicBezTo>
                    <a:pt x="1150" y="587"/>
                    <a:pt x="1147" y="585"/>
                    <a:pt x="1140" y="578"/>
                  </a:cubicBezTo>
                  <a:cubicBezTo>
                    <a:pt x="1134" y="572"/>
                    <a:pt x="1132" y="571"/>
                    <a:pt x="1126" y="571"/>
                  </a:cubicBezTo>
                  <a:cubicBezTo>
                    <a:pt x="1123" y="570"/>
                    <a:pt x="1119" y="569"/>
                    <a:pt x="1117" y="569"/>
                  </a:cubicBezTo>
                  <a:cubicBezTo>
                    <a:pt x="1115" y="567"/>
                    <a:pt x="1115" y="567"/>
                    <a:pt x="1115" y="562"/>
                  </a:cubicBezTo>
                  <a:cubicBezTo>
                    <a:pt x="1115" y="553"/>
                    <a:pt x="1113" y="553"/>
                    <a:pt x="1103" y="553"/>
                  </a:cubicBezTo>
                  <a:lnTo>
                    <a:pt x="1094" y="553"/>
                  </a:lnTo>
                  <a:lnTo>
                    <a:pt x="1091" y="549"/>
                  </a:lnTo>
                  <a:cubicBezTo>
                    <a:pt x="1089" y="547"/>
                    <a:pt x="1088" y="545"/>
                    <a:pt x="1088" y="542"/>
                  </a:cubicBezTo>
                  <a:cubicBezTo>
                    <a:pt x="1088" y="539"/>
                    <a:pt x="1090" y="535"/>
                    <a:pt x="1091" y="533"/>
                  </a:cubicBezTo>
                  <a:cubicBezTo>
                    <a:pt x="1092" y="532"/>
                    <a:pt x="1093" y="530"/>
                    <a:pt x="1093" y="528"/>
                  </a:cubicBezTo>
                  <a:cubicBezTo>
                    <a:pt x="1093" y="526"/>
                    <a:pt x="1095" y="522"/>
                    <a:pt x="1095" y="521"/>
                  </a:cubicBezTo>
                  <a:cubicBezTo>
                    <a:pt x="1096" y="519"/>
                    <a:pt x="1097" y="514"/>
                    <a:pt x="1098" y="511"/>
                  </a:cubicBezTo>
                  <a:cubicBezTo>
                    <a:pt x="1098" y="507"/>
                    <a:pt x="1099" y="504"/>
                    <a:pt x="1099" y="503"/>
                  </a:cubicBezTo>
                  <a:cubicBezTo>
                    <a:pt x="1100" y="503"/>
                    <a:pt x="1101" y="500"/>
                    <a:pt x="1102" y="496"/>
                  </a:cubicBezTo>
                  <a:cubicBezTo>
                    <a:pt x="1106" y="484"/>
                    <a:pt x="1106" y="484"/>
                    <a:pt x="1103" y="477"/>
                  </a:cubicBezTo>
                  <a:cubicBezTo>
                    <a:pt x="1102" y="473"/>
                    <a:pt x="1100" y="469"/>
                    <a:pt x="1100" y="468"/>
                  </a:cubicBezTo>
                  <a:cubicBezTo>
                    <a:pt x="1099" y="468"/>
                    <a:pt x="1098" y="465"/>
                    <a:pt x="1097" y="463"/>
                  </a:cubicBezTo>
                  <a:cubicBezTo>
                    <a:pt x="1097" y="461"/>
                    <a:pt x="1096" y="459"/>
                    <a:pt x="1095" y="459"/>
                  </a:cubicBezTo>
                  <a:cubicBezTo>
                    <a:pt x="1095" y="459"/>
                    <a:pt x="1094" y="459"/>
                    <a:pt x="1094" y="458"/>
                  </a:cubicBezTo>
                  <a:cubicBezTo>
                    <a:pt x="1094" y="457"/>
                    <a:pt x="1093" y="455"/>
                    <a:pt x="1092" y="452"/>
                  </a:cubicBezTo>
                  <a:cubicBezTo>
                    <a:pt x="1090" y="449"/>
                    <a:pt x="1089" y="445"/>
                    <a:pt x="1088" y="443"/>
                  </a:cubicBezTo>
                  <a:cubicBezTo>
                    <a:pt x="1088" y="440"/>
                    <a:pt x="1087" y="438"/>
                    <a:pt x="1087" y="436"/>
                  </a:cubicBezTo>
                  <a:cubicBezTo>
                    <a:pt x="1086" y="435"/>
                    <a:pt x="1085" y="432"/>
                    <a:pt x="1085" y="430"/>
                  </a:cubicBezTo>
                  <a:cubicBezTo>
                    <a:pt x="1085" y="428"/>
                    <a:pt x="1084" y="425"/>
                    <a:pt x="1083" y="423"/>
                  </a:cubicBezTo>
                  <a:cubicBezTo>
                    <a:pt x="1082" y="422"/>
                    <a:pt x="1081" y="418"/>
                    <a:pt x="1080" y="416"/>
                  </a:cubicBezTo>
                  <a:cubicBezTo>
                    <a:pt x="1080" y="414"/>
                    <a:pt x="1079" y="411"/>
                    <a:pt x="1078" y="409"/>
                  </a:cubicBezTo>
                  <a:cubicBezTo>
                    <a:pt x="1077" y="408"/>
                    <a:pt x="1076" y="405"/>
                    <a:pt x="1075" y="403"/>
                  </a:cubicBezTo>
                  <a:cubicBezTo>
                    <a:pt x="1075" y="401"/>
                    <a:pt x="1075" y="400"/>
                    <a:pt x="1074" y="400"/>
                  </a:cubicBezTo>
                  <a:cubicBezTo>
                    <a:pt x="1074" y="400"/>
                    <a:pt x="1074" y="400"/>
                    <a:pt x="1074" y="400"/>
                  </a:cubicBezTo>
                  <a:cubicBezTo>
                    <a:pt x="1074" y="400"/>
                    <a:pt x="1074" y="400"/>
                    <a:pt x="1074" y="400"/>
                  </a:cubicBezTo>
                  <a:cubicBezTo>
                    <a:pt x="1074" y="400"/>
                    <a:pt x="1073" y="397"/>
                    <a:pt x="1072" y="394"/>
                  </a:cubicBezTo>
                  <a:cubicBezTo>
                    <a:pt x="1069" y="385"/>
                    <a:pt x="1066" y="375"/>
                    <a:pt x="1064" y="374"/>
                  </a:cubicBezTo>
                  <a:cubicBezTo>
                    <a:pt x="1064" y="373"/>
                    <a:pt x="1063" y="372"/>
                    <a:pt x="1063" y="371"/>
                  </a:cubicBezTo>
                  <a:cubicBezTo>
                    <a:pt x="1063" y="371"/>
                    <a:pt x="1062" y="367"/>
                    <a:pt x="1061" y="363"/>
                  </a:cubicBezTo>
                  <a:cubicBezTo>
                    <a:pt x="1060" y="358"/>
                    <a:pt x="1060" y="352"/>
                    <a:pt x="1060" y="345"/>
                  </a:cubicBezTo>
                  <a:lnTo>
                    <a:pt x="1060" y="334"/>
                  </a:lnTo>
                  <a:lnTo>
                    <a:pt x="1063" y="329"/>
                  </a:lnTo>
                  <a:cubicBezTo>
                    <a:pt x="1068" y="322"/>
                    <a:pt x="1070" y="312"/>
                    <a:pt x="1067" y="312"/>
                  </a:cubicBezTo>
                  <a:cubicBezTo>
                    <a:pt x="1066" y="312"/>
                    <a:pt x="1056" y="302"/>
                    <a:pt x="1048" y="293"/>
                  </a:cubicBezTo>
                  <a:cubicBezTo>
                    <a:pt x="1043" y="287"/>
                    <a:pt x="1042" y="284"/>
                    <a:pt x="1045" y="281"/>
                  </a:cubicBezTo>
                  <a:cubicBezTo>
                    <a:pt x="1047" y="280"/>
                    <a:pt x="1049" y="278"/>
                    <a:pt x="1051" y="277"/>
                  </a:cubicBezTo>
                  <a:cubicBezTo>
                    <a:pt x="1052" y="275"/>
                    <a:pt x="1054" y="274"/>
                    <a:pt x="1056" y="274"/>
                  </a:cubicBezTo>
                  <a:cubicBezTo>
                    <a:pt x="1059" y="274"/>
                    <a:pt x="1062" y="276"/>
                    <a:pt x="1067" y="279"/>
                  </a:cubicBezTo>
                  <a:cubicBezTo>
                    <a:pt x="1070" y="281"/>
                    <a:pt x="1074" y="283"/>
                    <a:pt x="1076" y="284"/>
                  </a:cubicBezTo>
                  <a:cubicBezTo>
                    <a:pt x="1078" y="285"/>
                    <a:pt x="1081" y="286"/>
                    <a:pt x="1082" y="287"/>
                  </a:cubicBezTo>
                  <a:cubicBezTo>
                    <a:pt x="1083" y="287"/>
                    <a:pt x="1084" y="288"/>
                    <a:pt x="1085" y="288"/>
                  </a:cubicBezTo>
                  <a:cubicBezTo>
                    <a:pt x="1086" y="288"/>
                    <a:pt x="1088" y="289"/>
                    <a:pt x="1089" y="289"/>
                  </a:cubicBezTo>
                  <a:cubicBezTo>
                    <a:pt x="1091" y="290"/>
                    <a:pt x="1093" y="291"/>
                    <a:pt x="1095" y="291"/>
                  </a:cubicBezTo>
                  <a:cubicBezTo>
                    <a:pt x="1099" y="291"/>
                    <a:pt x="1105" y="288"/>
                    <a:pt x="1107" y="283"/>
                  </a:cubicBezTo>
                  <a:cubicBezTo>
                    <a:pt x="1108" y="280"/>
                    <a:pt x="1109" y="278"/>
                    <a:pt x="1109" y="277"/>
                  </a:cubicBezTo>
                  <a:cubicBezTo>
                    <a:pt x="1109" y="274"/>
                    <a:pt x="1113" y="271"/>
                    <a:pt x="1118" y="269"/>
                  </a:cubicBezTo>
                  <a:cubicBezTo>
                    <a:pt x="1124" y="268"/>
                    <a:pt x="1125" y="267"/>
                    <a:pt x="1126" y="263"/>
                  </a:cubicBezTo>
                  <a:cubicBezTo>
                    <a:pt x="1127" y="260"/>
                    <a:pt x="1128" y="259"/>
                    <a:pt x="1134" y="258"/>
                  </a:cubicBezTo>
                  <a:cubicBezTo>
                    <a:pt x="1137" y="257"/>
                    <a:pt x="1137" y="257"/>
                    <a:pt x="1138" y="252"/>
                  </a:cubicBezTo>
                  <a:cubicBezTo>
                    <a:pt x="1138" y="249"/>
                    <a:pt x="1139" y="247"/>
                    <a:pt x="1141" y="245"/>
                  </a:cubicBezTo>
                  <a:lnTo>
                    <a:pt x="1143" y="242"/>
                  </a:lnTo>
                  <a:lnTo>
                    <a:pt x="1151" y="243"/>
                  </a:lnTo>
                  <a:cubicBezTo>
                    <a:pt x="1153" y="243"/>
                    <a:pt x="1155" y="243"/>
                    <a:pt x="1156" y="243"/>
                  </a:cubicBezTo>
                  <a:cubicBezTo>
                    <a:pt x="1158" y="243"/>
                    <a:pt x="1159" y="242"/>
                    <a:pt x="1161" y="241"/>
                  </a:cubicBezTo>
                  <a:cubicBezTo>
                    <a:pt x="1162" y="240"/>
                    <a:pt x="1163" y="237"/>
                    <a:pt x="1164" y="233"/>
                  </a:cubicBezTo>
                  <a:cubicBezTo>
                    <a:pt x="1165" y="227"/>
                    <a:pt x="1165" y="225"/>
                    <a:pt x="1164" y="212"/>
                  </a:cubicBezTo>
                  <a:cubicBezTo>
                    <a:pt x="1163" y="204"/>
                    <a:pt x="1162" y="195"/>
                    <a:pt x="1162" y="192"/>
                  </a:cubicBezTo>
                  <a:cubicBezTo>
                    <a:pt x="1162" y="185"/>
                    <a:pt x="1165" y="178"/>
                    <a:pt x="1169" y="174"/>
                  </a:cubicBezTo>
                  <a:cubicBezTo>
                    <a:pt x="1171" y="171"/>
                    <a:pt x="1172" y="169"/>
                    <a:pt x="1171" y="165"/>
                  </a:cubicBezTo>
                  <a:cubicBezTo>
                    <a:pt x="1171" y="164"/>
                    <a:pt x="1172" y="158"/>
                    <a:pt x="1173" y="152"/>
                  </a:cubicBezTo>
                  <a:cubicBezTo>
                    <a:pt x="1176" y="126"/>
                    <a:pt x="1179" y="113"/>
                    <a:pt x="1183" y="109"/>
                  </a:cubicBezTo>
                  <a:cubicBezTo>
                    <a:pt x="1187" y="105"/>
                    <a:pt x="1188" y="99"/>
                    <a:pt x="1184" y="94"/>
                  </a:cubicBezTo>
                  <a:cubicBezTo>
                    <a:pt x="1183" y="92"/>
                    <a:pt x="1182" y="90"/>
                    <a:pt x="1183" y="88"/>
                  </a:cubicBezTo>
                  <a:cubicBezTo>
                    <a:pt x="1183" y="85"/>
                    <a:pt x="1183" y="84"/>
                    <a:pt x="1180" y="80"/>
                  </a:cubicBezTo>
                  <a:cubicBezTo>
                    <a:pt x="1178" y="77"/>
                    <a:pt x="1177" y="74"/>
                    <a:pt x="1176" y="72"/>
                  </a:cubicBezTo>
                  <a:cubicBezTo>
                    <a:pt x="1176" y="71"/>
                    <a:pt x="1174" y="68"/>
                    <a:pt x="1173" y="67"/>
                  </a:cubicBezTo>
                  <a:cubicBezTo>
                    <a:pt x="1170" y="64"/>
                    <a:pt x="1169" y="60"/>
                    <a:pt x="1170" y="59"/>
                  </a:cubicBezTo>
                  <a:cubicBezTo>
                    <a:pt x="1171" y="58"/>
                    <a:pt x="1167" y="54"/>
                    <a:pt x="1163" y="52"/>
                  </a:cubicBezTo>
                  <a:cubicBezTo>
                    <a:pt x="1162" y="51"/>
                    <a:pt x="1160" y="48"/>
                    <a:pt x="1158" y="45"/>
                  </a:cubicBezTo>
                  <a:cubicBezTo>
                    <a:pt x="1155" y="42"/>
                    <a:pt x="1153" y="40"/>
                    <a:pt x="1153" y="40"/>
                  </a:cubicBezTo>
                  <a:cubicBezTo>
                    <a:pt x="1153" y="40"/>
                    <a:pt x="1150" y="38"/>
                    <a:pt x="1147" y="36"/>
                  </a:cubicBezTo>
                  <a:cubicBezTo>
                    <a:pt x="1144" y="33"/>
                    <a:pt x="1139" y="30"/>
                    <a:pt x="1136" y="29"/>
                  </a:cubicBezTo>
                  <a:cubicBezTo>
                    <a:pt x="1133" y="28"/>
                    <a:pt x="1130" y="26"/>
                    <a:pt x="1129" y="25"/>
                  </a:cubicBezTo>
                  <a:cubicBezTo>
                    <a:pt x="1128" y="24"/>
                    <a:pt x="1125" y="21"/>
                    <a:pt x="1122" y="19"/>
                  </a:cubicBezTo>
                  <a:cubicBezTo>
                    <a:pt x="1120" y="16"/>
                    <a:pt x="1117" y="14"/>
                    <a:pt x="1117" y="13"/>
                  </a:cubicBezTo>
                  <a:cubicBezTo>
                    <a:pt x="1116" y="10"/>
                    <a:pt x="1111" y="7"/>
                    <a:pt x="1104" y="7"/>
                  </a:cubicBezTo>
                  <a:cubicBezTo>
                    <a:pt x="1100" y="6"/>
                    <a:pt x="1095" y="5"/>
                    <a:pt x="1092" y="4"/>
                  </a:cubicBezTo>
                  <a:cubicBezTo>
                    <a:pt x="1089" y="3"/>
                    <a:pt x="1085" y="2"/>
                    <a:pt x="1083" y="2"/>
                  </a:cubicBezTo>
                  <a:cubicBezTo>
                    <a:pt x="1081" y="2"/>
                    <a:pt x="1077" y="2"/>
                    <a:pt x="1074" y="1"/>
                  </a:cubicBezTo>
                  <a:cubicBezTo>
                    <a:pt x="1071" y="0"/>
                    <a:pt x="1069" y="0"/>
                    <a:pt x="1069" y="0"/>
                  </a:cubicBezTo>
                  <a:close/>
                  <a:moveTo>
                    <a:pt x="597" y="20"/>
                  </a:moveTo>
                  <a:cubicBezTo>
                    <a:pt x="593" y="20"/>
                    <a:pt x="592" y="21"/>
                    <a:pt x="591" y="22"/>
                  </a:cubicBezTo>
                  <a:cubicBezTo>
                    <a:pt x="590" y="23"/>
                    <a:pt x="589" y="24"/>
                    <a:pt x="588" y="25"/>
                  </a:cubicBezTo>
                  <a:cubicBezTo>
                    <a:pt x="585" y="28"/>
                    <a:pt x="584" y="29"/>
                    <a:pt x="583" y="31"/>
                  </a:cubicBezTo>
                  <a:cubicBezTo>
                    <a:pt x="583" y="32"/>
                    <a:pt x="581" y="35"/>
                    <a:pt x="580" y="36"/>
                  </a:cubicBezTo>
                  <a:cubicBezTo>
                    <a:pt x="577" y="39"/>
                    <a:pt x="576" y="41"/>
                    <a:pt x="575" y="46"/>
                  </a:cubicBezTo>
                  <a:cubicBezTo>
                    <a:pt x="574" y="48"/>
                    <a:pt x="574" y="49"/>
                    <a:pt x="569" y="49"/>
                  </a:cubicBezTo>
                  <a:cubicBezTo>
                    <a:pt x="569" y="49"/>
                    <a:pt x="568" y="49"/>
                    <a:pt x="568" y="49"/>
                  </a:cubicBezTo>
                  <a:cubicBezTo>
                    <a:pt x="565" y="49"/>
                    <a:pt x="563" y="48"/>
                    <a:pt x="560" y="47"/>
                  </a:cubicBezTo>
                  <a:cubicBezTo>
                    <a:pt x="558" y="46"/>
                    <a:pt x="555" y="44"/>
                    <a:pt x="554" y="44"/>
                  </a:cubicBezTo>
                  <a:cubicBezTo>
                    <a:pt x="553" y="44"/>
                    <a:pt x="547" y="44"/>
                    <a:pt x="542" y="43"/>
                  </a:cubicBezTo>
                  <a:cubicBezTo>
                    <a:pt x="536" y="42"/>
                    <a:pt x="532" y="41"/>
                    <a:pt x="525" y="41"/>
                  </a:cubicBezTo>
                  <a:cubicBezTo>
                    <a:pt x="522" y="41"/>
                    <a:pt x="519" y="41"/>
                    <a:pt x="516" y="41"/>
                  </a:cubicBezTo>
                  <a:cubicBezTo>
                    <a:pt x="505" y="42"/>
                    <a:pt x="499" y="42"/>
                    <a:pt x="497" y="43"/>
                  </a:cubicBezTo>
                  <a:cubicBezTo>
                    <a:pt x="496" y="44"/>
                    <a:pt x="492" y="45"/>
                    <a:pt x="490" y="45"/>
                  </a:cubicBezTo>
                  <a:cubicBezTo>
                    <a:pt x="488" y="45"/>
                    <a:pt x="485" y="46"/>
                    <a:pt x="485" y="47"/>
                  </a:cubicBezTo>
                  <a:cubicBezTo>
                    <a:pt x="484" y="48"/>
                    <a:pt x="482" y="49"/>
                    <a:pt x="480" y="49"/>
                  </a:cubicBezTo>
                  <a:cubicBezTo>
                    <a:pt x="478" y="50"/>
                    <a:pt x="476" y="51"/>
                    <a:pt x="475" y="52"/>
                  </a:cubicBezTo>
                  <a:cubicBezTo>
                    <a:pt x="474" y="53"/>
                    <a:pt x="472" y="54"/>
                    <a:pt x="472" y="54"/>
                  </a:cubicBezTo>
                  <a:cubicBezTo>
                    <a:pt x="471" y="54"/>
                    <a:pt x="467" y="56"/>
                    <a:pt x="462" y="60"/>
                  </a:cubicBezTo>
                  <a:cubicBezTo>
                    <a:pt x="461" y="60"/>
                    <a:pt x="459" y="62"/>
                    <a:pt x="457" y="64"/>
                  </a:cubicBezTo>
                  <a:cubicBezTo>
                    <a:pt x="449" y="69"/>
                    <a:pt x="443" y="75"/>
                    <a:pt x="439" y="81"/>
                  </a:cubicBezTo>
                  <a:cubicBezTo>
                    <a:pt x="433" y="90"/>
                    <a:pt x="430" y="97"/>
                    <a:pt x="430" y="101"/>
                  </a:cubicBezTo>
                  <a:cubicBezTo>
                    <a:pt x="430" y="102"/>
                    <a:pt x="430" y="105"/>
                    <a:pt x="429" y="106"/>
                  </a:cubicBezTo>
                  <a:cubicBezTo>
                    <a:pt x="427" y="110"/>
                    <a:pt x="426" y="129"/>
                    <a:pt x="425" y="151"/>
                  </a:cubicBezTo>
                  <a:lnTo>
                    <a:pt x="425" y="170"/>
                  </a:lnTo>
                  <a:lnTo>
                    <a:pt x="428" y="181"/>
                  </a:lnTo>
                  <a:cubicBezTo>
                    <a:pt x="431" y="189"/>
                    <a:pt x="432" y="192"/>
                    <a:pt x="431" y="196"/>
                  </a:cubicBezTo>
                  <a:cubicBezTo>
                    <a:pt x="431" y="205"/>
                    <a:pt x="429" y="214"/>
                    <a:pt x="427" y="217"/>
                  </a:cubicBezTo>
                  <a:cubicBezTo>
                    <a:pt x="425" y="221"/>
                    <a:pt x="425" y="236"/>
                    <a:pt x="427" y="237"/>
                  </a:cubicBezTo>
                  <a:cubicBezTo>
                    <a:pt x="428" y="237"/>
                    <a:pt x="431" y="238"/>
                    <a:pt x="434" y="239"/>
                  </a:cubicBezTo>
                  <a:cubicBezTo>
                    <a:pt x="439" y="240"/>
                    <a:pt x="440" y="240"/>
                    <a:pt x="442" y="243"/>
                  </a:cubicBezTo>
                  <a:cubicBezTo>
                    <a:pt x="443" y="244"/>
                    <a:pt x="444" y="247"/>
                    <a:pt x="444" y="250"/>
                  </a:cubicBezTo>
                  <a:cubicBezTo>
                    <a:pt x="444" y="254"/>
                    <a:pt x="445" y="257"/>
                    <a:pt x="449" y="257"/>
                  </a:cubicBezTo>
                  <a:cubicBezTo>
                    <a:pt x="457" y="257"/>
                    <a:pt x="461" y="266"/>
                    <a:pt x="457" y="274"/>
                  </a:cubicBezTo>
                  <a:cubicBezTo>
                    <a:pt x="455" y="277"/>
                    <a:pt x="455" y="277"/>
                    <a:pt x="457" y="278"/>
                  </a:cubicBezTo>
                  <a:cubicBezTo>
                    <a:pt x="462" y="281"/>
                    <a:pt x="466" y="286"/>
                    <a:pt x="467" y="292"/>
                  </a:cubicBezTo>
                  <a:cubicBezTo>
                    <a:pt x="467" y="293"/>
                    <a:pt x="469" y="296"/>
                    <a:pt x="470" y="298"/>
                  </a:cubicBezTo>
                  <a:cubicBezTo>
                    <a:pt x="473" y="302"/>
                    <a:pt x="476" y="304"/>
                    <a:pt x="483" y="304"/>
                  </a:cubicBezTo>
                  <a:cubicBezTo>
                    <a:pt x="485" y="304"/>
                    <a:pt x="487" y="304"/>
                    <a:pt x="490" y="304"/>
                  </a:cubicBezTo>
                  <a:cubicBezTo>
                    <a:pt x="499" y="302"/>
                    <a:pt x="503" y="302"/>
                    <a:pt x="506" y="302"/>
                  </a:cubicBezTo>
                  <a:cubicBezTo>
                    <a:pt x="508" y="302"/>
                    <a:pt x="509" y="302"/>
                    <a:pt x="511" y="303"/>
                  </a:cubicBezTo>
                  <a:cubicBezTo>
                    <a:pt x="514" y="304"/>
                    <a:pt x="519" y="309"/>
                    <a:pt x="523" y="314"/>
                  </a:cubicBezTo>
                  <a:cubicBezTo>
                    <a:pt x="524" y="316"/>
                    <a:pt x="527" y="321"/>
                    <a:pt x="529" y="324"/>
                  </a:cubicBezTo>
                  <a:cubicBezTo>
                    <a:pt x="535" y="333"/>
                    <a:pt x="535" y="334"/>
                    <a:pt x="528" y="340"/>
                  </a:cubicBezTo>
                  <a:cubicBezTo>
                    <a:pt x="525" y="342"/>
                    <a:pt x="521" y="344"/>
                    <a:pt x="520" y="345"/>
                  </a:cubicBezTo>
                  <a:cubicBezTo>
                    <a:pt x="519" y="345"/>
                    <a:pt x="516" y="348"/>
                    <a:pt x="515" y="350"/>
                  </a:cubicBezTo>
                  <a:cubicBezTo>
                    <a:pt x="513" y="353"/>
                    <a:pt x="510" y="356"/>
                    <a:pt x="508" y="358"/>
                  </a:cubicBezTo>
                  <a:cubicBezTo>
                    <a:pt x="504" y="363"/>
                    <a:pt x="500" y="368"/>
                    <a:pt x="499" y="371"/>
                  </a:cubicBezTo>
                  <a:cubicBezTo>
                    <a:pt x="499" y="373"/>
                    <a:pt x="497" y="375"/>
                    <a:pt x="497" y="377"/>
                  </a:cubicBezTo>
                  <a:cubicBezTo>
                    <a:pt x="496" y="379"/>
                    <a:pt x="495" y="381"/>
                    <a:pt x="495" y="382"/>
                  </a:cubicBezTo>
                  <a:cubicBezTo>
                    <a:pt x="495" y="383"/>
                    <a:pt x="494" y="385"/>
                    <a:pt x="493" y="386"/>
                  </a:cubicBezTo>
                  <a:cubicBezTo>
                    <a:pt x="492" y="388"/>
                    <a:pt x="491" y="390"/>
                    <a:pt x="491" y="391"/>
                  </a:cubicBezTo>
                  <a:cubicBezTo>
                    <a:pt x="491" y="391"/>
                    <a:pt x="489" y="394"/>
                    <a:pt x="487" y="396"/>
                  </a:cubicBezTo>
                  <a:cubicBezTo>
                    <a:pt x="483" y="400"/>
                    <a:pt x="482" y="400"/>
                    <a:pt x="482" y="404"/>
                  </a:cubicBezTo>
                  <a:cubicBezTo>
                    <a:pt x="482" y="406"/>
                    <a:pt x="482" y="408"/>
                    <a:pt x="481" y="409"/>
                  </a:cubicBezTo>
                  <a:cubicBezTo>
                    <a:pt x="480" y="410"/>
                    <a:pt x="480" y="414"/>
                    <a:pt x="479" y="418"/>
                  </a:cubicBezTo>
                  <a:cubicBezTo>
                    <a:pt x="479" y="422"/>
                    <a:pt x="478" y="425"/>
                    <a:pt x="477" y="426"/>
                  </a:cubicBezTo>
                  <a:cubicBezTo>
                    <a:pt x="476" y="427"/>
                    <a:pt x="475" y="429"/>
                    <a:pt x="475" y="431"/>
                  </a:cubicBezTo>
                  <a:cubicBezTo>
                    <a:pt x="474" y="432"/>
                    <a:pt x="472" y="437"/>
                    <a:pt x="470" y="440"/>
                  </a:cubicBezTo>
                  <a:cubicBezTo>
                    <a:pt x="468" y="444"/>
                    <a:pt x="466" y="447"/>
                    <a:pt x="466" y="449"/>
                  </a:cubicBezTo>
                  <a:cubicBezTo>
                    <a:pt x="466" y="450"/>
                    <a:pt x="465" y="451"/>
                    <a:pt x="464" y="451"/>
                  </a:cubicBezTo>
                  <a:cubicBezTo>
                    <a:pt x="464" y="452"/>
                    <a:pt x="462" y="455"/>
                    <a:pt x="460" y="459"/>
                  </a:cubicBezTo>
                  <a:cubicBezTo>
                    <a:pt x="458" y="463"/>
                    <a:pt x="455" y="468"/>
                    <a:pt x="454" y="471"/>
                  </a:cubicBezTo>
                  <a:cubicBezTo>
                    <a:pt x="447" y="484"/>
                    <a:pt x="441" y="496"/>
                    <a:pt x="441" y="498"/>
                  </a:cubicBezTo>
                  <a:cubicBezTo>
                    <a:pt x="441" y="500"/>
                    <a:pt x="440" y="502"/>
                    <a:pt x="440" y="504"/>
                  </a:cubicBezTo>
                  <a:cubicBezTo>
                    <a:pt x="439" y="506"/>
                    <a:pt x="438" y="513"/>
                    <a:pt x="438" y="521"/>
                  </a:cubicBezTo>
                  <a:cubicBezTo>
                    <a:pt x="437" y="530"/>
                    <a:pt x="436" y="536"/>
                    <a:pt x="435" y="539"/>
                  </a:cubicBezTo>
                  <a:cubicBezTo>
                    <a:pt x="432" y="545"/>
                    <a:pt x="430" y="556"/>
                    <a:pt x="430" y="561"/>
                  </a:cubicBezTo>
                  <a:cubicBezTo>
                    <a:pt x="430" y="563"/>
                    <a:pt x="429" y="568"/>
                    <a:pt x="428" y="573"/>
                  </a:cubicBezTo>
                  <a:cubicBezTo>
                    <a:pt x="427" y="578"/>
                    <a:pt x="426" y="588"/>
                    <a:pt x="425" y="595"/>
                  </a:cubicBezTo>
                  <a:cubicBezTo>
                    <a:pt x="424" y="602"/>
                    <a:pt x="423" y="609"/>
                    <a:pt x="422" y="611"/>
                  </a:cubicBezTo>
                  <a:cubicBezTo>
                    <a:pt x="421" y="613"/>
                    <a:pt x="420" y="618"/>
                    <a:pt x="420" y="621"/>
                  </a:cubicBezTo>
                  <a:cubicBezTo>
                    <a:pt x="419" y="627"/>
                    <a:pt x="417" y="634"/>
                    <a:pt x="414" y="637"/>
                  </a:cubicBezTo>
                  <a:cubicBezTo>
                    <a:pt x="413" y="639"/>
                    <a:pt x="410" y="640"/>
                    <a:pt x="409" y="640"/>
                  </a:cubicBezTo>
                  <a:cubicBezTo>
                    <a:pt x="407" y="640"/>
                    <a:pt x="406" y="639"/>
                    <a:pt x="405" y="638"/>
                  </a:cubicBezTo>
                  <a:cubicBezTo>
                    <a:pt x="405" y="636"/>
                    <a:pt x="397" y="633"/>
                    <a:pt x="392" y="632"/>
                  </a:cubicBezTo>
                  <a:cubicBezTo>
                    <a:pt x="390" y="632"/>
                    <a:pt x="387" y="631"/>
                    <a:pt x="386" y="631"/>
                  </a:cubicBezTo>
                  <a:cubicBezTo>
                    <a:pt x="386" y="631"/>
                    <a:pt x="385" y="631"/>
                    <a:pt x="385" y="631"/>
                  </a:cubicBezTo>
                  <a:cubicBezTo>
                    <a:pt x="384" y="631"/>
                    <a:pt x="383" y="631"/>
                    <a:pt x="382" y="632"/>
                  </a:cubicBezTo>
                  <a:cubicBezTo>
                    <a:pt x="381" y="633"/>
                    <a:pt x="380" y="634"/>
                    <a:pt x="378" y="634"/>
                  </a:cubicBezTo>
                  <a:cubicBezTo>
                    <a:pt x="377" y="635"/>
                    <a:pt x="375" y="636"/>
                    <a:pt x="374" y="638"/>
                  </a:cubicBezTo>
                  <a:cubicBezTo>
                    <a:pt x="373" y="640"/>
                    <a:pt x="371" y="642"/>
                    <a:pt x="369" y="643"/>
                  </a:cubicBezTo>
                  <a:cubicBezTo>
                    <a:pt x="368" y="644"/>
                    <a:pt x="364" y="647"/>
                    <a:pt x="361" y="649"/>
                  </a:cubicBezTo>
                  <a:cubicBezTo>
                    <a:pt x="358" y="651"/>
                    <a:pt x="355" y="652"/>
                    <a:pt x="353" y="652"/>
                  </a:cubicBezTo>
                  <a:cubicBezTo>
                    <a:pt x="349" y="652"/>
                    <a:pt x="333" y="655"/>
                    <a:pt x="330" y="656"/>
                  </a:cubicBezTo>
                  <a:cubicBezTo>
                    <a:pt x="328" y="657"/>
                    <a:pt x="327" y="658"/>
                    <a:pt x="327" y="658"/>
                  </a:cubicBezTo>
                  <a:cubicBezTo>
                    <a:pt x="327" y="659"/>
                    <a:pt x="325" y="660"/>
                    <a:pt x="323" y="661"/>
                  </a:cubicBezTo>
                  <a:cubicBezTo>
                    <a:pt x="317" y="663"/>
                    <a:pt x="311" y="666"/>
                    <a:pt x="310" y="668"/>
                  </a:cubicBezTo>
                  <a:cubicBezTo>
                    <a:pt x="310" y="669"/>
                    <a:pt x="309" y="670"/>
                    <a:pt x="306" y="670"/>
                  </a:cubicBezTo>
                  <a:cubicBezTo>
                    <a:pt x="306" y="670"/>
                    <a:pt x="305" y="671"/>
                    <a:pt x="304" y="671"/>
                  </a:cubicBezTo>
                  <a:cubicBezTo>
                    <a:pt x="303" y="671"/>
                    <a:pt x="302" y="670"/>
                    <a:pt x="301" y="668"/>
                  </a:cubicBezTo>
                  <a:cubicBezTo>
                    <a:pt x="299" y="666"/>
                    <a:pt x="296" y="664"/>
                    <a:pt x="293" y="664"/>
                  </a:cubicBezTo>
                  <a:cubicBezTo>
                    <a:pt x="289" y="664"/>
                    <a:pt x="286" y="666"/>
                    <a:pt x="285" y="669"/>
                  </a:cubicBezTo>
                  <a:cubicBezTo>
                    <a:pt x="284" y="671"/>
                    <a:pt x="284" y="672"/>
                    <a:pt x="282" y="672"/>
                  </a:cubicBezTo>
                  <a:cubicBezTo>
                    <a:pt x="281" y="672"/>
                    <a:pt x="280" y="671"/>
                    <a:pt x="280" y="671"/>
                  </a:cubicBezTo>
                  <a:cubicBezTo>
                    <a:pt x="280" y="670"/>
                    <a:pt x="279" y="670"/>
                    <a:pt x="278" y="670"/>
                  </a:cubicBezTo>
                  <a:cubicBezTo>
                    <a:pt x="278" y="670"/>
                    <a:pt x="277" y="669"/>
                    <a:pt x="277" y="668"/>
                  </a:cubicBezTo>
                  <a:cubicBezTo>
                    <a:pt x="277" y="668"/>
                    <a:pt x="276" y="667"/>
                    <a:pt x="276" y="667"/>
                  </a:cubicBezTo>
                  <a:cubicBezTo>
                    <a:pt x="274" y="667"/>
                    <a:pt x="264" y="675"/>
                    <a:pt x="263" y="677"/>
                  </a:cubicBezTo>
                  <a:cubicBezTo>
                    <a:pt x="262" y="678"/>
                    <a:pt x="261" y="679"/>
                    <a:pt x="260" y="679"/>
                  </a:cubicBezTo>
                  <a:cubicBezTo>
                    <a:pt x="259" y="679"/>
                    <a:pt x="258" y="680"/>
                    <a:pt x="258" y="681"/>
                  </a:cubicBezTo>
                  <a:cubicBezTo>
                    <a:pt x="257" y="682"/>
                    <a:pt x="256" y="683"/>
                    <a:pt x="254" y="683"/>
                  </a:cubicBezTo>
                  <a:cubicBezTo>
                    <a:pt x="253" y="683"/>
                    <a:pt x="250" y="685"/>
                    <a:pt x="249" y="686"/>
                  </a:cubicBezTo>
                  <a:cubicBezTo>
                    <a:pt x="247" y="689"/>
                    <a:pt x="240" y="691"/>
                    <a:pt x="232" y="691"/>
                  </a:cubicBezTo>
                  <a:cubicBezTo>
                    <a:pt x="228" y="691"/>
                    <a:pt x="225" y="691"/>
                    <a:pt x="224" y="692"/>
                  </a:cubicBezTo>
                  <a:cubicBezTo>
                    <a:pt x="221" y="694"/>
                    <a:pt x="208" y="695"/>
                    <a:pt x="185" y="696"/>
                  </a:cubicBezTo>
                  <a:cubicBezTo>
                    <a:pt x="178" y="696"/>
                    <a:pt x="170" y="697"/>
                    <a:pt x="167" y="697"/>
                  </a:cubicBezTo>
                  <a:cubicBezTo>
                    <a:pt x="166" y="697"/>
                    <a:pt x="165" y="698"/>
                    <a:pt x="163" y="698"/>
                  </a:cubicBezTo>
                  <a:lnTo>
                    <a:pt x="163" y="698"/>
                  </a:lnTo>
                  <a:lnTo>
                    <a:pt x="65" y="477"/>
                  </a:lnTo>
                  <a:lnTo>
                    <a:pt x="65" y="477"/>
                  </a:lnTo>
                  <a:lnTo>
                    <a:pt x="0" y="510"/>
                  </a:lnTo>
                  <a:cubicBezTo>
                    <a:pt x="0" y="510"/>
                    <a:pt x="0" y="510"/>
                    <a:pt x="0" y="510"/>
                  </a:cubicBezTo>
                  <a:lnTo>
                    <a:pt x="66" y="656"/>
                  </a:lnTo>
                  <a:lnTo>
                    <a:pt x="66" y="656"/>
                  </a:lnTo>
                  <a:cubicBezTo>
                    <a:pt x="67" y="657"/>
                    <a:pt x="67" y="658"/>
                    <a:pt x="68" y="660"/>
                  </a:cubicBezTo>
                  <a:cubicBezTo>
                    <a:pt x="71" y="667"/>
                    <a:pt x="76" y="678"/>
                    <a:pt x="79" y="684"/>
                  </a:cubicBezTo>
                  <a:cubicBezTo>
                    <a:pt x="82" y="691"/>
                    <a:pt x="85" y="698"/>
                    <a:pt x="85" y="700"/>
                  </a:cubicBezTo>
                  <a:cubicBezTo>
                    <a:pt x="86" y="702"/>
                    <a:pt x="89" y="709"/>
                    <a:pt x="93" y="717"/>
                  </a:cubicBezTo>
                  <a:cubicBezTo>
                    <a:pt x="96" y="724"/>
                    <a:pt x="100" y="734"/>
                    <a:pt x="102" y="738"/>
                  </a:cubicBezTo>
                  <a:cubicBezTo>
                    <a:pt x="107" y="751"/>
                    <a:pt x="111" y="760"/>
                    <a:pt x="112" y="763"/>
                  </a:cubicBezTo>
                  <a:cubicBezTo>
                    <a:pt x="112" y="765"/>
                    <a:pt x="112" y="766"/>
                    <a:pt x="108" y="770"/>
                  </a:cubicBezTo>
                  <a:cubicBezTo>
                    <a:pt x="105" y="773"/>
                    <a:pt x="104" y="775"/>
                    <a:pt x="103" y="779"/>
                  </a:cubicBezTo>
                  <a:cubicBezTo>
                    <a:pt x="102" y="782"/>
                    <a:pt x="101" y="784"/>
                    <a:pt x="99" y="785"/>
                  </a:cubicBezTo>
                  <a:cubicBezTo>
                    <a:pt x="93" y="789"/>
                    <a:pt x="83" y="800"/>
                    <a:pt x="80" y="806"/>
                  </a:cubicBezTo>
                  <a:cubicBezTo>
                    <a:pt x="78" y="809"/>
                    <a:pt x="76" y="813"/>
                    <a:pt x="76" y="815"/>
                  </a:cubicBezTo>
                  <a:cubicBezTo>
                    <a:pt x="74" y="817"/>
                    <a:pt x="74" y="822"/>
                    <a:pt x="74" y="845"/>
                  </a:cubicBezTo>
                  <a:cubicBezTo>
                    <a:pt x="74" y="869"/>
                    <a:pt x="74" y="873"/>
                    <a:pt x="76" y="876"/>
                  </a:cubicBezTo>
                  <a:cubicBezTo>
                    <a:pt x="77" y="877"/>
                    <a:pt x="78" y="881"/>
                    <a:pt x="78" y="884"/>
                  </a:cubicBezTo>
                  <a:cubicBezTo>
                    <a:pt x="78" y="887"/>
                    <a:pt x="79" y="891"/>
                    <a:pt x="80" y="894"/>
                  </a:cubicBezTo>
                  <a:cubicBezTo>
                    <a:pt x="81" y="897"/>
                    <a:pt x="81" y="906"/>
                    <a:pt x="82" y="914"/>
                  </a:cubicBezTo>
                  <a:cubicBezTo>
                    <a:pt x="82" y="923"/>
                    <a:pt x="83" y="932"/>
                    <a:pt x="84" y="934"/>
                  </a:cubicBezTo>
                  <a:cubicBezTo>
                    <a:pt x="85" y="937"/>
                    <a:pt x="86" y="943"/>
                    <a:pt x="86" y="948"/>
                  </a:cubicBezTo>
                  <a:cubicBezTo>
                    <a:pt x="87" y="953"/>
                    <a:pt x="88" y="957"/>
                    <a:pt x="88" y="958"/>
                  </a:cubicBezTo>
                  <a:cubicBezTo>
                    <a:pt x="89" y="959"/>
                    <a:pt x="90" y="963"/>
                    <a:pt x="90" y="966"/>
                  </a:cubicBezTo>
                  <a:cubicBezTo>
                    <a:pt x="91" y="970"/>
                    <a:pt x="92" y="973"/>
                    <a:pt x="92" y="975"/>
                  </a:cubicBezTo>
                  <a:cubicBezTo>
                    <a:pt x="93" y="976"/>
                    <a:pt x="94" y="980"/>
                    <a:pt x="95" y="983"/>
                  </a:cubicBezTo>
                  <a:cubicBezTo>
                    <a:pt x="95" y="986"/>
                    <a:pt x="96" y="989"/>
                    <a:pt x="97" y="990"/>
                  </a:cubicBezTo>
                  <a:cubicBezTo>
                    <a:pt x="98" y="992"/>
                    <a:pt x="98" y="994"/>
                    <a:pt x="99" y="996"/>
                  </a:cubicBezTo>
                  <a:cubicBezTo>
                    <a:pt x="99" y="998"/>
                    <a:pt x="100" y="1002"/>
                    <a:pt x="101" y="1004"/>
                  </a:cubicBezTo>
                  <a:cubicBezTo>
                    <a:pt x="104" y="1013"/>
                    <a:pt x="106" y="1018"/>
                    <a:pt x="108" y="1025"/>
                  </a:cubicBezTo>
                  <a:cubicBezTo>
                    <a:pt x="112" y="1040"/>
                    <a:pt x="113" y="1043"/>
                    <a:pt x="114" y="1047"/>
                  </a:cubicBezTo>
                  <a:cubicBezTo>
                    <a:pt x="115" y="1049"/>
                    <a:pt x="116" y="1051"/>
                    <a:pt x="116" y="1053"/>
                  </a:cubicBezTo>
                  <a:cubicBezTo>
                    <a:pt x="116" y="1055"/>
                    <a:pt x="116" y="1057"/>
                    <a:pt x="117" y="1058"/>
                  </a:cubicBezTo>
                  <a:cubicBezTo>
                    <a:pt x="118" y="1059"/>
                    <a:pt x="119" y="1062"/>
                    <a:pt x="120" y="1065"/>
                  </a:cubicBezTo>
                  <a:cubicBezTo>
                    <a:pt x="121" y="1068"/>
                    <a:pt x="122" y="1072"/>
                    <a:pt x="122" y="1074"/>
                  </a:cubicBezTo>
                  <a:cubicBezTo>
                    <a:pt x="126" y="1085"/>
                    <a:pt x="128" y="1092"/>
                    <a:pt x="128" y="1097"/>
                  </a:cubicBezTo>
                  <a:cubicBezTo>
                    <a:pt x="128" y="1101"/>
                    <a:pt x="129" y="1105"/>
                    <a:pt x="130" y="1107"/>
                  </a:cubicBezTo>
                  <a:cubicBezTo>
                    <a:pt x="131" y="1109"/>
                    <a:pt x="131" y="1113"/>
                    <a:pt x="132" y="1117"/>
                  </a:cubicBezTo>
                  <a:cubicBezTo>
                    <a:pt x="132" y="1120"/>
                    <a:pt x="133" y="1126"/>
                    <a:pt x="133" y="1128"/>
                  </a:cubicBezTo>
                  <a:cubicBezTo>
                    <a:pt x="135" y="1135"/>
                    <a:pt x="133" y="1141"/>
                    <a:pt x="125" y="1155"/>
                  </a:cubicBezTo>
                  <a:cubicBezTo>
                    <a:pt x="121" y="1163"/>
                    <a:pt x="118" y="1169"/>
                    <a:pt x="117" y="1169"/>
                  </a:cubicBezTo>
                  <a:cubicBezTo>
                    <a:pt x="117" y="1170"/>
                    <a:pt x="110" y="1182"/>
                    <a:pt x="107" y="1189"/>
                  </a:cubicBezTo>
                  <a:cubicBezTo>
                    <a:pt x="106" y="1191"/>
                    <a:pt x="105" y="1193"/>
                    <a:pt x="104" y="1193"/>
                  </a:cubicBezTo>
                  <a:cubicBezTo>
                    <a:pt x="103" y="1194"/>
                    <a:pt x="103" y="1195"/>
                    <a:pt x="102" y="1196"/>
                  </a:cubicBezTo>
                  <a:cubicBezTo>
                    <a:pt x="101" y="1197"/>
                    <a:pt x="88" y="1201"/>
                    <a:pt x="77" y="1202"/>
                  </a:cubicBezTo>
                  <a:cubicBezTo>
                    <a:pt x="69" y="1203"/>
                    <a:pt x="65" y="1205"/>
                    <a:pt x="65" y="1208"/>
                  </a:cubicBezTo>
                  <a:cubicBezTo>
                    <a:pt x="65" y="1208"/>
                    <a:pt x="64" y="1211"/>
                    <a:pt x="61" y="1213"/>
                  </a:cubicBezTo>
                  <a:cubicBezTo>
                    <a:pt x="57" y="1218"/>
                    <a:pt x="53" y="1222"/>
                    <a:pt x="51" y="1225"/>
                  </a:cubicBezTo>
                  <a:lnTo>
                    <a:pt x="51" y="1225"/>
                  </a:lnTo>
                  <a:cubicBezTo>
                    <a:pt x="34" y="1236"/>
                    <a:pt x="31" y="1251"/>
                    <a:pt x="43" y="1271"/>
                  </a:cubicBezTo>
                  <a:cubicBezTo>
                    <a:pt x="44" y="1274"/>
                    <a:pt x="46" y="1275"/>
                    <a:pt x="48" y="1277"/>
                  </a:cubicBezTo>
                  <a:cubicBezTo>
                    <a:pt x="50" y="1278"/>
                    <a:pt x="54" y="1280"/>
                    <a:pt x="59" y="1281"/>
                  </a:cubicBezTo>
                  <a:cubicBezTo>
                    <a:pt x="60" y="1283"/>
                    <a:pt x="61" y="1284"/>
                    <a:pt x="62" y="1284"/>
                  </a:cubicBezTo>
                  <a:cubicBezTo>
                    <a:pt x="71" y="1286"/>
                    <a:pt x="79" y="1287"/>
                    <a:pt x="87" y="1288"/>
                  </a:cubicBezTo>
                  <a:cubicBezTo>
                    <a:pt x="95" y="1289"/>
                    <a:pt x="102" y="1290"/>
                    <a:pt x="109" y="1290"/>
                  </a:cubicBezTo>
                  <a:cubicBezTo>
                    <a:pt x="122" y="1290"/>
                    <a:pt x="133" y="1288"/>
                    <a:pt x="143" y="1284"/>
                  </a:cubicBezTo>
                  <a:cubicBezTo>
                    <a:pt x="152" y="1280"/>
                    <a:pt x="159" y="1276"/>
                    <a:pt x="163" y="1270"/>
                  </a:cubicBezTo>
                  <a:cubicBezTo>
                    <a:pt x="165" y="1268"/>
                    <a:pt x="166" y="1266"/>
                    <a:pt x="168" y="1263"/>
                  </a:cubicBezTo>
                  <a:lnTo>
                    <a:pt x="169" y="1257"/>
                  </a:lnTo>
                  <a:lnTo>
                    <a:pt x="169" y="1257"/>
                  </a:lnTo>
                  <a:cubicBezTo>
                    <a:pt x="170" y="1256"/>
                    <a:pt x="171" y="1255"/>
                    <a:pt x="171" y="1253"/>
                  </a:cubicBezTo>
                  <a:lnTo>
                    <a:pt x="171" y="1253"/>
                  </a:lnTo>
                  <a:lnTo>
                    <a:pt x="173" y="1246"/>
                  </a:lnTo>
                  <a:cubicBezTo>
                    <a:pt x="175" y="1243"/>
                    <a:pt x="176" y="1240"/>
                    <a:pt x="179" y="1238"/>
                  </a:cubicBezTo>
                  <a:cubicBezTo>
                    <a:pt x="181" y="1236"/>
                    <a:pt x="183" y="1235"/>
                    <a:pt x="186" y="1233"/>
                  </a:cubicBezTo>
                  <a:cubicBezTo>
                    <a:pt x="187" y="1232"/>
                    <a:pt x="195" y="1228"/>
                    <a:pt x="209" y="1221"/>
                  </a:cubicBezTo>
                  <a:lnTo>
                    <a:pt x="212" y="1219"/>
                  </a:lnTo>
                  <a:lnTo>
                    <a:pt x="212" y="1219"/>
                  </a:lnTo>
                  <a:cubicBezTo>
                    <a:pt x="212" y="1219"/>
                    <a:pt x="212" y="1219"/>
                    <a:pt x="213" y="1220"/>
                  </a:cubicBezTo>
                  <a:cubicBezTo>
                    <a:pt x="214" y="1222"/>
                    <a:pt x="215" y="1223"/>
                    <a:pt x="215" y="1238"/>
                  </a:cubicBezTo>
                  <a:cubicBezTo>
                    <a:pt x="215" y="1249"/>
                    <a:pt x="214" y="1257"/>
                    <a:pt x="213" y="1260"/>
                  </a:cubicBezTo>
                  <a:lnTo>
                    <a:pt x="212" y="1266"/>
                  </a:lnTo>
                  <a:lnTo>
                    <a:pt x="216" y="1269"/>
                  </a:lnTo>
                  <a:lnTo>
                    <a:pt x="220" y="1273"/>
                  </a:lnTo>
                  <a:lnTo>
                    <a:pt x="221" y="1270"/>
                  </a:lnTo>
                  <a:cubicBezTo>
                    <a:pt x="221" y="1268"/>
                    <a:pt x="222" y="1258"/>
                    <a:pt x="222" y="1243"/>
                  </a:cubicBezTo>
                  <a:cubicBezTo>
                    <a:pt x="223" y="1225"/>
                    <a:pt x="223" y="1218"/>
                    <a:pt x="224" y="1216"/>
                  </a:cubicBezTo>
                  <a:cubicBezTo>
                    <a:pt x="225" y="1215"/>
                    <a:pt x="226" y="1212"/>
                    <a:pt x="226" y="1210"/>
                  </a:cubicBezTo>
                  <a:cubicBezTo>
                    <a:pt x="227" y="1207"/>
                    <a:pt x="229" y="1204"/>
                    <a:pt x="233" y="1198"/>
                  </a:cubicBezTo>
                  <a:cubicBezTo>
                    <a:pt x="236" y="1194"/>
                    <a:pt x="239" y="1189"/>
                    <a:pt x="240" y="1188"/>
                  </a:cubicBezTo>
                  <a:cubicBezTo>
                    <a:pt x="240" y="1186"/>
                    <a:pt x="241" y="1185"/>
                    <a:pt x="242" y="1184"/>
                  </a:cubicBezTo>
                  <a:cubicBezTo>
                    <a:pt x="243" y="1183"/>
                    <a:pt x="243" y="1172"/>
                    <a:pt x="241" y="1169"/>
                  </a:cubicBezTo>
                  <a:cubicBezTo>
                    <a:pt x="239" y="1167"/>
                    <a:pt x="239" y="1163"/>
                    <a:pt x="241" y="1159"/>
                  </a:cubicBezTo>
                  <a:cubicBezTo>
                    <a:pt x="246" y="1150"/>
                    <a:pt x="241" y="1135"/>
                    <a:pt x="228" y="1123"/>
                  </a:cubicBezTo>
                  <a:cubicBezTo>
                    <a:pt x="224" y="1120"/>
                    <a:pt x="222" y="1117"/>
                    <a:pt x="222" y="1117"/>
                  </a:cubicBezTo>
                  <a:cubicBezTo>
                    <a:pt x="222" y="1115"/>
                    <a:pt x="219" y="1114"/>
                    <a:pt x="216" y="1114"/>
                  </a:cubicBezTo>
                  <a:cubicBezTo>
                    <a:pt x="216" y="1114"/>
                    <a:pt x="215" y="1114"/>
                    <a:pt x="215" y="1114"/>
                  </a:cubicBezTo>
                  <a:cubicBezTo>
                    <a:pt x="214" y="1114"/>
                    <a:pt x="213" y="1115"/>
                    <a:pt x="212" y="1115"/>
                  </a:cubicBezTo>
                  <a:cubicBezTo>
                    <a:pt x="210" y="1115"/>
                    <a:pt x="208" y="1114"/>
                    <a:pt x="207" y="1112"/>
                  </a:cubicBezTo>
                  <a:cubicBezTo>
                    <a:pt x="205" y="1108"/>
                    <a:pt x="204" y="1089"/>
                    <a:pt x="205" y="1069"/>
                  </a:cubicBezTo>
                  <a:cubicBezTo>
                    <a:pt x="206" y="1057"/>
                    <a:pt x="207" y="1047"/>
                    <a:pt x="207" y="1045"/>
                  </a:cubicBezTo>
                  <a:cubicBezTo>
                    <a:pt x="208" y="1043"/>
                    <a:pt x="209" y="1034"/>
                    <a:pt x="210" y="1025"/>
                  </a:cubicBezTo>
                  <a:cubicBezTo>
                    <a:pt x="210" y="1015"/>
                    <a:pt x="211" y="1005"/>
                    <a:pt x="212" y="1002"/>
                  </a:cubicBezTo>
                  <a:cubicBezTo>
                    <a:pt x="212" y="999"/>
                    <a:pt x="213" y="990"/>
                    <a:pt x="214" y="982"/>
                  </a:cubicBezTo>
                  <a:cubicBezTo>
                    <a:pt x="214" y="973"/>
                    <a:pt x="215" y="965"/>
                    <a:pt x="216" y="962"/>
                  </a:cubicBezTo>
                  <a:cubicBezTo>
                    <a:pt x="217" y="956"/>
                    <a:pt x="217" y="932"/>
                    <a:pt x="216" y="926"/>
                  </a:cubicBezTo>
                  <a:cubicBezTo>
                    <a:pt x="215" y="924"/>
                    <a:pt x="214" y="920"/>
                    <a:pt x="214" y="918"/>
                  </a:cubicBezTo>
                  <a:cubicBezTo>
                    <a:pt x="214" y="915"/>
                    <a:pt x="213" y="913"/>
                    <a:pt x="212" y="913"/>
                  </a:cubicBezTo>
                  <a:cubicBezTo>
                    <a:pt x="211" y="913"/>
                    <a:pt x="209" y="907"/>
                    <a:pt x="208" y="899"/>
                  </a:cubicBezTo>
                  <a:cubicBezTo>
                    <a:pt x="207" y="897"/>
                    <a:pt x="206" y="894"/>
                    <a:pt x="206" y="893"/>
                  </a:cubicBezTo>
                  <a:cubicBezTo>
                    <a:pt x="204" y="889"/>
                    <a:pt x="204" y="884"/>
                    <a:pt x="206" y="882"/>
                  </a:cubicBezTo>
                  <a:cubicBezTo>
                    <a:pt x="207" y="881"/>
                    <a:pt x="210" y="881"/>
                    <a:pt x="218" y="881"/>
                  </a:cubicBezTo>
                  <a:cubicBezTo>
                    <a:pt x="220" y="881"/>
                    <a:pt x="222" y="881"/>
                    <a:pt x="226" y="881"/>
                  </a:cubicBezTo>
                  <a:cubicBezTo>
                    <a:pt x="236" y="881"/>
                    <a:pt x="244" y="882"/>
                    <a:pt x="245" y="882"/>
                  </a:cubicBezTo>
                  <a:cubicBezTo>
                    <a:pt x="245" y="883"/>
                    <a:pt x="246" y="886"/>
                    <a:pt x="246" y="889"/>
                  </a:cubicBezTo>
                  <a:cubicBezTo>
                    <a:pt x="246" y="898"/>
                    <a:pt x="249" y="904"/>
                    <a:pt x="256" y="908"/>
                  </a:cubicBezTo>
                  <a:cubicBezTo>
                    <a:pt x="258" y="910"/>
                    <a:pt x="262" y="913"/>
                    <a:pt x="264" y="914"/>
                  </a:cubicBezTo>
                  <a:cubicBezTo>
                    <a:pt x="266" y="915"/>
                    <a:pt x="269" y="916"/>
                    <a:pt x="274" y="916"/>
                  </a:cubicBezTo>
                  <a:cubicBezTo>
                    <a:pt x="278" y="917"/>
                    <a:pt x="283" y="917"/>
                    <a:pt x="285" y="918"/>
                  </a:cubicBezTo>
                  <a:cubicBezTo>
                    <a:pt x="287" y="919"/>
                    <a:pt x="292" y="920"/>
                    <a:pt x="299" y="920"/>
                  </a:cubicBezTo>
                  <a:cubicBezTo>
                    <a:pt x="316" y="920"/>
                    <a:pt x="348" y="921"/>
                    <a:pt x="360" y="923"/>
                  </a:cubicBezTo>
                  <a:cubicBezTo>
                    <a:pt x="366" y="924"/>
                    <a:pt x="375" y="924"/>
                    <a:pt x="380" y="924"/>
                  </a:cubicBezTo>
                  <a:cubicBezTo>
                    <a:pt x="382" y="924"/>
                    <a:pt x="383" y="924"/>
                    <a:pt x="384" y="924"/>
                  </a:cubicBezTo>
                  <a:cubicBezTo>
                    <a:pt x="393" y="924"/>
                    <a:pt x="393" y="926"/>
                    <a:pt x="392" y="947"/>
                  </a:cubicBezTo>
                  <a:cubicBezTo>
                    <a:pt x="391" y="958"/>
                    <a:pt x="390" y="968"/>
                    <a:pt x="389" y="970"/>
                  </a:cubicBezTo>
                  <a:cubicBezTo>
                    <a:pt x="389" y="971"/>
                    <a:pt x="388" y="977"/>
                    <a:pt x="388" y="982"/>
                  </a:cubicBezTo>
                  <a:cubicBezTo>
                    <a:pt x="388" y="993"/>
                    <a:pt x="387" y="998"/>
                    <a:pt x="385" y="1004"/>
                  </a:cubicBezTo>
                  <a:cubicBezTo>
                    <a:pt x="385" y="1007"/>
                    <a:pt x="384" y="1017"/>
                    <a:pt x="383" y="1027"/>
                  </a:cubicBezTo>
                  <a:cubicBezTo>
                    <a:pt x="383" y="1037"/>
                    <a:pt x="382" y="1047"/>
                    <a:pt x="381" y="1049"/>
                  </a:cubicBezTo>
                  <a:cubicBezTo>
                    <a:pt x="380" y="1053"/>
                    <a:pt x="379" y="1079"/>
                    <a:pt x="380" y="1081"/>
                  </a:cubicBezTo>
                  <a:cubicBezTo>
                    <a:pt x="380" y="1082"/>
                    <a:pt x="383" y="1083"/>
                    <a:pt x="393" y="1083"/>
                  </a:cubicBezTo>
                  <a:cubicBezTo>
                    <a:pt x="400" y="1083"/>
                    <a:pt x="408" y="1084"/>
                    <a:pt x="412" y="1085"/>
                  </a:cubicBezTo>
                  <a:cubicBezTo>
                    <a:pt x="415" y="1086"/>
                    <a:pt x="419" y="1086"/>
                    <a:pt x="425" y="1086"/>
                  </a:cubicBezTo>
                  <a:cubicBezTo>
                    <a:pt x="429" y="1086"/>
                    <a:pt x="434" y="1086"/>
                    <a:pt x="441" y="1086"/>
                  </a:cubicBezTo>
                  <a:cubicBezTo>
                    <a:pt x="448" y="1086"/>
                    <a:pt x="453" y="1085"/>
                    <a:pt x="456" y="1085"/>
                  </a:cubicBezTo>
                  <a:cubicBezTo>
                    <a:pt x="463" y="1085"/>
                    <a:pt x="464" y="1086"/>
                    <a:pt x="465" y="1087"/>
                  </a:cubicBezTo>
                  <a:cubicBezTo>
                    <a:pt x="466" y="1088"/>
                    <a:pt x="466" y="1090"/>
                    <a:pt x="466" y="1110"/>
                  </a:cubicBezTo>
                  <a:cubicBezTo>
                    <a:pt x="466" y="1121"/>
                    <a:pt x="466" y="1135"/>
                    <a:pt x="466" y="1139"/>
                  </a:cubicBezTo>
                  <a:lnTo>
                    <a:pt x="465" y="1148"/>
                  </a:lnTo>
                  <a:lnTo>
                    <a:pt x="449" y="1148"/>
                  </a:lnTo>
                  <a:cubicBezTo>
                    <a:pt x="440" y="1147"/>
                    <a:pt x="432" y="1147"/>
                    <a:pt x="432" y="1147"/>
                  </a:cubicBezTo>
                  <a:cubicBezTo>
                    <a:pt x="431" y="1146"/>
                    <a:pt x="409" y="1139"/>
                    <a:pt x="384" y="1131"/>
                  </a:cubicBezTo>
                  <a:cubicBezTo>
                    <a:pt x="352" y="1120"/>
                    <a:pt x="340" y="1116"/>
                    <a:pt x="335" y="1116"/>
                  </a:cubicBezTo>
                  <a:cubicBezTo>
                    <a:pt x="331" y="1116"/>
                    <a:pt x="330" y="1118"/>
                    <a:pt x="328" y="1122"/>
                  </a:cubicBezTo>
                  <a:lnTo>
                    <a:pt x="325" y="1126"/>
                  </a:lnTo>
                  <a:lnTo>
                    <a:pt x="325" y="1147"/>
                  </a:lnTo>
                  <a:lnTo>
                    <a:pt x="325" y="1167"/>
                  </a:lnTo>
                  <a:lnTo>
                    <a:pt x="328" y="1171"/>
                  </a:lnTo>
                  <a:cubicBezTo>
                    <a:pt x="332" y="1175"/>
                    <a:pt x="333" y="1178"/>
                    <a:pt x="332" y="1182"/>
                  </a:cubicBezTo>
                  <a:cubicBezTo>
                    <a:pt x="331" y="1185"/>
                    <a:pt x="334" y="1191"/>
                    <a:pt x="339" y="1193"/>
                  </a:cubicBezTo>
                  <a:cubicBezTo>
                    <a:pt x="342" y="1195"/>
                    <a:pt x="342" y="1196"/>
                    <a:pt x="343" y="1198"/>
                  </a:cubicBezTo>
                  <a:cubicBezTo>
                    <a:pt x="343" y="1201"/>
                    <a:pt x="343" y="1201"/>
                    <a:pt x="338" y="1202"/>
                  </a:cubicBezTo>
                  <a:cubicBezTo>
                    <a:pt x="335" y="1202"/>
                    <a:pt x="330" y="1203"/>
                    <a:pt x="328" y="1204"/>
                  </a:cubicBezTo>
                  <a:cubicBezTo>
                    <a:pt x="326" y="1205"/>
                    <a:pt x="321" y="1206"/>
                    <a:pt x="317" y="1207"/>
                  </a:cubicBezTo>
                  <a:cubicBezTo>
                    <a:pt x="313" y="1208"/>
                    <a:pt x="309" y="1209"/>
                    <a:pt x="308" y="1210"/>
                  </a:cubicBezTo>
                  <a:cubicBezTo>
                    <a:pt x="306" y="1210"/>
                    <a:pt x="293" y="1213"/>
                    <a:pt x="284" y="1215"/>
                  </a:cubicBezTo>
                  <a:cubicBezTo>
                    <a:pt x="280" y="1216"/>
                    <a:pt x="275" y="1217"/>
                    <a:pt x="273" y="1218"/>
                  </a:cubicBezTo>
                  <a:cubicBezTo>
                    <a:pt x="270" y="1218"/>
                    <a:pt x="266" y="1219"/>
                    <a:pt x="264" y="1220"/>
                  </a:cubicBezTo>
                  <a:cubicBezTo>
                    <a:pt x="260" y="1220"/>
                    <a:pt x="258" y="1221"/>
                    <a:pt x="255" y="1225"/>
                  </a:cubicBezTo>
                  <a:cubicBezTo>
                    <a:pt x="250" y="1230"/>
                    <a:pt x="249" y="1233"/>
                    <a:pt x="249" y="1254"/>
                  </a:cubicBezTo>
                  <a:cubicBezTo>
                    <a:pt x="249" y="1273"/>
                    <a:pt x="250" y="1276"/>
                    <a:pt x="254" y="1281"/>
                  </a:cubicBezTo>
                  <a:cubicBezTo>
                    <a:pt x="261" y="1288"/>
                    <a:pt x="263" y="1292"/>
                    <a:pt x="263" y="1295"/>
                  </a:cubicBezTo>
                  <a:cubicBezTo>
                    <a:pt x="263" y="1298"/>
                    <a:pt x="264" y="1299"/>
                    <a:pt x="267" y="1301"/>
                  </a:cubicBezTo>
                  <a:cubicBezTo>
                    <a:pt x="271" y="1304"/>
                    <a:pt x="272" y="1304"/>
                    <a:pt x="280" y="1304"/>
                  </a:cubicBezTo>
                  <a:cubicBezTo>
                    <a:pt x="285" y="1304"/>
                    <a:pt x="290" y="1304"/>
                    <a:pt x="292" y="1303"/>
                  </a:cubicBezTo>
                  <a:cubicBezTo>
                    <a:pt x="295" y="1302"/>
                    <a:pt x="304" y="1293"/>
                    <a:pt x="304" y="1292"/>
                  </a:cubicBezTo>
                  <a:cubicBezTo>
                    <a:pt x="304" y="1291"/>
                    <a:pt x="305" y="1290"/>
                    <a:pt x="306" y="1290"/>
                  </a:cubicBezTo>
                  <a:cubicBezTo>
                    <a:pt x="307" y="1288"/>
                    <a:pt x="312" y="1273"/>
                    <a:pt x="312" y="1269"/>
                  </a:cubicBezTo>
                  <a:cubicBezTo>
                    <a:pt x="312" y="1267"/>
                    <a:pt x="311" y="1266"/>
                    <a:pt x="310" y="1265"/>
                  </a:cubicBezTo>
                  <a:cubicBezTo>
                    <a:pt x="310" y="1264"/>
                    <a:pt x="309" y="1263"/>
                    <a:pt x="308" y="1261"/>
                  </a:cubicBezTo>
                  <a:cubicBezTo>
                    <a:pt x="308" y="1260"/>
                    <a:pt x="307" y="1258"/>
                    <a:pt x="305" y="1257"/>
                  </a:cubicBezTo>
                  <a:cubicBezTo>
                    <a:pt x="302" y="1255"/>
                    <a:pt x="300" y="1252"/>
                    <a:pt x="300" y="1249"/>
                  </a:cubicBezTo>
                  <a:cubicBezTo>
                    <a:pt x="300" y="1246"/>
                    <a:pt x="301" y="1246"/>
                    <a:pt x="304" y="1245"/>
                  </a:cubicBezTo>
                  <a:cubicBezTo>
                    <a:pt x="307" y="1245"/>
                    <a:pt x="311" y="1244"/>
                    <a:pt x="314" y="1244"/>
                  </a:cubicBezTo>
                  <a:cubicBezTo>
                    <a:pt x="318" y="1243"/>
                    <a:pt x="326" y="1242"/>
                    <a:pt x="333" y="1242"/>
                  </a:cubicBezTo>
                  <a:cubicBezTo>
                    <a:pt x="340" y="1241"/>
                    <a:pt x="347" y="1240"/>
                    <a:pt x="349" y="1240"/>
                  </a:cubicBezTo>
                  <a:cubicBezTo>
                    <a:pt x="352" y="1239"/>
                    <a:pt x="357" y="1238"/>
                    <a:pt x="361" y="1238"/>
                  </a:cubicBezTo>
                  <a:cubicBezTo>
                    <a:pt x="366" y="1237"/>
                    <a:pt x="370" y="1236"/>
                    <a:pt x="371" y="1235"/>
                  </a:cubicBezTo>
                  <a:cubicBezTo>
                    <a:pt x="373" y="1234"/>
                    <a:pt x="377" y="1233"/>
                    <a:pt x="381" y="1233"/>
                  </a:cubicBezTo>
                  <a:cubicBezTo>
                    <a:pt x="386" y="1232"/>
                    <a:pt x="391" y="1231"/>
                    <a:pt x="393" y="1231"/>
                  </a:cubicBezTo>
                  <a:cubicBezTo>
                    <a:pt x="395" y="1230"/>
                    <a:pt x="401" y="1229"/>
                    <a:pt x="407" y="1228"/>
                  </a:cubicBezTo>
                  <a:cubicBezTo>
                    <a:pt x="412" y="1228"/>
                    <a:pt x="417" y="1227"/>
                    <a:pt x="418" y="1226"/>
                  </a:cubicBezTo>
                  <a:cubicBezTo>
                    <a:pt x="420" y="1226"/>
                    <a:pt x="425" y="1225"/>
                    <a:pt x="429" y="1225"/>
                  </a:cubicBezTo>
                  <a:cubicBezTo>
                    <a:pt x="434" y="1224"/>
                    <a:pt x="440" y="1223"/>
                    <a:pt x="443" y="1222"/>
                  </a:cubicBezTo>
                  <a:cubicBezTo>
                    <a:pt x="446" y="1221"/>
                    <a:pt x="451" y="1221"/>
                    <a:pt x="459" y="1221"/>
                  </a:cubicBezTo>
                  <a:cubicBezTo>
                    <a:pt x="469" y="1221"/>
                    <a:pt x="470" y="1221"/>
                    <a:pt x="475" y="1223"/>
                  </a:cubicBezTo>
                  <a:cubicBezTo>
                    <a:pt x="481" y="1226"/>
                    <a:pt x="482" y="1228"/>
                    <a:pt x="483" y="1232"/>
                  </a:cubicBezTo>
                  <a:cubicBezTo>
                    <a:pt x="484" y="1234"/>
                    <a:pt x="485" y="1236"/>
                    <a:pt x="485" y="1237"/>
                  </a:cubicBezTo>
                  <a:cubicBezTo>
                    <a:pt x="486" y="1238"/>
                    <a:pt x="487" y="1241"/>
                    <a:pt x="488" y="1244"/>
                  </a:cubicBezTo>
                  <a:cubicBezTo>
                    <a:pt x="488" y="1246"/>
                    <a:pt x="489" y="1249"/>
                    <a:pt x="490" y="1251"/>
                  </a:cubicBezTo>
                  <a:cubicBezTo>
                    <a:pt x="491" y="1253"/>
                    <a:pt x="492" y="1255"/>
                    <a:pt x="492" y="1257"/>
                  </a:cubicBezTo>
                  <a:cubicBezTo>
                    <a:pt x="492" y="1258"/>
                    <a:pt x="493" y="1261"/>
                    <a:pt x="494" y="1264"/>
                  </a:cubicBezTo>
                  <a:cubicBezTo>
                    <a:pt x="496" y="1266"/>
                    <a:pt x="497" y="1269"/>
                    <a:pt x="497" y="1271"/>
                  </a:cubicBezTo>
                  <a:cubicBezTo>
                    <a:pt x="497" y="1272"/>
                    <a:pt x="497" y="1274"/>
                    <a:pt x="498" y="1275"/>
                  </a:cubicBezTo>
                  <a:cubicBezTo>
                    <a:pt x="499" y="1276"/>
                    <a:pt x="500" y="1279"/>
                    <a:pt x="500" y="1282"/>
                  </a:cubicBezTo>
                  <a:cubicBezTo>
                    <a:pt x="501" y="1286"/>
                    <a:pt x="502" y="1290"/>
                    <a:pt x="502" y="1292"/>
                  </a:cubicBezTo>
                  <a:cubicBezTo>
                    <a:pt x="503" y="1294"/>
                    <a:pt x="504" y="1296"/>
                    <a:pt x="504" y="1297"/>
                  </a:cubicBezTo>
                  <a:cubicBezTo>
                    <a:pt x="504" y="1298"/>
                    <a:pt x="505" y="1300"/>
                    <a:pt x="506" y="1302"/>
                  </a:cubicBezTo>
                  <a:cubicBezTo>
                    <a:pt x="507" y="1304"/>
                    <a:pt x="508" y="1306"/>
                    <a:pt x="508" y="1307"/>
                  </a:cubicBezTo>
                  <a:cubicBezTo>
                    <a:pt x="508" y="1309"/>
                    <a:pt x="508" y="1311"/>
                    <a:pt x="509" y="1313"/>
                  </a:cubicBezTo>
                  <a:cubicBezTo>
                    <a:pt x="509" y="1314"/>
                    <a:pt x="509" y="1314"/>
                    <a:pt x="509" y="1314"/>
                  </a:cubicBezTo>
                  <a:lnTo>
                    <a:pt x="509" y="1314"/>
                  </a:lnTo>
                  <a:cubicBezTo>
                    <a:pt x="504" y="1335"/>
                    <a:pt x="503" y="1350"/>
                    <a:pt x="506" y="1358"/>
                  </a:cubicBezTo>
                  <a:cubicBezTo>
                    <a:pt x="508" y="1364"/>
                    <a:pt x="512" y="1369"/>
                    <a:pt x="517" y="1374"/>
                  </a:cubicBezTo>
                  <a:cubicBezTo>
                    <a:pt x="522" y="1379"/>
                    <a:pt x="528" y="1382"/>
                    <a:pt x="535" y="1384"/>
                  </a:cubicBezTo>
                  <a:cubicBezTo>
                    <a:pt x="537" y="1384"/>
                    <a:pt x="539" y="1384"/>
                    <a:pt x="542" y="1384"/>
                  </a:cubicBezTo>
                  <a:cubicBezTo>
                    <a:pt x="551" y="1384"/>
                    <a:pt x="559" y="1381"/>
                    <a:pt x="568" y="1373"/>
                  </a:cubicBezTo>
                  <a:cubicBezTo>
                    <a:pt x="578" y="1363"/>
                    <a:pt x="581" y="1352"/>
                    <a:pt x="578" y="1342"/>
                  </a:cubicBezTo>
                  <a:cubicBezTo>
                    <a:pt x="577" y="1340"/>
                    <a:pt x="576" y="1338"/>
                    <a:pt x="575" y="1335"/>
                  </a:cubicBezTo>
                  <a:lnTo>
                    <a:pt x="575" y="1335"/>
                  </a:lnTo>
                  <a:cubicBezTo>
                    <a:pt x="574" y="1333"/>
                    <a:pt x="572" y="1330"/>
                    <a:pt x="569" y="1328"/>
                  </a:cubicBezTo>
                  <a:lnTo>
                    <a:pt x="569" y="1328"/>
                  </a:lnTo>
                  <a:cubicBezTo>
                    <a:pt x="567" y="1325"/>
                    <a:pt x="564" y="1322"/>
                    <a:pt x="562" y="1320"/>
                  </a:cubicBezTo>
                  <a:lnTo>
                    <a:pt x="556" y="1315"/>
                  </a:lnTo>
                  <a:cubicBezTo>
                    <a:pt x="555" y="1314"/>
                    <a:pt x="555" y="1314"/>
                    <a:pt x="554" y="1313"/>
                  </a:cubicBezTo>
                  <a:cubicBezTo>
                    <a:pt x="553" y="1313"/>
                    <a:pt x="552" y="1313"/>
                    <a:pt x="552" y="1313"/>
                  </a:cubicBezTo>
                  <a:lnTo>
                    <a:pt x="552" y="1313"/>
                  </a:lnTo>
                  <a:cubicBezTo>
                    <a:pt x="543" y="1288"/>
                    <a:pt x="538" y="1268"/>
                    <a:pt x="534" y="1255"/>
                  </a:cubicBezTo>
                  <a:cubicBezTo>
                    <a:pt x="531" y="1243"/>
                    <a:pt x="528" y="1231"/>
                    <a:pt x="526" y="1219"/>
                  </a:cubicBezTo>
                  <a:lnTo>
                    <a:pt x="526" y="1219"/>
                  </a:lnTo>
                  <a:cubicBezTo>
                    <a:pt x="526" y="1218"/>
                    <a:pt x="527" y="1218"/>
                    <a:pt x="528" y="1218"/>
                  </a:cubicBezTo>
                  <a:cubicBezTo>
                    <a:pt x="531" y="1217"/>
                    <a:pt x="533" y="1217"/>
                    <a:pt x="535" y="1217"/>
                  </a:cubicBezTo>
                  <a:cubicBezTo>
                    <a:pt x="537" y="1217"/>
                    <a:pt x="540" y="1217"/>
                    <a:pt x="544" y="1218"/>
                  </a:cubicBezTo>
                  <a:cubicBezTo>
                    <a:pt x="550" y="1218"/>
                    <a:pt x="561" y="1219"/>
                    <a:pt x="568" y="1220"/>
                  </a:cubicBezTo>
                  <a:cubicBezTo>
                    <a:pt x="575" y="1221"/>
                    <a:pt x="585" y="1222"/>
                    <a:pt x="590" y="1222"/>
                  </a:cubicBezTo>
                  <a:cubicBezTo>
                    <a:pt x="595" y="1223"/>
                    <a:pt x="607" y="1224"/>
                    <a:pt x="616" y="1224"/>
                  </a:cubicBezTo>
                  <a:cubicBezTo>
                    <a:pt x="625" y="1225"/>
                    <a:pt x="637" y="1225"/>
                    <a:pt x="641" y="1226"/>
                  </a:cubicBezTo>
                  <a:cubicBezTo>
                    <a:pt x="646" y="1227"/>
                    <a:pt x="658" y="1228"/>
                    <a:pt x="669" y="1228"/>
                  </a:cubicBezTo>
                  <a:cubicBezTo>
                    <a:pt x="679" y="1229"/>
                    <a:pt x="690" y="1230"/>
                    <a:pt x="693" y="1230"/>
                  </a:cubicBezTo>
                  <a:cubicBezTo>
                    <a:pt x="697" y="1231"/>
                    <a:pt x="703" y="1231"/>
                    <a:pt x="707" y="1232"/>
                  </a:cubicBezTo>
                  <a:cubicBezTo>
                    <a:pt x="717" y="1233"/>
                    <a:pt x="718" y="1234"/>
                    <a:pt x="717" y="1240"/>
                  </a:cubicBezTo>
                  <a:cubicBezTo>
                    <a:pt x="716" y="1242"/>
                    <a:pt x="715" y="1246"/>
                    <a:pt x="714" y="1248"/>
                  </a:cubicBezTo>
                  <a:cubicBezTo>
                    <a:pt x="712" y="1253"/>
                    <a:pt x="713" y="1260"/>
                    <a:pt x="715" y="1261"/>
                  </a:cubicBezTo>
                  <a:cubicBezTo>
                    <a:pt x="716" y="1262"/>
                    <a:pt x="718" y="1265"/>
                    <a:pt x="720" y="1269"/>
                  </a:cubicBezTo>
                  <a:lnTo>
                    <a:pt x="720" y="1269"/>
                  </a:lnTo>
                  <a:cubicBezTo>
                    <a:pt x="720" y="1270"/>
                    <a:pt x="720" y="1270"/>
                    <a:pt x="720" y="1271"/>
                  </a:cubicBezTo>
                  <a:cubicBezTo>
                    <a:pt x="720" y="1272"/>
                    <a:pt x="721" y="1273"/>
                    <a:pt x="721" y="1273"/>
                  </a:cubicBezTo>
                  <a:lnTo>
                    <a:pt x="721" y="1273"/>
                  </a:lnTo>
                  <a:cubicBezTo>
                    <a:pt x="721" y="1277"/>
                    <a:pt x="722" y="1277"/>
                    <a:pt x="724" y="1278"/>
                  </a:cubicBezTo>
                  <a:cubicBezTo>
                    <a:pt x="724" y="1278"/>
                    <a:pt x="726" y="1278"/>
                    <a:pt x="727" y="1278"/>
                  </a:cubicBezTo>
                  <a:cubicBezTo>
                    <a:pt x="727" y="1278"/>
                    <a:pt x="727" y="1278"/>
                    <a:pt x="727" y="1278"/>
                  </a:cubicBezTo>
                  <a:lnTo>
                    <a:pt x="727" y="1278"/>
                  </a:lnTo>
                  <a:cubicBezTo>
                    <a:pt x="731" y="1280"/>
                    <a:pt x="737" y="1281"/>
                    <a:pt x="748" y="1281"/>
                  </a:cubicBezTo>
                  <a:cubicBezTo>
                    <a:pt x="748" y="1281"/>
                    <a:pt x="748" y="1281"/>
                    <a:pt x="748" y="1281"/>
                  </a:cubicBezTo>
                  <a:cubicBezTo>
                    <a:pt x="749" y="1280"/>
                    <a:pt x="751" y="1280"/>
                    <a:pt x="752" y="1280"/>
                  </a:cubicBezTo>
                  <a:lnTo>
                    <a:pt x="752" y="1280"/>
                  </a:lnTo>
                  <a:cubicBezTo>
                    <a:pt x="752" y="1281"/>
                    <a:pt x="752" y="1281"/>
                    <a:pt x="753" y="1281"/>
                  </a:cubicBezTo>
                  <a:cubicBezTo>
                    <a:pt x="755" y="1281"/>
                    <a:pt x="762" y="1273"/>
                    <a:pt x="762" y="1271"/>
                  </a:cubicBezTo>
                  <a:cubicBezTo>
                    <a:pt x="762" y="1270"/>
                    <a:pt x="763" y="1268"/>
                    <a:pt x="764" y="1266"/>
                  </a:cubicBezTo>
                  <a:cubicBezTo>
                    <a:pt x="766" y="1263"/>
                    <a:pt x="766" y="1261"/>
                    <a:pt x="766" y="1252"/>
                  </a:cubicBezTo>
                  <a:cubicBezTo>
                    <a:pt x="766" y="1242"/>
                    <a:pt x="766" y="1241"/>
                    <a:pt x="764" y="1237"/>
                  </a:cubicBezTo>
                  <a:cubicBezTo>
                    <a:pt x="761" y="1233"/>
                    <a:pt x="761" y="1233"/>
                    <a:pt x="757" y="1233"/>
                  </a:cubicBezTo>
                  <a:cubicBezTo>
                    <a:pt x="751" y="1233"/>
                    <a:pt x="750" y="1231"/>
                    <a:pt x="749" y="1220"/>
                  </a:cubicBezTo>
                  <a:cubicBezTo>
                    <a:pt x="749" y="1218"/>
                    <a:pt x="748" y="1215"/>
                    <a:pt x="747" y="1213"/>
                  </a:cubicBezTo>
                  <a:cubicBezTo>
                    <a:pt x="745" y="1207"/>
                    <a:pt x="740" y="1204"/>
                    <a:pt x="733" y="1203"/>
                  </a:cubicBezTo>
                  <a:cubicBezTo>
                    <a:pt x="730" y="1203"/>
                    <a:pt x="726" y="1202"/>
                    <a:pt x="723" y="1201"/>
                  </a:cubicBezTo>
                  <a:cubicBezTo>
                    <a:pt x="721" y="1201"/>
                    <a:pt x="716" y="1200"/>
                    <a:pt x="712" y="1199"/>
                  </a:cubicBezTo>
                  <a:cubicBezTo>
                    <a:pt x="708" y="1199"/>
                    <a:pt x="701" y="1198"/>
                    <a:pt x="697" y="1197"/>
                  </a:cubicBezTo>
                  <a:cubicBezTo>
                    <a:pt x="692" y="1196"/>
                    <a:pt x="685" y="1195"/>
                    <a:pt x="681" y="1195"/>
                  </a:cubicBezTo>
                  <a:cubicBezTo>
                    <a:pt x="677" y="1195"/>
                    <a:pt x="672" y="1194"/>
                    <a:pt x="669" y="1193"/>
                  </a:cubicBezTo>
                  <a:cubicBezTo>
                    <a:pt x="667" y="1192"/>
                    <a:pt x="662" y="1192"/>
                    <a:pt x="659" y="1191"/>
                  </a:cubicBezTo>
                  <a:cubicBezTo>
                    <a:pt x="649" y="1190"/>
                    <a:pt x="629" y="1187"/>
                    <a:pt x="621" y="1185"/>
                  </a:cubicBezTo>
                  <a:cubicBezTo>
                    <a:pt x="616" y="1184"/>
                    <a:pt x="608" y="1183"/>
                    <a:pt x="602" y="1182"/>
                  </a:cubicBezTo>
                  <a:cubicBezTo>
                    <a:pt x="595" y="1182"/>
                    <a:pt x="590" y="1181"/>
                    <a:pt x="588" y="1180"/>
                  </a:cubicBezTo>
                  <a:cubicBezTo>
                    <a:pt x="586" y="1179"/>
                    <a:pt x="581" y="1178"/>
                    <a:pt x="575" y="1178"/>
                  </a:cubicBezTo>
                  <a:cubicBezTo>
                    <a:pt x="566" y="1177"/>
                    <a:pt x="563" y="1177"/>
                    <a:pt x="560" y="1175"/>
                  </a:cubicBezTo>
                  <a:cubicBezTo>
                    <a:pt x="557" y="1173"/>
                    <a:pt x="555" y="1172"/>
                    <a:pt x="553" y="1172"/>
                  </a:cubicBezTo>
                  <a:cubicBezTo>
                    <a:pt x="553" y="1172"/>
                    <a:pt x="553" y="1172"/>
                    <a:pt x="552" y="1172"/>
                  </a:cubicBezTo>
                  <a:cubicBezTo>
                    <a:pt x="552" y="1172"/>
                    <a:pt x="552" y="1172"/>
                    <a:pt x="551" y="1172"/>
                  </a:cubicBezTo>
                  <a:cubicBezTo>
                    <a:pt x="547" y="1172"/>
                    <a:pt x="542" y="1171"/>
                    <a:pt x="542" y="1171"/>
                  </a:cubicBezTo>
                  <a:cubicBezTo>
                    <a:pt x="542" y="1170"/>
                    <a:pt x="546" y="1170"/>
                    <a:pt x="550" y="1169"/>
                  </a:cubicBezTo>
                  <a:cubicBezTo>
                    <a:pt x="553" y="1169"/>
                    <a:pt x="558" y="1168"/>
                    <a:pt x="560" y="1168"/>
                  </a:cubicBezTo>
                  <a:cubicBezTo>
                    <a:pt x="561" y="1167"/>
                    <a:pt x="563" y="1167"/>
                    <a:pt x="563" y="1167"/>
                  </a:cubicBezTo>
                  <a:cubicBezTo>
                    <a:pt x="565" y="1167"/>
                    <a:pt x="565" y="1168"/>
                    <a:pt x="564" y="1169"/>
                  </a:cubicBezTo>
                  <a:cubicBezTo>
                    <a:pt x="563" y="1170"/>
                    <a:pt x="563" y="1170"/>
                    <a:pt x="566" y="1171"/>
                  </a:cubicBezTo>
                  <a:cubicBezTo>
                    <a:pt x="571" y="1174"/>
                    <a:pt x="578" y="1175"/>
                    <a:pt x="583" y="1175"/>
                  </a:cubicBezTo>
                  <a:cubicBezTo>
                    <a:pt x="589" y="1175"/>
                    <a:pt x="605" y="1173"/>
                    <a:pt x="610" y="1171"/>
                  </a:cubicBezTo>
                  <a:cubicBezTo>
                    <a:pt x="613" y="1170"/>
                    <a:pt x="617" y="1165"/>
                    <a:pt x="617" y="1161"/>
                  </a:cubicBezTo>
                  <a:cubicBezTo>
                    <a:pt x="617" y="1159"/>
                    <a:pt x="617" y="1154"/>
                    <a:pt x="618" y="1150"/>
                  </a:cubicBezTo>
                  <a:cubicBezTo>
                    <a:pt x="619" y="1142"/>
                    <a:pt x="619" y="1142"/>
                    <a:pt x="618" y="1138"/>
                  </a:cubicBezTo>
                  <a:cubicBezTo>
                    <a:pt x="616" y="1135"/>
                    <a:pt x="615" y="1134"/>
                    <a:pt x="611" y="1132"/>
                  </a:cubicBezTo>
                  <a:cubicBezTo>
                    <a:pt x="606" y="1129"/>
                    <a:pt x="605" y="1127"/>
                    <a:pt x="605" y="1120"/>
                  </a:cubicBezTo>
                  <a:cubicBezTo>
                    <a:pt x="605" y="1113"/>
                    <a:pt x="604" y="1111"/>
                    <a:pt x="601" y="1110"/>
                  </a:cubicBezTo>
                  <a:cubicBezTo>
                    <a:pt x="600" y="1109"/>
                    <a:pt x="600" y="1109"/>
                    <a:pt x="599" y="1109"/>
                  </a:cubicBezTo>
                  <a:cubicBezTo>
                    <a:pt x="598" y="1109"/>
                    <a:pt x="598" y="1109"/>
                    <a:pt x="596" y="1110"/>
                  </a:cubicBezTo>
                  <a:cubicBezTo>
                    <a:pt x="595" y="1111"/>
                    <a:pt x="592" y="1113"/>
                    <a:pt x="590" y="1114"/>
                  </a:cubicBezTo>
                  <a:cubicBezTo>
                    <a:pt x="588" y="1115"/>
                    <a:pt x="583" y="1118"/>
                    <a:pt x="579" y="1120"/>
                  </a:cubicBezTo>
                  <a:cubicBezTo>
                    <a:pt x="575" y="1122"/>
                    <a:pt x="570" y="1125"/>
                    <a:pt x="568" y="1126"/>
                  </a:cubicBezTo>
                  <a:cubicBezTo>
                    <a:pt x="561" y="1130"/>
                    <a:pt x="550" y="1137"/>
                    <a:pt x="549" y="1138"/>
                  </a:cubicBezTo>
                  <a:cubicBezTo>
                    <a:pt x="548" y="1139"/>
                    <a:pt x="547" y="1139"/>
                    <a:pt x="545" y="1139"/>
                  </a:cubicBezTo>
                  <a:cubicBezTo>
                    <a:pt x="544" y="1139"/>
                    <a:pt x="543" y="1140"/>
                    <a:pt x="543" y="1140"/>
                  </a:cubicBezTo>
                  <a:cubicBezTo>
                    <a:pt x="542" y="1142"/>
                    <a:pt x="527" y="1149"/>
                    <a:pt x="526" y="1149"/>
                  </a:cubicBezTo>
                  <a:cubicBezTo>
                    <a:pt x="525" y="1149"/>
                    <a:pt x="523" y="1148"/>
                    <a:pt x="522" y="1148"/>
                  </a:cubicBezTo>
                  <a:cubicBezTo>
                    <a:pt x="520" y="1147"/>
                    <a:pt x="520" y="1146"/>
                    <a:pt x="520" y="1143"/>
                  </a:cubicBezTo>
                  <a:cubicBezTo>
                    <a:pt x="520" y="1130"/>
                    <a:pt x="519" y="1095"/>
                    <a:pt x="518" y="1093"/>
                  </a:cubicBezTo>
                  <a:cubicBezTo>
                    <a:pt x="518" y="1091"/>
                    <a:pt x="518" y="1089"/>
                    <a:pt x="519" y="1087"/>
                  </a:cubicBezTo>
                  <a:cubicBezTo>
                    <a:pt x="522" y="1082"/>
                    <a:pt x="528" y="1079"/>
                    <a:pt x="542" y="1078"/>
                  </a:cubicBezTo>
                  <a:cubicBezTo>
                    <a:pt x="548" y="1078"/>
                    <a:pt x="554" y="1077"/>
                    <a:pt x="555" y="1076"/>
                  </a:cubicBezTo>
                  <a:cubicBezTo>
                    <a:pt x="556" y="1076"/>
                    <a:pt x="561" y="1075"/>
                    <a:pt x="566" y="1074"/>
                  </a:cubicBezTo>
                  <a:cubicBezTo>
                    <a:pt x="586" y="1072"/>
                    <a:pt x="605" y="1068"/>
                    <a:pt x="614" y="1064"/>
                  </a:cubicBezTo>
                  <a:cubicBezTo>
                    <a:pt x="626" y="1059"/>
                    <a:pt x="628" y="1057"/>
                    <a:pt x="635" y="1050"/>
                  </a:cubicBezTo>
                  <a:cubicBezTo>
                    <a:pt x="645" y="1040"/>
                    <a:pt x="654" y="1031"/>
                    <a:pt x="654" y="1030"/>
                  </a:cubicBezTo>
                  <a:cubicBezTo>
                    <a:pt x="654" y="1030"/>
                    <a:pt x="656" y="1027"/>
                    <a:pt x="659" y="1024"/>
                  </a:cubicBezTo>
                  <a:cubicBezTo>
                    <a:pt x="661" y="1021"/>
                    <a:pt x="664" y="1017"/>
                    <a:pt x="665" y="1016"/>
                  </a:cubicBezTo>
                  <a:cubicBezTo>
                    <a:pt x="665" y="1015"/>
                    <a:pt x="667" y="1013"/>
                    <a:pt x="668" y="1012"/>
                  </a:cubicBezTo>
                  <a:cubicBezTo>
                    <a:pt x="673" y="1005"/>
                    <a:pt x="680" y="996"/>
                    <a:pt x="680" y="996"/>
                  </a:cubicBezTo>
                  <a:cubicBezTo>
                    <a:pt x="680" y="995"/>
                    <a:pt x="681" y="993"/>
                    <a:pt x="682" y="992"/>
                  </a:cubicBezTo>
                  <a:cubicBezTo>
                    <a:pt x="683" y="990"/>
                    <a:pt x="684" y="989"/>
                    <a:pt x="684" y="988"/>
                  </a:cubicBezTo>
                  <a:cubicBezTo>
                    <a:pt x="684" y="987"/>
                    <a:pt x="685" y="986"/>
                    <a:pt x="686" y="986"/>
                  </a:cubicBezTo>
                  <a:cubicBezTo>
                    <a:pt x="686" y="985"/>
                    <a:pt x="687" y="983"/>
                    <a:pt x="687" y="982"/>
                  </a:cubicBezTo>
                  <a:cubicBezTo>
                    <a:pt x="688" y="980"/>
                    <a:pt x="689" y="978"/>
                    <a:pt x="689" y="977"/>
                  </a:cubicBezTo>
                  <a:cubicBezTo>
                    <a:pt x="690" y="977"/>
                    <a:pt x="691" y="974"/>
                    <a:pt x="692" y="972"/>
                  </a:cubicBezTo>
                  <a:cubicBezTo>
                    <a:pt x="692" y="970"/>
                    <a:pt x="694" y="967"/>
                    <a:pt x="694" y="966"/>
                  </a:cubicBezTo>
                  <a:cubicBezTo>
                    <a:pt x="695" y="964"/>
                    <a:pt x="696" y="962"/>
                    <a:pt x="696" y="961"/>
                  </a:cubicBezTo>
                  <a:cubicBezTo>
                    <a:pt x="696" y="960"/>
                    <a:pt x="697" y="958"/>
                    <a:pt x="698" y="957"/>
                  </a:cubicBezTo>
                  <a:cubicBezTo>
                    <a:pt x="699" y="955"/>
                    <a:pt x="700" y="954"/>
                    <a:pt x="700" y="953"/>
                  </a:cubicBezTo>
                  <a:cubicBezTo>
                    <a:pt x="700" y="952"/>
                    <a:pt x="701" y="949"/>
                    <a:pt x="702" y="946"/>
                  </a:cubicBezTo>
                  <a:cubicBezTo>
                    <a:pt x="706" y="936"/>
                    <a:pt x="707" y="932"/>
                    <a:pt x="708" y="923"/>
                  </a:cubicBezTo>
                  <a:cubicBezTo>
                    <a:pt x="709" y="914"/>
                    <a:pt x="710" y="912"/>
                    <a:pt x="713" y="912"/>
                  </a:cubicBezTo>
                  <a:cubicBezTo>
                    <a:pt x="715" y="912"/>
                    <a:pt x="716" y="911"/>
                    <a:pt x="717" y="909"/>
                  </a:cubicBezTo>
                  <a:cubicBezTo>
                    <a:pt x="718" y="907"/>
                    <a:pt x="719" y="906"/>
                    <a:pt x="720" y="905"/>
                  </a:cubicBezTo>
                  <a:cubicBezTo>
                    <a:pt x="721" y="905"/>
                    <a:pt x="722" y="903"/>
                    <a:pt x="723" y="901"/>
                  </a:cubicBezTo>
                  <a:cubicBezTo>
                    <a:pt x="724" y="900"/>
                    <a:pt x="725" y="899"/>
                    <a:pt x="726" y="898"/>
                  </a:cubicBezTo>
                  <a:cubicBezTo>
                    <a:pt x="728" y="898"/>
                    <a:pt x="728" y="896"/>
                    <a:pt x="729" y="894"/>
                  </a:cubicBezTo>
                  <a:cubicBezTo>
                    <a:pt x="729" y="893"/>
                    <a:pt x="730" y="891"/>
                    <a:pt x="731" y="890"/>
                  </a:cubicBezTo>
                  <a:cubicBezTo>
                    <a:pt x="732" y="890"/>
                    <a:pt x="733" y="888"/>
                    <a:pt x="733" y="887"/>
                  </a:cubicBezTo>
                  <a:cubicBezTo>
                    <a:pt x="733" y="885"/>
                    <a:pt x="734" y="883"/>
                    <a:pt x="735" y="882"/>
                  </a:cubicBezTo>
                  <a:cubicBezTo>
                    <a:pt x="736" y="881"/>
                    <a:pt x="737" y="879"/>
                    <a:pt x="737" y="876"/>
                  </a:cubicBezTo>
                  <a:cubicBezTo>
                    <a:pt x="737" y="873"/>
                    <a:pt x="738" y="871"/>
                    <a:pt x="738" y="871"/>
                  </a:cubicBezTo>
                  <a:cubicBezTo>
                    <a:pt x="739" y="870"/>
                    <a:pt x="739" y="869"/>
                    <a:pt x="739" y="867"/>
                  </a:cubicBezTo>
                  <a:cubicBezTo>
                    <a:pt x="738" y="864"/>
                    <a:pt x="738" y="863"/>
                    <a:pt x="740" y="862"/>
                  </a:cubicBezTo>
                  <a:cubicBezTo>
                    <a:pt x="741" y="861"/>
                    <a:pt x="741" y="861"/>
                    <a:pt x="740" y="860"/>
                  </a:cubicBezTo>
                  <a:cubicBezTo>
                    <a:pt x="739" y="859"/>
                    <a:pt x="739" y="857"/>
                    <a:pt x="740" y="856"/>
                  </a:cubicBezTo>
                  <a:cubicBezTo>
                    <a:pt x="741" y="853"/>
                    <a:pt x="741" y="838"/>
                    <a:pt x="740" y="835"/>
                  </a:cubicBezTo>
                  <a:cubicBezTo>
                    <a:pt x="740" y="833"/>
                    <a:pt x="739" y="827"/>
                    <a:pt x="738" y="821"/>
                  </a:cubicBezTo>
                  <a:cubicBezTo>
                    <a:pt x="738" y="815"/>
                    <a:pt x="737" y="808"/>
                    <a:pt x="736" y="805"/>
                  </a:cubicBezTo>
                  <a:cubicBezTo>
                    <a:pt x="734" y="796"/>
                    <a:pt x="732" y="786"/>
                    <a:pt x="730" y="773"/>
                  </a:cubicBezTo>
                  <a:cubicBezTo>
                    <a:pt x="729" y="767"/>
                    <a:pt x="728" y="761"/>
                    <a:pt x="728" y="760"/>
                  </a:cubicBezTo>
                  <a:cubicBezTo>
                    <a:pt x="726" y="759"/>
                    <a:pt x="725" y="752"/>
                    <a:pt x="725" y="749"/>
                  </a:cubicBezTo>
                  <a:cubicBezTo>
                    <a:pt x="725" y="748"/>
                    <a:pt x="725" y="746"/>
                    <a:pt x="726" y="746"/>
                  </a:cubicBezTo>
                  <a:cubicBezTo>
                    <a:pt x="727" y="745"/>
                    <a:pt x="727" y="743"/>
                    <a:pt x="727" y="738"/>
                  </a:cubicBezTo>
                  <a:cubicBezTo>
                    <a:pt x="727" y="735"/>
                    <a:pt x="726" y="731"/>
                    <a:pt x="725" y="728"/>
                  </a:cubicBezTo>
                  <a:cubicBezTo>
                    <a:pt x="723" y="723"/>
                    <a:pt x="723" y="707"/>
                    <a:pt x="725" y="704"/>
                  </a:cubicBezTo>
                  <a:cubicBezTo>
                    <a:pt x="727" y="702"/>
                    <a:pt x="727" y="695"/>
                    <a:pt x="725" y="694"/>
                  </a:cubicBezTo>
                  <a:cubicBezTo>
                    <a:pt x="723" y="692"/>
                    <a:pt x="723" y="674"/>
                    <a:pt x="725" y="671"/>
                  </a:cubicBezTo>
                  <a:cubicBezTo>
                    <a:pt x="726" y="670"/>
                    <a:pt x="726" y="668"/>
                    <a:pt x="726" y="666"/>
                  </a:cubicBezTo>
                  <a:cubicBezTo>
                    <a:pt x="726" y="664"/>
                    <a:pt x="727" y="662"/>
                    <a:pt x="728" y="662"/>
                  </a:cubicBezTo>
                  <a:cubicBezTo>
                    <a:pt x="729" y="662"/>
                    <a:pt x="729" y="661"/>
                    <a:pt x="728" y="659"/>
                  </a:cubicBezTo>
                  <a:cubicBezTo>
                    <a:pt x="727" y="657"/>
                    <a:pt x="727" y="656"/>
                    <a:pt x="728" y="655"/>
                  </a:cubicBezTo>
                  <a:cubicBezTo>
                    <a:pt x="730" y="653"/>
                    <a:pt x="730" y="652"/>
                    <a:pt x="729" y="651"/>
                  </a:cubicBezTo>
                  <a:cubicBezTo>
                    <a:pt x="729" y="650"/>
                    <a:pt x="728" y="647"/>
                    <a:pt x="728" y="643"/>
                  </a:cubicBezTo>
                  <a:cubicBezTo>
                    <a:pt x="728" y="639"/>
                    <a:pt x="727" y="635"/>
                    <a:pt x="727" y="634"/>
                  </a:cubicBezTo>
                  <a:cubicBezTo>
                    <a:pt x="726" y="632"/>
                    <a:pt x="728" y="627"/>
                    <a:pt x="731" y="624"/>
                  </a:cubicBezTo>
                  <a:cubicBezTo>
                    <a:pt x="732" y="623"/>
                    <a:pt x="733" y="621"/>
                    <a:pt x="733" y="619"/>
                  </a:cubicBezTo>
                  <a:cubicBezTo>
                    <a:pt x="733" y="616"/>
                    <a:pt x="733" y="614"/>
                    <a:pt x="730" y="612"/>
                  </a:cubicBezTo>
                  <a:cubicBezTo>
                    <a:pt x="727" y="609"/>
                    <a:pt x="726" y="608"/>
                    <a:pt x="720" y="607"/>
                  </a:cubicBezTo>
                  <a:cubicBezTo>
                    <a:pt x="717" y="607"/>
                    <a:pt x="713" y="606"/>
                    <a:pt x="712" y="605"/>
                  </a:cubicBezTo>
                  <a:cubicBezTo>
                    <a:pt x="711" y="605"/>
                    <a:pt x="709" y="604"/>
                    <a:pt x="708" y="603"/>
                  </a:cubicBezTo>
                  <a:lnTo>
                    <a:pt x="705" y="602"/>
                  </a:lnTo>
                  <a:lnTo>
                    <a:pt x="705" y="593"/>
                  </a:lnTo>
                  <a:cubicBezTo>
                    <a:pt x="705" y="587"/>
                    <a:pt x="706" y="581"/>
                    <a:pt x="706" y="577"/>
                  </a:cubicBezTo>
                  <a:cubicBezTo>
                    <a:pt x="707" y="574"/>
                    <a:pt x="708" y="565"/>
                    <a:pt x="708" y="558"/>
                  </a:cubicBezTo>
                  <a:cubicBezTo>
                    <a:pt x="709" y="551"/>
                    <a:pt x="709" y="542"/>
                    <a:pt x="710" y="539"/>
                  </a:cubicBezTo>
                  <a:cubicBezTo>
                    <a:pt x="711" y="535"/>
                    <a:pt x="712" y="528"/>
                    <a:pt x="712" y="520"/>
                  </a:cubicBezTo>
                  <a:cubicBezTo>
                    <a:pt x="712" y="507"/>
                    <a:pt x="711" y="504"/>
                    <a:pt x="710" y="504"/>
                  </a:cubicBezTo>
                  <a:cubicBezTo>
                    <a:pt x="709" y="504"/>
                    <a:pt x="708" y="503"/>
                    <a:pt x="706" y="502"/>
                  </a:cubicBezTo>
                  <a:cubicBezTo>
                    <a:pt x="704" y="500"/>
                    <a:pt x="702" y="500"/>
                    <a:pt x="700" y="500"/>
                  </a:cubicBezTo>
                  <a:cubicBezTo>
                    <a:pt x="697" y="500"/>
                    <a:pt x="695" y="500"/>
                    <a:pt x="693" y="501"/>
                  </a:cubicBezTo>
                  <a:cubicBezTo>
                    <a:pt x="691" y="502"/>
                    <a:pt x="689" y="503"/>
                    <a:pt x="688" y="503"/>
                  </a:cubicBezTo>
                  <a:cubicBezTo>
                    <a:pt x="687" y="503"/>
                    <a:pt x="687" y="503"/>
                    <a:pt x="687" y="503"/>
                  </a:cubicBezTo>
                  <a:lnTo>
                    <a:pt x="684" y="503"/>
                  </a:lnTo>
                  <a:lnTo>
                    <a:pt x="684" y="496"/>
                  </a:lnTo>
                  <a:cubicBezTo>
                    <a:pt x="683" y="492"/>
                    <a:pt x="684" y="487"/>
                    <a:pt x="685" y="481"/>
                  </a:cubicBezTo>
                  <a:cubicBezTo>
                    <a:pt x="687" y="474"/>
                    <a:pt x="687" y="471"/>
                    <a:pt x="687" y="440"/>
                  </a:cubicBezTo>
                  <a:lnTo>
                    <a:pt x="687" y="408"/>
                  </a:lnTo>
                  <a:lnTo>
                    <a:pt x="685" y="399"/>
                  </a:lnTo>
                  <a:cubicBezTo>
                    <a:pt x="683" y="394"/>
                    <a:pt x="682" y="388"/>
                    <a:pt x="681" y="386"/>
                  </a:cubicBezTo>
                  <a:cubicBezTo>
                    <a:pt x="680" y="384"/>
                    <a:pt x="679" y="382"/>
                    <a:pt x="679" y="381"/>
                  </a:cubicBezTo>
                  <a:cubicBezTo>
                    <a:pt x="679" y="380"/>
                    <a:pt x="678" y="379"/>
                    <a:pt x="678" y="379"/>
                  </a:cubicBezTo>
                  <a:cubicBezTo>
                    <a:pt x="678" y="379"/>
                    <a:pt x="676" y="376"/>
                    <a:pt x="674" y="373"/>
                  </a:cubicBezTo>
                  <a:cubicBezTo>
                    <a:pt x="671" y="365"/>
                    <a:pt x="671" y="360"/>
                    <a:pt x="674" y="357"/>
                  </a:cubicBezTo>
                  <a:cubicBezTo>
                    <a:pt x="675" y="355"/>
                    <a:pt x="676" y="354"/>
                    <a:pt x="675" y="346"/>
                  </a:cubicBezTo>
                  <a:cubicBezTo>
                    <a:pt x="675" y="338"/>
                    <a:pt x="675" y="338"/>
                    <a:pt x="677" y="336"/>
                  </a:cubicBezTo>
                  <a:cubicBezTo>
                    <a:pt x="678" y="336"/>
                    <a:pt x="680" y="335"/>
                    <a:pt x="680" y="334"/>
                  </a:cubicBezTo>
                  <a:cubicBezTo>
                    <a:pt x="681" y="333"/>
                    <a:pt x="682" y="333"/>
                    <a:pt x="683" y="333"/>
                  </a:cubicBezTo>
                  <a:cubicBezTo>
                    <a:pt x="684" y="333"/>
                    <a:pt x="686" y="333"/>
                    <a:pt x="687" y="335"/>
                  </a:cubicBezTo>
                  <a:cubicBezTo>
                    <a:pt x="688" y="336"/>
                    <a:pt x="690" y="336"/>
                    <a:pt x="691" y="337"/>
                  </a:cubicBezTo>
                  <a:cubicBezTo>
                    <a:pt x="692" y="337"/>
                    <a:pt x="694" y="338"/>
                    <a:pt x="695" y="338"/>
                  </a:cubicBezTo>
                  <a:cubicBezTo>
                    <a:pt x="695" y="338"/>
                    <a:pt x="695" y="338"/>
                    <a:pt x="695" y="338"/>
                  </a:cubicBezTo>
                  <a:cubicBezTo>
                    <a:pt x="697" y="338"/>
                    <a:pt x="696" y="335"/>
                    <a:pt x="694" y="332"/>
                  </a:cubicBezTo>
                  <a:cubicBezTo>
                    <a:pt x="691" y="328"/>
                    <a:pt x="691" y="323"/>
                    <a:pt x="694" y="318"/>
                  </a:cubicBezTo>
                  <a:cubicBezTo>
                    <a:pt x="696" y="314"/>
                    <a:pt x="696" y="308"/>
                    <a:pt x="693" y="289"/>
                  </a:cubicBezTo>
                  <a:cubicBezTo>
                    <a:pt x="693" y="281"/>
                    <a:pt x="693" y="279"/>
                    <a:pt x="694" y="277"/>
                  </a:cubicBezTo>
                  <a:cubicBezTo>
                    <a:pt x="695" y="273"/>
                    <a:pt x="697" y="265"/>
                    <a:pt x="698" y="255"/>
                  </a:cubicBezTo>
                  <a:cubicBezTo>
                    <a:pt x="700" y="243"/>
                    <a:pt x="701" y="239"/>
                    <a:pt x="703" y="237"/>
                  </a:cubicBezTo>
                  <a:cubicBezTo>
                    <a:pt x="704" y="236"/>
                    <a:pt x="704" y="234"/>
                    <a:pt x="704" y="233"/>
                  </a:cubicBezTo>
                  <a:cubicBezTo>
                    <a:pt x="704" y="233"/>
                    <a:pt x="705" y="232"/>
                    <a:pt x="706" y="231"/>
                  </a:cubicBezTo>
                  <a:cubicBezTo>
                    <a:pt x="707" y="231"/>
                    <a:pt x="708" y="228"/>
                    <a:pt x="708" y="222"/>
                  </a:cubicBezTo>
                  <a:cubicBezTo>
                    <a:pt x="709" y="214"/>
                    <a:pt x="710" y="209"/>
                    <a:pt x="712" y="209"/>
                  </a:cubicBezTo>
                  <a:cubicBezTo>
                    <a:pt x="714" y="209"/>
                    <a:pt x="713" y="157"/>
                    <a:pt x="711" y="153"/>
                  </a:cubicBezTo>
                  <a:cubicBezTo>
                    <a:pt x="710" y="151"/>
                    <a:pt x="709" y="147"/>
                    <a:pt x="709" y="144"/>
                  </a:cubicBezTo>
                  <a:cubicBezTo>
                    <a:pt x="708" y="141"/>
                    <a:pt x="707" y="137"/>
                    <a:pt x="706" y="136"/>
                  </a:cubicBezTo>
                  <a:cubicBezTo>
                    <a:pt x="705" y="135"/>
                    <a:pt x="705" y="133"/>
                    <a:pt x="705" y="130"/>
                  </a:cubicBezTo>
                  <a:cubicBezTo>
                    <a:pt x="705" y="128"/>
                    <a:pt x="704" y="125"/>
                    <a:pt x="704" y="122"/>
                  </a:cubicBezTo>
                  <a:cubicBezTo>
                    <a:pt x="703" y="119"/>
                    <a:pt x="702" y="118"/>
                    <a:pt x="700" y="118"/>
                  </a:cubicBezTo>
                  <a:cubicBezTo>
                    <a:pt x="699" y="118"/>
                    <a:pt x="698" y="117"/>
                    <a:pt x="698" y="115"/>
                  </a:cubicBezTo>
                  <a:cubicBezTo>
                    <a:pt x="697" y="113"/>
                    <a:pt x="696" y="111"/>
                    <a:pt x="696" y="111"/>
                  </a:cubicBezTo>
                  <a:cubicBezTo>
                    <a:pt x="694" y="111"/>
                    <a:pt x="692" y="105"/>
                    <a:pt x="695" y="105"/>
                  </a:cubicBezTo>
                  <a:cubicBezTo>
                    <a:pt x="695" y="104"/>
                    <a:pt x="695" y="104"/>
                    <a:pt x="694" y="102"/>
                  </a:cubicBezTo>
                  <a:cubicBezTo>
                    <a:pt x="693" y="100"/>
                    <a:pt x="692" y="98"/>
                    <a:pt x="692" y="97"/>
                  </a:cubicBezTo>
                  <a:cubicBezTo>
                    <a:pt x="692" y="96"/>
                    <a:pt x="691" y="95"/>
                    <a:pt x="690" y="95"/>
                  </a:cubicBezTo>
                  <a:cubicBezTo>
                    <a:pt x="689" y="95"/>
                    <a:pt x="685" y="88"/>
                    <a:pt x="683" y="83"/>
                  </a:cubicBezTo>
                  <a:cubicBezTo>
                    <a:pt x="683" y="81"/>
                    <a:pt x="681" y="78"/>
                    <a:pt x="679" y="76"/>
                  </a:cubicBezTo>
                  <a:cubicBezTo>
                    <a:pt x="677" y="74"/>
                    <a:pt x="676" y="71"/>
                    <a:pt x="676" y="70"/>
                  </a:cubicBezTo>
                  <a:cubicBezTo>
                    <a:pt x="676" y="69"/>
                    <a:pt x="675" y="67"/>
                    <a:pt x="674" y="66"/>
                  </a:cubicBezTo>
                  <a:cubicBezTo>
                    <a:pt x="673" y="64"/>
                    <a:pt x="671" y="63"/>
                    <a:pt x="671" y="62"/>
                  </a:cubicBezTo>
                  <a:cubicBezTo>
                    <a:pt x="670" y="59"/>
                    <a:pt x="667" y="55"/>
                    <a:pt x="657" y="45"/>
                  </a:cubicBezTo>
                  <a:cubicBezTo>
                    <a:pt x="647" y="35"/>
                    <a:pt x="646" y="34"/>
                    <a:pt x="641" y="31"/>
                  </a:cubicBezTo>
                  <a:cubicBezTo>
                    <a:pt x="631" y="26"/>
                    <a:pt x="627" y="24"/>
                    <a:pt x="622" y="23"/>
                  </a:cubicBezTo>
                  <a:cubicBezTo>
                    <a:pt x="619" y="23"/>
                    <a:pt x="616" y="22"/>
                    <a:pt x="615" y="22"/>
                  </a:cubicBezTo>
                  <a:cubicBezTo>
                    <a:pt x="615" y="21"/>
                    <a:pt x="609" y="21"/>
                    <a:pt x="603" y="21"/>
                  </a:cubicBezTo>
                  <a:cubicBezTo>
                    <a:pt x="600" y="21"/>
                    <a:pt x="598" y="20"/>
                    <a:pt x="597" y="20"/>
                  </a:cubicBezTo>
                  <a:close/>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 name="Group 8">
            <a:extLst>
              <a:ext uri="{FF2B5EF4-FFF2-40B4-BE49-F238E27FC236}">
                <a16:creationId xmlns:a16="http://schemas.microsoft.com/office/drawing/2014/main" id="{ABF8F591-16C4-4E0C-8BE8-424D70D5772C}"/>
              </a:ext>
            </a:extLst>
          </p:cNvPr>
          <p:cNvGrpSpPr/>
          <p:nvPr/>
        </p:nvGrpSpPr>
        <p:grpSpPr>
          <a:xfrm>
            <a:off x="4462716" y="2053351"/>
            <a:ext cx="14728700" cy="4473680"/>
            <a:chOff x="4462716" y="2053351"/>
            <a:chExt cx="14728700" cy="4473680"/>
          </a:xfrm>
        </p:grpSpPr>
        <p:graphicFrame>
          <p:nvGraphicFramePr>
            <p:cNvPr id="21" name="Chart 20">
              <a:extLst>
                <a:ext uri="{FF2B5EF4-FFF2-40B4-BE49-F238E27FC236}">
                  <a16:creationId xmlns:a16="http://schemas.microsoft.com/office/drawing/2014/main" id="{DDB6F734-EE8D-473D-8BC3-517B8059D897}"/>
                </a:ext>
              </a:extLst>
            </p:cNvPr>
            <p:cNvGraphicFramePr/>
            <p:nvPr>
              <p:extLst>
                <p:ext uri="{D42A27DB-BD31-4B8C-83A1-F6EECF244321}">
                  <p14:modId xmlns:p14="http://schemas.microsoft.com/office/powerpoint/2010/main" val="582592259"/>
                </p:ext>
              </p:extLst>
            </p:nvPr>
          </p:nvGraphicFramePr>
          <p:xfrm>
            <a:off x="4462716" y="2053351"/>
            <a:ext cx="6696744" cy="4396779"/>
          </p:xfrm>
          <a:graphic>
            <a:graphicData uri="http://schemas.openxmlformats.org/drawingml/2006/chart">
              <c:chart xmlns:c="http://schemas.openxmlformats.org/drawingml/2006/chart" xmlns:r="http://schemas.openxmlformats.org/officeDocument/2006/relationships" r:id="rId7"/>
            </a:graphicData>
          </a:graphic>
        </p:graphicFrame>
        <p:sp>
          <p:nvSpPr>
            <p:cNvPr id="22" name="Title 1">
              <a:extLst>
                <a:ext uri="{FF2B5EF4-FFF2-40B4-BE49-F238E27FC236}">
                  <a16:creationId xmlns:a16="http://schemas.microsoft.com/office/drawing/2014/main" id="{2BE2BC1C-7A55-45AF-8C13-843DD74A0109}"/>
                </a:ext>
              </a:extLst>
            </p:cNvPr>
            <p:cNvSpPr txBox="1">
              <a:spLocks/>
            </p:cNvSpPr>
            <p:nvPr/>
          </p:nvSpPr>
          <p:spPr>
            <a:xfrm>
              <a:off x="7890003" y="6173018"/>
              <a:ext cx="11301413" cy="354013"/>
            </a:xfrm>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pPr>
                <a:buClr>
                  <a:schemeClr val="accent6">
                    <a:lumMod val="60000"/>
                    <a:lumOff val="40000"/>
                  </a:schemeClr>
                </a:buClr>
              </a:pPr>
              <a:r>
                <a:rPr lang="en-US" sz="1000" b="0" dirty="0">
                  <a:solidFill>
                    <a:schemeClr val="tx1">
                      <a:lumMod val="75000"/>
                      <a:lumOff val="25000"/>
                    </a:schemeClr>
                  </a:solidFill>
                </a:rPr>
                <a:t>(</a:t>
              </a:r>
              <a:r>
                <a:rPr lang="lt-LT" sz="1000" b="0" dirty="0">
                  <a:solidFill>
                    <a:schemeClr val="tx1">
                      <a:lumMod val="75000"/>
                      <a:lumOff val="25000"/>
                    </a:schemeClr>
                  </a:solidFill>
                </a:rPr>
                <a:t>Šaltinis: </a:t>
              </a:r>
              <a:r>
                <a:rPr lang="en-US" sz="1000" b="0" dirty="0">
                  <a:solidFill>
                    <a:schemeClr val="tx1">
                      <a:lumMod val="75000"/>
                      <a:lumOff val="25000"/>
                    </a:schemeClr>
                  </a:solidFill>
                </a:rPr>
                <a:t>Invest </a:t>
              </a:r>
              <a:r>
                <a:rPr lang="en-US" sz="1000" b="0" dirty="0" err="1">
                  <a:solidFill>
                    <a:schemeClr val="tx1">
                      <a:lumMod val="75000"/>
                      <a:lumOff val="25000"/>
                    </a:schemeClr>
                  </a:solidFill>
                </a:rPr>
                <a:t>Lietuva</a:t>
              </a:r>
              <a:r>
                <a:rPr lang="en-US" sz="1000" b="0" dirty="0">
                  <a:solidFill>
                    <a:schemeClr val="tx1">
                      <a:lumMod val="75000"/>
                      <a:lumOff val="25000"/>
                    </a:schemeClr>
                  </a:solidFill>
                </a:rPr>
                <a:t> “GBS report” 2020 m. </a:t>
              </a:r>
              <a:r>
                <a:rPr lang="en-US" sz="1000" b="0" dirty="0" err="1">
                  <a:solidFill>
                    <a:schemeClr val="tx1">
                      <a:lumMod val="75000"/>
                      <a:lumOff val="25000"/>
                    </a:schemeClr>
                  </a:solidFill>
                </a:rPr>
                <a:t>duomenys</a:t>
              </a:r>
              <a:r>
                <a:rPr lang="en-US" sz="1000" b="0" dirty="0">
                  <a:solidFill>
                    <a:schemeClr val="tx1">
                      <a:lumMod val="75000"/>
                      <a:lumOff val="25000"/>
                    </a:schemeClr>
                  </a:solidFill>
                </a:rPr>
                <a:t>)</a:t>
              </a:r>
              <a:br>
                <a:rPr lang="lt-LT" sz="2400" dirty="0">
                  <a:solidFill>
                    <a:schemeClr val="accent3">
                      <a:lumMod val="75000"/>
                    </a:schemeClr>
                  </a:solidFill>
                </a:rPr>
              </a:br>
              <a:endParaRPr lang="lt-LT" sz="2400" dirty="0">
                <a:solidFill>
                  <a:schemeClr val="accent3">
                    <a:lumMod val="75000"/>
                  </a:schemeClr>
                </a:solidFill>
              </a:endParaRPr>
            </a:p>
          </p:txBody>
        </p:sp>
      </p:grpSp>
    </p:spTree>
    <p:extLst>
      <p:ext uri="{BB962C8B-B14F-4D97-AF65-F5344CB8AC3E}">
        <p14:creationId xmlns:p14="http://schemas.microsoft.com/office/powerpoint/2010/main" val="3602581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B5AF-8EEF-4987-BEC2-76D6F408A2C1}"/>
              </a:ext>
            </a:extLst>
          </p:cNvPr>
          <p:cNvSpPr>
            <a:spLocks noGrp="1"/>
          </p:cNvSpPr>
          <p:nvPr>
            <p:ph type="title" idx="4294967295"/>
          </p:nvPr>
        </p:nvSpPr>
        <p:spPr>
          <a:xfrm>
            <a:off x="181968" y="1467981"/>
            <a:ext cx="11301413" cy="354013"/>
          </a:xfrm>
        </p:spPr>
        <p:txBody>
          <a:bodyPr/>
          <a:lstStyle/>
          <a:p>
            <a:pPr>
              <a:buClr>
                <a:schemeClr val="accent6">
                  <a:lumMod val="60000"/>
                  <a:lumOff val="40000"/>
                </a:schemeClr>
              </a:buClr>
            </a:pPr>
            <a:r>
              <a:rPr lang="lt-LT" sz="2400" dirty="0">
                <a:solidFill>
                  <a:schemeClr val="tx1">
                    <a:lumMod val="65000"/>
                    <a:lumOff val="35000"/>
                  </a:schemeClr>
                </a:solidFill>
              </a:rPr>
              <a:t>Global Festo ir UAB Festo duomenys</a:t>
            </a:r>
            <a:r>
              <a:rPr lang="en-US" sz="2400" dirty="0">
                <a:solidFill>
                  <a:schemeClr val="tx1">
                    <a:lumMod val="65000"/>
                    <a:lumOff val="35000"/>
                  </a:schemeClr>
                </a:solidFill>
              </a:rPr>
              <a:t> </a:t>
            </a:r>
            <a:r>
              <a:rPr lang="en-GB" sz="2400" dirty="0">
                <a:solidFill>
                  <a:schemeClr val="tx1">
                    <a:lumMod val="65000"/>
                    <a:lumOff val="35000"/>
                  </a:schemeClr>
                </a:solidFill>
              </a:rPr>
              <a:t>| </a:t>
            </a:r>
            <a:r>
              <a:rPr lang="lt-LT" sz="2400" dirty="0">
                <a:solidFill>
                  <a:schemeClr val="accent6">
                    <a:lumMod val="60000"/>
                    <a:lumOff val="40000"/>
                  </a:schemeClr>
                </a:solidFill>
              </a:rPr>
              <a:t>Pagrindiniai duomenys</a:t>
            </a:r>
            <a:br>
              <a:rPr lang="lt-LT" sz="2400" dirty="0">
                <a:solidFill>
                  <a:schemeClr val="accent3">
                    <a:lumMod val="75000"/>
                  </a:schemeClr>
                </a:solidFill>
              </a:rPr>
            </a:br>
            <a:endParaRPr lang="lt-LT" sz="2400" dirty="0">
              <a:solidFill>
                <a:schemeClr val="accent3">
                  <a:lumMod val="75000"/>
                </a:schemeClr>
              </a:solidFill>
            </a:endParaRPr>
          </a:p>
        </p:txBody>
      </p:sp>
      <p:grpSp>
        <p:nvGrpSpPr>
          <p:cNvPr id="14" name="Group 13">
            <a:extLst>
              <a:ext uri="{FF2B5EF4-FFF2-40B4-BE49-F238E27FC236}">
                <a16:creationId xmlns:a16="http://schemas.microsoft.com/office/drawing/2014/main" id="{E5C5D093-D8C1-4FFF-8EC6-9A3355BD1882}"/>
              </a:ext>
            </a:extLst>
          </p:cNvPr>
          <p:cNvGrpSpPr/>
          <p:nvPr/>
        </p:nvGrpSpPr>
        <p:grpSpPr>
          <a:xfrm>
            <a:off x="217356" y="2050603"/>
            <a:ext cx="3820117" cy="1385918"/>
            <a:chOff x="217356" y="2050603"/>
            <a:chExt cx="3820117" cy="1385918"/>
          </a:xfrm>
        </p:grpSpPr>
        <p:grpSp>
          <p:nvGrpSpPr>
            <p:cNvPr id="3" name="Group 2">
              <a:extLst>
                <a:ext uri="{FF2B5EF4-FFF2-40B4-BE49-F238E27FC236}">
                  <a16:creationId xmlns:a16="http://schemas.microsoft.com/office/drawing/2014/main" id="{A210A9CE-35D1-4206-9EF4-CAF51AB61DC1}"/>
                </a:ext>
              </a:extLst>
            </p:cNvPr>
            <p:cNvGrpSpPr/>
            <p:nvPr/>
          </p:nvGrpSpPr>
          <p:grpSpPr>
            <a:xfrm>
              <a:off x="217356" y="2050603"/>
              <a:ext cx="3820117" cy="1385918"/>
              <a:chOff x="217356" y="2050603"/>
              <a:chExt cx="3820117" cy="1385918"/>
            </a:xfrm>
          </p:grpSpPr>
          <p:grpSp>
            <p:nvGrpSpPr>
              <p:cNvPr id="5" name="Gruppieren 2">
                <a:extLst>
                  <a:ext uri="{FF2B5EF4-FFF2-40B4-BE49-F238E27FC236}">
                    <a16:creationId xmlns:a16="http://schemas.microsoft.com/office/drawing/2014/main" id="{D9F63FAF-5C95-43F0-A86A-051590204B56}"/>
                  </a:ext>
                </a:extLst>
              </p:cNvPr>
              <p:cNvGrpSpPr/>
              <p:nvPr/>
            </p:nvGrpSpPr>
            <p:grpSpPr>
              <a:xfrm>
                <a:off x="217356" y="2050603"/>
                <a:ext cx="3820117" cy="1385918"/>
                <a:chOff x="256566" y="1791814"/>
                <a:chExt cx="5594601" cy="1428216"/>
              </a:xfrm>
              <a:solidFill>
                <a:schemeClr val="bg2">
                  <a:lumMod val="85000"/>
                </a:schemeClr>
              </a:solidFill>
            </p:grpSpPr>
            <p:sp>
              <p:nvSpPr>
                <p:cNvPr id="6" name="Rechteck 27">
                  <a:extLst>
                    <a:ext uri="{FF2B5EF4-FFF2-40B4-BE49-F238E27FC236}">
                      <a16:creationId xmlns:a16="http://schemas.microsoft.com/office/drawing/2014/main" id="{B317EA90-DC5A-4451-8287-EC7C38D943C8}"/>
                    </a:ext>
                  </a:extLst>
                </p:cNvPr>
                <p:cNvSpPr/>
                <p:nvPr/>
              </p:nvSpPr>
              <p:spPr>
                <a:xfrm>
                  <a:off x="261166" y="1791814"/>
                  <a:ext cx="5590001" cy="13513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981075" lvl="3"/>
                  <a:endParaRPr lang="en-GB" sz="1400" dirty="0">
                    <a:solidFill>
                      <a:schemeClr val="tx1"/>
                    </a:solidFill>
                  </a:endParaRPr>
                </a:p>
              </p:txBody>
            </p:sp>
            <p:graphicFrame>
              <p:nvGraphicFramePr>
                <p:cNvPr id="7" name="Diagramm 15">
                  <a:extLst>
                    <a:ext uri="{FF2B5EF4-FFF2-40B4-BE49-F238E27FC236}">
                      <a16:creationId xmlns:a16="http://schemas.microsoft.com/office/drawing/2014/main" id="{49786CD8-0C6F-4668-B84F-C240AC940D27}"/>
                    </a:ext>
                  </a:extLst>
                </p:cNvPr>
                <p:cNvGraphicFramePr/>
                <p:nvPr/>
              </p:nvGraphicFramePr>
              <p:xfrm>
                <a:off x="256566" y="2047392"/>
                <a:ext cx="1429966" cy="1172638"/>
              </p:xfrm>
              <a:graphic>
                <a:graphicData uri="http://schemas.openxmlformats.org/drawingml/2006/chart">
                  <c:chart xmlns:c="http://schemas.openxmlformats.org/drawingml/2006/chart" xmlns:r="http://schemas.openxmlformats.org/officeDocument/2006/relationships" r:id="rId2"/>
                </a:graphicData>
              </a:graphic>
            </p:graphicFrame>
          </p:grpSp>
          <p:grpSp>
            <p:nvGrpSpPr>
              <p:cNvPr id="16" name="Grupė 32">
                <a:extLst>
                  <a:ext uri="{FF2B5EF4-FFF2-40B4-BE49-F238E27FC236}">
                    <a16:creationId xmlns:a16="http://schemas.microsoft.com/office/drawing/2014/main" id="{E45550A5-2FBE-4046-990A-50E193025F7C}"/>
                  </a:ext>
                </a:extLst>
              </p:cNvPr>
              <p:cNvGrpSpPr/>
              <p:nvPr/>
            </p:nvGrpSpPr>
            <p:grpSpPr>
              <a:xfrm>
                <a:off x="469636" y="2222740"/>
                <a:ext cx="2278212" cy="945371"/>
                <a:chOff x="560766" y="4292418"/>
                <a:chExt cx="1604093" cy="624647"/>
              </a:xfrm>
              <a:solidFill>
                <a:schemeClr val="accent1">
                  <a:lumMod val="75000"/>
                </a:schemeClr>
              </a:solidFill>
            </p:grpSpPr>
            <p:sp>
              <p:nvSpPr>
                <p:cNvPr id="17" name="TextBox 16">
                  <a:extLst>
                    <a:ext uri="{FF2B5EF4-FFF2-40B4-BE49-F238E27FC236}">
                      <a16:creationId xmlns:a16="http://schemas.microsoft.com/office/drawing/2014/main" id="{04893D45-ABA4-423A-BAB2-284CCBF9F128}"/>
                    </a:ext>
                  </a:extLst>
                </p:cNvPr>
                <p:cNvSpPr txBox="1"/>
                <p:nvPr/>
              </p:nvSpPr>
              <p:spPr>
                <a:xfrm>
                  <a:off x="1313179" y="4496034"/>
                  <a:ext cx="851680" cy="320125"/>
                </a:xfrm>
                <a:prstGeom prst="rect">
                  <a:avLst/>
                </a:prstGeom>
                <a:noFill/>
              </p:spPr>
              <p:txBody>
                <a:bodyPr wrap="square" rtlCol="0">
                  <a:spAutoFit/>
                </a:bodyPr>
                <a:lstStyle/>
                <a:p>
                  <a:pPr algn="ctr">
                    <a:lnSpc>
                      <a:spcPts val="1000"/>
                    </a:lnSpc>
                  </a:pPr>
                  <a:r>
                    <a:rPr lang="lt-LT" sz="4400" b="1" dirty="0">
                      <a:solidFill>
                        <a:schemeClr val="tx1">
                          <a:lumMod val="65000"/>
                          <a:lumOff val="35000"/>
                        </a:schemeClr>
                      </a:solidFill>
                      <a:latin typeface="MetaPlusLF" panose="02000503060000020004" pitchFamily="2" charset="0"/>
                    </a:rPr>
                    <a:t>176</a:t>
                  </a:r>
                  <a:endParaRPr lang="en-US" sz="4400" b="1" dirty="0">
                    <a:solidFill>
                      <a:schemeClr val="tx1">
                        <a:lumMod val="65000"/>
                        <a:lumOff val="35000"/>
                      </a:schemeClr>
                    </a:solidFill>
                    <a:latin typeface="MetaPlusLF" panose="02000503060000020004" pitchFamily="2" charset="0"/>
                  </a:endParaRPr>
                </a:p>
                <a:p>
                  <a:pPr algn="ctr">
                    <a:lnSpc>
                      <a:spcPts val="1000"/>
                    </a:lnSpc>
                  </a:pPr>
                  <a:endParaRPr lang="lt-LT" sz="1400" dirty="0">
                    <a:solidFill>
                      <a:schemeClr val="bg1">
                        <a:lumMod val="50000"/>
                      </a:schemeClr>
                    </a:solidFill>
                    <a:latin typeface="MetaPlusLF" panose="02000503060000020004" pitchFamily="2" charset="0"/>
                  </a:endParaRPr>
                </a:p>
                <a:p>
                  <a:pPr algn="ctr">
                    <a:lnSpc>
                      <a:spcPts val="1000"/>
                    </a:lnSpc>
                  </a:pPr>
                  <a:r>
                    <a:rPr lang="lt-LT" sz="1400" dirty="0">
                      <a:solidFill>
                        <a:schemeClr val="bg1">
                          <a:lumMod val="50000"/>
                        </a:schemeClr>
                      </a:solidFill>
                      <a:latin typeface="MetaPlusLF" panose="02000503060000020004" pitchFamily="2" charset="0"/>
                    </a:rPr>
                    <a:t>šalys</a:t>
                  </a:r>
                  <a:endParaRPr lang="en-US" sz="1400" dirty="0">
                    <a:solidFill>
                      <a:schemeClr val="bg1">
                        <a:lumMod val="50000"/>
                      </a:schemeClr>
                    </a:solidFill>
                    <a:latin typeface="MetaPlusLF" panose="02000503060000020004" pitchFamily="2" charset="0"/>
                  </a:endParaRPr>
                </a:p>
              </p:txBody>
            </p:sp>
            <p:pic>
              <p:nvPicPr>
                <p:cNvPr id="19" name="Grafinis elementas 34">
                  <a:extLst>
                    <a:ext uri="{FF2B5EF4-FFF2-40B4-BE49-F238E27FC236}">
                      <a16:creationId xmlns:a16="http://schemas.microsoft.com/office/drawing/2014/main" id="{1FC6E1E1-1741-4E61-B135-39AA4AD4CE2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0766" y="4292418"/>
                  <a:ext cx="624647" cy="624647"/>
                </a:xfrm>
                <a:prstGeom prst="rect">
                  <a:avLst/>
                </a:prstGeom>
              </p:spPr>
            </p:pic>
          </p:grpSp>
        </p:grpSp>
        <p:sp>
          <p:nvSpPr>
            <p:cNvPr id="20" name="TextBox 19">
              <a:extLst>
                <a:ext uri="{FF2B5EF4-FFF2-40B4-BE49-F238E27FC236}">
                  <a16:creationId xmlns:a16="http://schemas.microsoft.com/office/drawing/2014/main" id="{C238E6D6-7CE5-4825-AA34-6542084990B2}"/>
                </a:ext>
              </a:extLst>
            </p:cNvPr>
            <p:cNvSpPr txBox="1"/>
            <p:nvPr/>
          </p:nvSpPr>
          <p:spPr>
            <a:xfrm>
              <a:off x="2662691" y="2789910"/>
              <a:ext cx="1156802" cy="477054"/>
            </a:xfrm>
            <a:prstGeom prst="rect">
              <a:avLst/>
            </a:prstGeom>
            <a:noFill/>
          </p:spPr>
          <p:txBody>
            <a:bodyPr wrap="square" rtlCol="0">
              <a:spAutoFit/>
            </a:bodyPr>
            <a:lstStyle/>
            <a:p>
              <a:pPr>
                <a:lnSpc>
                  <a:spcPts val="1500"/>
                </a:lnSpc>
              </a:pPr>
              <a:r>
                <a:rPr lang="en-US" sz="2400" b="1" dirty="0">
                  <a:solidFill>
                    <a:schemeClr val="tx1">
                      <a:lumMod val="65000"/>
                      <a:lumOff val="35000"/>
                    </a:schemeClr>
                  </a:solidFill>
                  <a:latin typeface="MetaPlusLF" panose="02000503060000020004" pitchFamily="2" charset="0"/>
                </a:rPr>
                <a:t>20 000</a:t>
              </a:r>
            </a:p>
            <a:p>
              <a:pPr>
                <a:lnSpc>
                  <a:spcPts val="1500"/>
                </a:lnSpc>
              </a:pPr>
              <a:r>
                <a:rPr lang="en-US" sz="1400" dirty="0" err="1">
                  <a:solidFill>
                    <a:schemeClr val="bg1">
                      <a:lumMod val="50000"/>
                    </a:schemeClr>
                  </a:solidFill>
                  <a:latin typeface="MetaPlusLF" panose="02000503060000020004" pitchFamily="2" charset="0"/>
                </a:rPr>
                <a:t>darbuotoj</a:t>
              </a:r>
              <a:r>
                <a:rPr lang="lt-LT" sz="1400" dirty="0">
                  <a:solidFill>
                    <a:schemeClr val="bg1">
                      <a:lumMod val="50000"/>
                    </a:schemeClr>
                  </a:solidFill>
                  <a:latin typeface="MetaPlusLF" panose="02000503060000020004" pitchFamily="2" charset="0"/>
                </a:rPr>
                <a:t>ų</a:t>
              </a:r>
              <a:endParaRPr lang="en-US" sz="1400" dirty="0">
                <a:solidFill>
                  <a:schemeClr val="bg1">
                    <a:lumMod val="50000"/>
                  </a:schemeClr>
                </a:solidFill>
                <a:latin typeface="MetaPlusLF" panose="02000503060000020004" pitchFamily="2" charset="0"/>
              </a:endParaRPr>
            </a:p>
          </p:txBody>
        </p:sp>
      </p:grpSp>
      <p:grpSp>
        <p:nvGrpSpPr>
          <p:cNvPr id="8" name="Group 7">
            <a:extLst>
              <a:ext uri="{FF2B5EF4-FFF2-40B4-BE49-F238E27FC236}">
                <a16:creationId xmlns:a16="http://schemas.microsoft.com/office/drawing/2014/main" id="{7EF8A423-9CB3-47CA-BB17-1D8C3BAA3DBC}"/>
              </a:ext>
            </a:extLst>
          </p:cNvPr>
          <p:cNvGrpSpPr/>
          <p:nvPr/>
        </p:nvGrpSpPr>
        <p:grpSpPr>
          <a:xfrm>
            <a:off x="265792" y="5138774"/>
            <a:ext cx="3775599" cy="1311356"/>
            <a:chOff x="265792" y="5138774"/>
            <a:chExt cx="3775599" cy="1311356"/>
          </a:xfrm>
        </p:grpSpPr>
        <p:sp>
          <p:nvSpPr>
            <p:cNvPr id="13" name="Rechteck 27">
              <a:extLst>
                <a:ext uri="{FF2B5EF4-FFF2-40B4-BE49-F238E27FC236}">
                  <a16:creationId xmlns:a16="http://schemas.microsoft.com/office/drawing/2014/main" id="{E73FABCD-D2B2-473E-AA3F-E74F23986FF6}"/>
                </a:ext>
              </a:extLst>
            </p:cNvPr>
            <p:cNvSpPr/>
            <p:nvPr/>
          </p:nvSpPr>
          <p:spPr>
            <a:xfrm>
              <a:off x="265792" y="5138774"/>
              <a:ext cx="3775599" cy="1311356"/>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433513" lvl="3"/>
              <a:r>
                <a:rPr lang="lt-LT" sz="4400" b="1" dirty="0">
                  <a:solidFill>
                    <a:schemeClr val="accent4"/>
                  </a:solidFill>
                </a:rPr>
                <a:t>&gt;460</a:t>
              </a:r>
            </a:p>
            <a:p>
              <a:pPr marL="981075" lvl="3"/>
              <a:r>
                <a:rPr lang="lt-LT" sz="1400" dirty="0">
                  <a:solidFill>
                    <a:schemeClr val="tx1"/>
                  </a:solidFill>
                </a:rPr>
                <a:t>Darbuotojų skaičius ofise</a:t>
              </a:r>
              <a:r>
                <a:rPr lang="en-US" sz="1400" dirty="0">
                  <a:solidFill>
                    <a:schemeClr val="tx1"/>
                  </a:solidFill>
                </a:rPr>
                <a:t> Lietuvoje</a:t>
              </a:r>
              <a:endParaRPr lang="en-GB" sz="1400" dirty="0">
                <a:solidFill>
                  <a:schemeClr val="tx1"/>
                </a:solidFill>
              </a:endParaRPr>
            </a:p>
          </p:txBody>
        </p:sp>
        <p:pic>
          <p:nvPicPr>
            <p:cNvPr id="25" name="Grafinis elementas 43">
              <a:extLst>
                <a:ext uri="{FF2B5EF4-FFF2-40B4-BE49-F238E27FC236}">
                  <a16:creationId xmlns:a16="http://schemas.microsoft.com/office/drawing/2014/main" id="{72E2B0FA-0072-4D85-846F-3DEBE7E9EEB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6435" y="5481826"/>
              <a:ext cx="1153556" cy="625251"/>
            </a:xfrm>
            <a:prstGeom prst="rect">
              <a:avLst/>
            </a:prstGeom>
          </p:spPr>
        </p:pic>
      </p:grpSp>
      <p:grpSp>
        <p:nvGrpSpPr>
          <p:cNvPr id="4" name="Group 3">
            <a:extLst>
              <a:ext uri="{FF2B5EF4-FFF2-40B4-BE49-F238E27FC236}">
                <a16:creationId xmlns:a16="http://schemas.microsoft.com/office/drawing/2014/main" id="{D06E2D43-F25E-4743-B3C8-33B8FC763331}"/>
              </a:ext>
            </a:extLst>
          </p:cNvPr>
          <p:cNvGrpSpPr/>
          <p:nvPr/>
        </p:nvGrpSpPr>
        <p:grpSpPr>
          <a:xfrm>
            <a:off x="261874" y="3596063"/>
            <a:ext cx="3775599" cy="1515690"/>
            <a:chOff x="261874" y="3596063"/>
            <a:chExt cx="3775599" cy="1515690"/>
          </a:xfrm>
        </p:grpSpPr>
        <p:grpSp>
          <p:nvGrpSpPr>
            <p:cNvPr id="10" name="Gruppieren 2">
              <a:extLst>
                <a:ext uri="{FF2B5EF4-FFF2-40B4-BE49-F238E27FC236}">
                  <a16:creationId xmlns:a16="http://schemas.microsoft.com/office/drawing/2014/main" id="{64FD1243-5A78-4220-B5B7-164E3785C0F5}"/>
                </a:ext>
              </a:extLst>
            </p:cNvPr>
            <p:cNvGrpSpPr/>
            <p:nvPr/>
          </p:nvGrpSpPr>
          <p:grpSpPr>
            <a:xfrm>
              <a:off x="261874" y="3596063"/>
              <a:ext cx="3775599" cy="1515690"/>
              <a:chOff x="265781" y="2087415"/>
              <a:chExt cx="5594608" cy="1515690"/>
            </a:xfrm>
            <a:solidFill>
              <a:schemeClr val="bg2">
                <a:lumMod val="85000"/>
              </a:schemeClr>
            </a:solidFill>
          </p:grpSpPr>
          <p:sp>
            <p:nvSpPr>
              <p:cNvPr id="11" name="Rechteck 27">
                <a:extLst>
                  <a:ext uri="{FF2B5EF4-FFF2-40B4-BE49-F238E27FC236}">
                    <a16:creationId xmlns:a16="http://schemas.microsoft.com/office/drawing/2014/main" id="{813ED7E5-4978-46A9-B9CE-0C9330F1454C}"/>
                  </a:ext>
                </a:extLst>
              </p:cNvPr>
              <p:cNvSpPr/>
              <p:nvPr/>
            </p:nvSpPr>
            <p:spPr>
              <a:xfrm>
                <a:off x="265781" y="2087415"/>
                <a:ext cx="5594608" cy="11726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347788" lvl="3"/>
                <a:r>
                  <a:rPr lang="lt-LT" sz="4400" b="1" dirty="0">
                    <a:solidFill>
                      <a:schemeClr val="accent4"/>
                    </a:solidFill>
                  </a:rPr>
                  <a:t>metai</a:t>
                </a:r>
              </a:p>
              <a:p>
                <a:pPr marL="1347788" lvl="3"/>
                <a:r>
                  <a:rPr lang="lt-LT" sz="3200" b="1" dirty="0">
                    <a:solidFill>
                      <a:schemeClr val="tx1">
                        <a:lumMod val="65000"/>
                        <a:lumOff val="35000"/>
                      </a:schemeClr>
                    </a:solidFill>
                  </a:rPr>
                  <a:t>Lietuvoje</a:t>
                </a:r>
                <a:endParaRPr lang="en-GB" sz="3200" b="1" dirty="0">
                  <a:solidFill>
                    <a:schemeClr val="tx1">
                      <a:lumMod val="65000"/>
                      <a:lumOff val="35000"/>
                    </a:schemeClr>
                  </a:solidFill>
                </a:endParaRPr>
              </a:p>
            </p:txBody>
          </p:sp>
          <p:graphicFrame>
            <p:nvGraphicFramePr>
              <p:cNvPr id="12" name="Diagramm 15">
                <a:extLst>
                  <a:ext uri="{FF2B5EF4-FFF2-40B4-BE49-F238E27FC236}">
                    <a16:creationId xmlns:a16="http://schemas.microsoft.com/office/drawing/2014/main" id="{4B24CA6B-CFE6-4312-9193-05A068FC83CD}"/>
                  </a:ext>
                </a:extLst>
              </p:cNvPr>
              <p:cNvGraphicFramePr/>
              <p:nvPr>
                <p:extLst>
                  <p:ext uri="{D42A27DB-BD31-4B8C-83A1-F6EECF244321}">
                    <p14:modId xmlns:p14="http://schemas.microsoft.com/office/powerpoint/2010/main" val="1063692343"/>
                  </p:ext>
                </p:extLst>
              </p:nvPr>
            </p:nvGraphicFramePr>
            <p:xfrm>
              <a:off x="2768164" y="2430467"/>
              <a:ext cx="1632976" cy="1172638"/>
            </p:xfrm>
            <a:graphic>
              <a:graphicData uri="http://schemas.openxmlformats.org/drawingml/2006/chart">
                <c:chart xmlns:c="http://schemas.openxmlformats.org/drawingml/2006/chart" xmlns:r="http://schemas.openxmlformats.org/officeDocument/2006/relationships" r:id="rId7"/>
              </a:graphicData>
            </a:graphic>
          </p:graphicFrame>
        </p:grpSp>
        <p:sp>
          <p:nvSpPr>
            <p:cNvPr id="26" name="TextBox 25">
              <a:extLst>
                <a:ext uri="{FF2B5EF4-FFF2-40B4-BE49-F238E27FC236}">
                  <a16:creationId xmlns:a16="http://schemas.microsoft.com/office/drawing/2014/main" id="{3FDD7163-0266-490B-BC39-49A845319FEA}"/>
                </a:ext>
              </a:extLst>
            </p:cNvPr>
            <p:cNvSpPr txBox="1"/>
            <p:nvPr/>
          </p:nvSpPr>
          <p:spPr>
            <a:xfrm>
              <a:off x="443619" y="4156794"/>
              <a:ext cx="866523" cy="368627"/>
            </a:xfrm>
            <a:prstGeom prst="rect">
              <a:avLst/>
            </a:prstGeom>
            <a:noFill/>
          </p:spPr>
          <p:txBody>
            <a:bodyPr wrap="square" rtlCol="0">
              <a:spAutoFit/>
            </a:bodyPr>
            <a:lstStyle/>
            <a:p>
              <a:pPr>
                <a:lnSpc>
                  <a:spcPts val="1500"/>
                </a:lnSpc>
              </a:pPr>
              <a:r>
                <a:rPr lang="en-US" sz="4400" b="1" dirty="0">
                  <a:solidFill>
                    <a:schemeClr val="accent1">
                      <a:lumMod val="75000"/>
                    </a:schemeClr>
                  </a:solidFill>
                  <a:latin typeface="MetaPlusLF" panose="02000503060000020004" pitchFamily="2" charset="0"/>
                </a:rPr>
                <a:t>2</a:t>
              </a:r>
              <a:r>
                <a:rPr lang="lt-LT" sz="4400" b="1" dirty="0">
                  <a:solidFill>
                    <a:schemeClr val="accent1">
                      <a:lumMod val="75000"/>
                    </a:schemeClr>
                  </a:solidFill>
                  <a:latin typeface="MetaPlusLF" panose="02000503060000020004" pitchFamily="2" charset="0"/>
                </a:rPr>
                <a:t>9</a:t>
              </a:r>
              <a:endParaRPr lang="en-US" sz="4400" b="1" dirty="0">
                <a:solidFill>
                  <a:schemeClr val="accent1">
                    <a:lumMod val="75000"/>
                  </a:schemeClr>
                </a:solidFill>
                <a:latin typeface="MetaPlusLF" panose="02000503060000020004" pitchFamily="2" charset="0"/>
              </a:endParaRPr>
            </a:p>
          </p:txBody>
        </p:sp>
      </p:grpSp>
      <p:grpSp>
        <p:nvGrpSpPr>
          <p:cNvPr id="9" name="Group 8">
            <a:extLst>
              <a:ext uri="{FF2B5EF4-FFF2-40B4-BE49-F238E27FC236}">
                <a16:creationId xmlns:a16="http://schemas.microsoft.com/office/drawing/2014/main" id="{8E8544D5-B88A-4E86-AB16-D7A018B37D9A}"/>
              </a:ext>
            </a:extLst>
          </p:cNvPr>
          <p:cNvGrpSpPr/>
          <p:nvPr/>
        </p:nvGrpSpPr>
        <p:grpSpPr>
          <a:xfrm>
            <a:off x="4286612" y="2050603"/>
            <a:ext cx="6923145" cy="4399527"/>
            <a:chOff x="4237019" y="2050603"/>
            <a:chExt cx="6923145" cy="4399527"/>
          </a:xfrm>
        </p:grpSpPr>
        <p:graphicFrame>
          <p:nvGraphicFramePr>
            <p:cNvPr id="21" name="Chart 20">
              <a:extLst>
                <a:ext uri="{FF2B5EF4-FFF2-40B4-BE49-F238E27FC236}">
                  <a16:creationId xmlns:a16="http://schemas.microsoft.com/office/drawing/2014/main" id="{DDB6F734-EE8D-473D-8BC3-517B8059D897}"/>
                </a:ext>
              </a:extLst>
            </p:cNvPr>
            <p:cNvGraphicFramePr/>
            <p:nvPr>
              <p:extLst>
                <p:ext uri="{D42A27DB-BD31-4B8C-83A1-F6EECF244321}">
                  <p14:modId xmlns:p14="http://schemas.microsoft.com/office/powerpoint/2010/main" val="854230908"/>
                </p:ext>
              </p:extLst>
            </p:nvPr>
          </p:nvGraphicFramePr>
          <p:xfrm>
            <a:off x="4237019" y="2050603"/>
            <a:ext cx="6923145" cy="4396779"/>
          </p:xfrm>
          <a:graphic>
            <a:graphicData uri="http://schemas.openxmlformats.org/drawingml/2006/chart">
              <c:chart xmlns:c="http://schemas.openxmlformats.org/drawingml/2006/chart" xmlns:r="http://schemas.openxmlformats.org/officeDocument/2006/relationships" r:id="rId8"/>
            </a:graphicData>
          </a:graphic>
        </p:graphicFrame>
        <p:sp>
          <p:nvSpPr>
            <p:cNvPr id="22" name="Title 1">
              <a:extLst>
                <a:ext uri="{FF2B5EF4-FFF2-40B4-BE49-F238E27FC236}">
                  <a16:creationId xmlns:a16="http://schemas.microsoft.com/office/drawing/2014/main" id="{2BE2BC1C-7A55-45AF-8C13-843DD74A0109}"/>
                </a:ext>
              </a:extLst>
            </p:cNvPr>
            <p:cNvSpPr txBox="1">
              <a:spLocks/>
            </p:cNvSpPr>
            <p:nvPr/>
          </p:nvSpPr>
          <p:spPr>
            <a:xfrm>
              <a:off x="8213948" y="6096117"/>
              <a:ext cx="2828596" cy="354013"/>
            </a:xfrm>
            <a:solidFill>
              <a:schemeClr val="bg2">
                <a:lumMod val="75000"/>
              </a:schemeClr>
            </a:solidFill>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pPr>
                <a:buClr>
                  <a:schemeClr val="accent6">
                    <a:lumMod val="60000"/>
                    <a:lumOff val="40000"/>
                  </a:schemeClr>
                </a:buClr>
              </a:pPr>
              <a:r>
                <a:rPr lang="en-US" sz="1000" b="0" dirty="0">
                  <a:solidFill>
                    <a:schemeClr val="tx1">
                      <a:lumMod val="75000"/>
                      <a:lumOff val="25000"/>
                    </a:schemeClr>
                  </a:solidFill>
                </a:rPr>
                <a:t>(</a:t>
              </a:r>
              <a:r>
                <a:rPr lang="lt-LT" sz="1000" b="0" dirty="0">
                  <a:solidFill>
                    <a:schemeClr val="tx1">
                      <a:lumMod val="75000"/>
                      <a:lumOff val="25000"/>
                    </a:schemeClr>
                  </a:solidFill>
                </a:rPr>
                <a:t>Šaltinis: UAB Festo </a:t>
              </a:r>
              <a:r>
                <a:rPr lang="en-US" sz="1000" b="0" dirty="0">
                  <a:solidFill>
                    <a:schemeClr val="tx1">
                      <a:lumMod val="75000"/>
                      <a:lumOff val="25000"/>
                    </a:schemeClr>
                  </a:solidFill>
                </a:rPr>
                <a:t>202</a:t>
              </a:r>
              <a:r>
                <a:rPr lang="lt-LT" sz="1000" b="0" dirty="0">
                  <a:solidFill>
                    <a:schemeClr val="tx1">
                      <a:lumMod val="75000"/>
                      <a:lumOff val="25000"/>
                    </a:schemeClr>
                  </a:solidFill>
                </a:rPr>
                <a:t>1</a:t>
              </a:r>
              <a:r>
                <a:rPr lang="en-US" sz="1000" b="0" dirty="0">
                  <a:solidFill>
                    <a:schemeClr val="tx1">
                      <a:lumMod val="75000"/>
                      <a:lumOff val="25000"/>
                    </a:schemeClr>
                  </a:solidFill>
                </a:rPr>
                <a:t> m. </a:t>
              </a:r>
              <a:r>
                <a:rPr lang="lt-LT" sz="1000" b="0" dirty="0">
                  <a:solidFill>
                    <a:schemeClr val="tx1">
                      <a:lumMod val="75000"/>
                      <a:lumOff val="25000"/>
                    </a:schemeClr>
                  </a:solidFill>
                </a:rPr>
                <a:t>naujausi </a:t>
              </a:r>
              <a:r>
                <a:rPr lang="en-US" sz="1000" b="0" dirty="0" err="1">
                  <a:solidFill>
                    <a:schemeClr val="tx1">
                      <a:lumMod val="75000"/>
                      <a:lumOff val="25000"/>
                    </a:schemeClr>
                  </a:solidFill>
                </a:rPr>
                <a:t>duomenys</a:t>
              </a:r>
              <a:r>
                <a:rPr lang="en-US" sz="1000" b="0" dirty="0">
                  <a:solidFill>
                    <a:schemeClr val="tx1">
                      <a:lumMod val="75000"/>
                      <a:lumOff val="25000"/>
                    </a:schemeClr>
                  </a:solidFill>
                </a:rPr>
                <a:t>)</a:t>
              </a:r>
              <a:br>
                <a:rPr lang="lt-LT" sz="2400" dirty="0">
                  <a:solidFill>
                    <a:schemeClr val="accent3">
                      <a:lumMod val="75000"/>
                    </a:schemeClr>
                  </a:solidFill>
                </a:rPr>
              </a:br>
              <a:endParaRPr lang="lt-LT" sz="2400" dirty="0">
                <a:solidFill>
                  <a:schemeClr val="accent3">
                    <a:lumMod val="75000"/>
                  </a:schemeClr>
                </a:solidFill>
              </a:endParaRPr>
            </a:p>
          </p:txBody>
        </p:sp>
      </p:grpSp>
    </p:spTree>
    <p:extLst>
      <p:ext uri="{BB962C8B-B14F-4D97-AF65-F5344CB8AC3E}">
        <p14:creationId xmlns:p14="http://schemas.microsoft.com/office/powerpoint/2010/main" val="2849067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99BF4CA-3438-439E-A580-B2DCE0E97F86}"/>
              </a:ext>
            </a:extLst>
          </p:cNvPr>
          <p:cNvSpPr/>
          <p:nvPr/>
        </p:nvSpPr>
        <p:spPr>
          <a:xfrm>
            <a:off x="4397524" y="3364706"/>
            <a:ext cx="6192688" cy="5040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 name="Title 1">
            <a:extLst>
              <a:ext uri="{FF2B5EF4-FFF2-40B4-BE49-F238E27FC236}">
                <a16:creationId xmlns:a16="http://schemas.microsoft.com/office/drawing/2014/main" id="{1F8CB5AF-8EEF-4987-BEC2-76D6F408A2C1}"/>
              </a:ext>
            </a:extLst>
          </p:cNvPr>
          <p:cNvSpPr>
            <a:spLocks noGrp="1"/>
          </p:cNvSpPr>
          <p:nvPr>
            <p:ph type="title" idx="4294967295"/>
          </p:nvPr>
        </p:nvSpPr>
        <p:spPr>
          <a:xfrm>
            <a:off x="181968" y="1467981"/>
            <a:ext cx="11301413" cy="354013"/>
          </a:xfrm>
        </p:spPr>
        <p:txBody>
          <a:bodyPr/>
          <a:lstStyle/>
          <a:p>
            <a:pPr>
              <a:buClr>
                <a:schemeClr val="accent6">
                  <a:lumMod val="60000"/>
                  <a:lumOff val="40000"/>
                </a:schemeClr>
              </a:buClr>
            </a:pPr>
            <a:r>
              <a:rPr lang="lt-LT" sz="2400" dirty="0">
                <a:solidFill>
                  <a:schemeClr val="tx1">
                    <a:lumMod val="65000"/>
                    <a:lumOff val="35000"/>
                  </a:schemeClr>
                </a:solidFill>
              </a:rPr>
              <a:t>Global Festo ir UAB Festo duomenys</a:t>
            </a:r>
            <a:r>
              <a:rPr lang="en-US" sz="2400" dirty="0">
                <a:solidFill>
                  <a:schemeClr val="tx1">
                    <a:lumMod val="65000"/>
                    <a:lumOff val="35000"/>
                  </a:schemeClr>
                </a:solidFill>
              </a:rPr>
              <a:t> </a:t>
            </a:r>
            <a:r>
              <a:rPr lang="en-GB" sz="2400" dirty="0">
                <a:solidFill>
                  <a:schemeClr val="tx1">
                    <a:lumMod val="65000"/>
                    <a:lumOff val="35000"/>
                  </a:schemeClr>
                </a:solidFill>
              </a:rPr>
              <a:t>| </a:t>
            </a:r>
            <a:r>
              <a:rPr lang="lt-LT" sz="2400" dirty="0">
                <a:solidFill>
                  <a:schemeClr val="accent6">
                    <a:lumMod val="60000"/>
                    <a:lumOff val="40000"/>
                  </a:schemeClr>
                </a:solidFill>
              </a:rPr>
              <a:t>Pagrindiniai duomenys</a:t>
            </a:r>
            <a:br>
              <a:rPr lang="lt-LT" sz="2400" dirty="0">
                <a:solidFill>
                  <a:schemeClr val="accent3">
                    <a:lumMod val="75000"/>
                  </a:schemeClr>
                </a:solidFill>
              </a:rPr>
            </a:br>
            <a:endParaRPr lang="lt-LT" sz="2400" dirty="0">
              <a:solidFill>
                <a:schemeClr val="accent3">
                  <a:lumMod val="75000"/>
                </a:schemeClr>
              </a:solidFill>
            </a:endParaRPr>
          </a:p>
        </p:txBody>
      </p:sp>
      <p:grpSp>
        <p:nvGrpSpPr>
          <p:cNvPr id="5" name="Gruppieren 2">
            <a:extLst>
              <a:ext uri="{FF2B5EF4-FFF2-40B4-BE49-F238E27FC236}">
                <a16:creationId xmlns:a16="http://schemas.microsoft.com/office/drawing/2014/main" id="{D9F63FAF-5C95-43F0-A86A-051590204B56}"/>
              </a:ext>
            </a:extLst>
          </p:cNvPr>
          <p:cNvGrpSpPr/>
          <p:nvPr/>
        </p:nvGrpSpPr>
        <p:grpSpPr>
          <a:xfrm>
            <a:off x="209263" y="2033137"/>
            <a:ext cx="3778706" cy="1385918"/>
            <a:chOff x="256566" y="1791814"/>
            <a:chExt cx="5594601" cy="1428216"/>
          </a:xfrm>
          <a:solidFill>
            <a:schemeClr val="bg2">
              <a:lumMod val="85000"/>
            </a:schemeClr>
          </a:solidFill>
        </p:grpSpPr>
        <p:sp>
          <p:nvSpPr>
            <p:cNvPr id="6" name="Rechteck 27">
              <a:extLst>
                <a:ext uri="{FF2B5EF4-FFF2-40B4-BE49-F238E27FC236}">
                  <a16:creationId xmlns:a16="http://schemas.microsoft.com/office/drawing/2014/main" id="{B317EA90-DC5A-4451-8287-EC7C38D943C8}"/>
                </a:ext>
              </a:extLst>
            </p:cNvPr>
            <p:cNvSpPr/>
            <p:nvPr/>
          </p:nvSpPr>
          <p:spPr>
            <a:xfrm>
              <a:off x="261166" y="1791814"/>
              <a:ext cx="5590001" cy="13513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981075" lvl="3"/>
              <a:endParaRPr lang="en-GB" sz="1400" dirty="0">
                <a:solidFill>
                  <a:schemeClr val="tx1"/>
                </a:solidFill>
              </a:endParaRPr>
            </a:p>
          </p:txBody>
        </p:sp>
        <p:graphicFrame>
          <p:nvGraphicFramePr>
            <p:cNvPr id="7" name="Diagramm 15">
              <a:extLst>
                <a:ext uri="{FF2B5EF4-FFF2-40B4-BE49-F238E27FC236}">
                  <a16:creationId xmlns:a16="http://schemas.microsoft.com/office/drawing/2014/main" id="{49786CD8-0C6F-4668-B84F-C240AC940D27}"/>
                </a:ext>
              </a:extLst>
            </p:cNvPr>
            <p:cNvGraphicFramePr/>
            <p:nvPr/>
          </p:nvGraphicFramePr>
          <p:xfrm>
            <a:off x="256566" y="2047392"/>
            <a:ext cx="1429966" cy="1172638"/>
          </p:xfrm>
          <a:graphic>
            <a:graphicData uri="http://schemas.openxmlformats.org/drawingml/2006/chart">
              <c:chart xmlns:c="http://schemas.openxmlformats.org/drawingml/2006/chart" xmlns:r="http://schemas.openxmlformats.org/officeDocument/2006/relationships" r:id="rId2"/>
            </a:graphicData>
          </a:graphic>
        </p:graphicFrame>
      </p:grpSp>
      <p:grpSp>
        <p:nvGrpSpPr>
          <p:cNvPr id="10" name="Gruppieren 2">
            <a:extLst>
              <a:ext uri="{FF2B5EF4-FFF2-40B4-BE49-F238E27FC236}">
                <a16:creationId xmlns:a16="http://schemas.microsoft.com/office/drawing/2014/main" id="{64FD1243-5A78-4220-B5B7-164E3785C0F5}"/>
              </a:ext>
            </a:extLst>
          </p:cNvPr>
          <p:cNvGrpSpPr/>
          <p:nvPr/>
        </p:nvGrpSpPr>
        <p:grpSpPr>
          <a:xfrm>
            <a:off x="261874" y="3596063"/>
            <a:ext cx="3726095" cy="1515690"/>
            <a:chOff x="265781" y="2087415"/>
            <a:chExt cx="5594608" cy="1515690"/>
          </a:xfrm>
          <a:solidFill>
            <a:schemeClr val="bg2">
              <a:lumMod val="85000"/>
            </a:schemeClr>
          </a:solidFill>
        </p:grpSpPr>
        <p:sp>
          <p:nvSpPr>
            <p:cNvPr id="11" name="Rechteck 27">
              <a:extLst>
                <a:ext uri="{FF2B5EF4-FFF2-40B4-BE49-F238E27FC236}">
                  <a16:creationId xmlns:a16="http://schemas.microsoft.com/office/drawing/2014/main" id="{813ED7E5-4978-46A9-B9CE-0C9330F1454C}"/>
                </a:ext>
              </a:extLst>
            </p:cNvPr>
            <p:cNvSpPr/>
            <p:nvPr/>
          </p:nvSpPr>
          <p:spPr>
            <a:xfrm>
              <a:off x="265781" y="2087415"/>
              <a:ext cx="5594608" cy="11726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347788" lvl="3"/>
              <a:r>
                <a:rPr lang="lt-LT" sz="4400" b="1" dirty="0">
                  <a:solidFill>
                    <a:schemeClr val="accent4"/>
                  </a:solidFill>
                </a:rPr>
                <a:t>metai</a:t>
              </a:r>
            </a:p>
            <a:p>
              <a:pPr marL="1347788" lvl="3"/>
              <a:r>
                <a:rPr lang="lt-LT" sz="3200" b="1" dirty="0">
                  <a:solidFill>
                    <a:schemeClr val="tx1">
                      <a:lumMod val="65000"/>
                      <a:lumOff val="35000"/>
                    </a:schemeClr>
                  </a:solidFill>
                </a:rPr>
                <a:t>Lietuvoje</a:t>
              </a:r>
              <a:endParaRPr lang="en-GB" sz="3200" b="1" dirty="0">
                <a:solidFill>
                  <a:schemeClr val="tx1">
                    <a:lumMod val="65000"/>
                    <a:lumOff val="35000"/>
                  </a:schemeClr>
                </a:solidFill>
              </a:endParaRPr>
            </a:p>
          </p:txBody>
        </p:sp>
        <p:graphicFrame>
          <p:nvGraphicFramePr>
            <p:cNvPr id="12" name="Diagramm 15">
              <a:extLst>
                <a:ext uri="{FF2B5EF4-FFF2-40B4-BE49-F238E27FC236}">
                  <a16:creationId xmlns:a16="http://schemas.microsoft.com/office/drawing/2014/main" id="{4B24CA6B-CFE6-4312-9193-05A068FC83CD}"/>
                </a:ext>
              </a:extLst>
            </p:cNvPr>
            <p:cNvGraphicFramePr/>
            <p:nvPr/>
          </p:nvGraphicFramePr>
          <p:xfrm>
            <a:off x="2768164" y="2430467"/>
            <a:ext cx="1632976" cy="1172638"/>
          </p:xfrm>
          <a:graphic>
            <a:graphicData uri="http://schemas.openxmlformats.org/drawingml/2006/chart">
              <c:chart xmlns:c="http://schemas.openxmlformats.org/drawingml/2006/chart" xmlns:r="http://schemas.openxmlformats.org/officeDocument/2006/relationships" r:id="rId3"/>
            </a:graphicData>
          </a:graphic>
        </p:graphicFrame>
      </p:grpSp>
      <p:sp>
        <p:nvSpPr>
          <p:cNvPr id="13" name="Rechteck 27">
            <a:extLst>
              <a:ext uri="{FF2B5EF4-FFF2-40B4-BE49-F238E27FC236}">
                <a16:creationId xmlns:a16="http://schemas.microsoft.com/office/drawing/2014/main" id="{E73FABCD-D2B2-473E-AA3F-E74F23986FF6}"/>
              </a:ext>
            </a:extLst>
          </p:cNvPr>
          <p:cNvSpPr/>
          <p:nvPr/>
        </p:nvSpPr>
        <p:spPr>
          <a:xfrm>
            <a:off x="265792" y="5138774"/>
            <a:ext cx="3722177" cy="1311356"/>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433513" lvl="3"/>
            <a:r>
              <a:rPr lang="lt-LT" sz="4400" b="1" dirty="0">
                <a:solidFill>
                  <a:schemeClr val="accent4"/>
                </a:solidFill>
              </a:rPr>
              <a:t>&gt;460</a:t>
            </a:r>
          </a:p>
          <a:p>
            <a:pPr marL="981075" lvl="3"/>
            <a:r>
              <a:rPr lang="lt-LT" sz="1400" dirty="0">
                <a:solidFill>
                  <a:schemeClr val="tx1"/>
                </a:solidFill>
              </a:rPr>
              <a:t>Darbuotojų skaičius ofise</a:t>
            </a:r>
            <a:endParaRPr lang="en-GB" sz="1400" dirty="0">
              <a:solidFill>
                <a:schemeClr val="tx1"/>
              </a:solidFill>
            </a:endParaRPr>
          </a:p>
        </p:txBody>
      </p:sp>
      <p:graphicFrame>
        <p:nvGraphicFramePr>
          <p:cNvPr id="21" name="Chart 20">
            <a:extLst>
              <a:ext uri="{FF2B5EF4-FFF2-40B4-BE49-F238E27FC236}">
                <a16:creationId xmlns:a16="http://schemas.microsoft.com/office/drawing/2014/main" id="{DDB6F734-EE8D-473D-8BC3-517B8059D897}"/>
              </a:ext>
            </a:extLst>
          </p:cNvPr>
          <p:cNvGraphicFramePr/>
          <p:nvPr>
            <p:extLst>
              <p:ext uri="{D42A27DB-BD31-4B8C-83A1-F6EECF244321}">
                <p14:modId xmlns:p14="http://schemas.microsoft.com/office/powerpoint/2010/main" val="2665552365"/>
              </p:ext>
            </p:extLst>
          </p:nvPr>
        </p:nvGraphicFramePr>
        <p:xfrm>
          <a:off x="4321988" y="2071702"/>
          <a:ext cx="6923145" cy="4396779"/>
        </p:xfrm>
        <a:graphic>
          <a:graphicData uri="http://schemas.openxmlformats.org/drawingml/2006/chart">
            <c:chart xmlns:c="http://schemas.openxmlformats.org/drawingml/2006/chart" xmlns:r="http://schemas.openxmlformats.org/officeDocument/2006/relationships" r:id="rId4"/>
          </a:graphicData>
        </a:graphic>
      </p:graphicFrame>
      <p:grpSp>
        <p:nvGrpSpPr>
          <p:cNvPr id="16" name="Grupė 32">
            <a:extLst>
              <a:ext uri="{FF2B5EF4-FFF2-40B4-BE49-F238E27FC236}">
                <a16:creationId xmlns:a16="http://schemas.microsoft.com/office/drawing/2014/main" id="{E45550A5-2FBE-4046-990A-50E193025F7C}"/>
              </a:ext>
            </a:extLst>
          </p:cNvPr>
          <p:cNvGrpSpPr/>
          <p:nvPr/>
        </p:nvGrpSpPr>
        <p:grpSpPr>
          <a:xfrm>
            <a:off x="469636" y="2222740"/>
            <a:ext cx="2278212" cy="945371"/>
            <a:chOff x="560766" y="4292418"/>
            <a:chExt cx="1604093" cy="624647"/>
          </a:xfrm>
          <a:solidFill>
            <a:schemeClr val="accent1">
              <a:lumMod val="75000"/>
            </a:schemeClr>
          </a:solidFill>
        </p:grpSpPr>
        <p:sp>
          <p:nvSpPr>
            <p:cNvPr id="17" name="TextBox 16">
              <a:extLst>
                <a:ext uri="{FF2B5EF4-FFF2-40B4-BE49-F238E27FC236}">
                  <a16:creationId xmlns:a16="http://schemas.microsoft.com/office/drawing/2014/main" id="{04893D45-ABA4-423A-BAB2-284CCBF9F128}"/>
                </a:ext>
              </a:extLst>
            </p:cNvPr>
            <p:cNvSpPr txBox="1"/>
            <p:nvPr/>
          </p:nvSpPr>
          <p:spPr>
            <a:xfrm>
              <a:off x="1313179" y="4496034"/>
              <a:ext cx="851680" cy="320125"/>
            </a:xfrm>
            <a:prstGeom prst="rect">
              <a:avLst/>
            </a:prstGeom>
            <a:noFill/>
          </p:spPr>
          <p:txBody>
            <a:bodyPr wrap="square" rtlCol="0">
              <a:spAutoFit/>
            </a:bodyPr>
            <a:lstStyle/>
            <a:p>
              <a:pPr algn="ctr">
                <a:lnSpc>
                  <a:spcPts val="1000"/>
                </a:lnSpc>
              </a:pPr>
              <a:r>
                <a:rPr lang="lt-LT" sz="4400" b="1" dirty="0">
                  <a:solidFill>
                    <a:schemeClr val="tx1">
                      <a:lumMod val="65000"/>
                      <a:lumOff val="35000"/>
                    </a:schemeClr>
                  </a:solidFill>
                  <a:latin typeface="MetaPlusLF" panose="02000503060000020004" pitchFamily="2" charset="0"/>
                </a:rPr>
                <a:t>176</a:t>
              </a:r>
              <a:endParaRPr lang="en-US" sz="4400" b="1" dirty="0">
                <a:solidFill>
                  <a:schemeClr val="tx1">
                    <a:lumMod val="65000"/>
                    <a:lumOff val="35000"/>
                  </a:schemeClr>
                </a:solidFill>
                <a:latin typeface="MetaPlusLF" panose="02000503060000020004" pitchFamily="2" charset="0"/>
              </a:endParaRPr>
            </a:p>
            <a:p>
              <a:pPr algn="ctr">
                <a:lnSpc>
                  <a:spcPts val="1000"/>
                </a:lnSpc>
              </a:pPr>
              <a:endParaRPr lang="lt-LT" sz="1400" dirty="0">
                <a:solidFill>
                  <a:schemeClr val="bg1">
                    <a:lumMod val="50000"/>
                  </a:schemeClr>
                </a:solidFill>
                <a:latin typeface="MetaPlusLF" panose="02000503060000020004" pitchFamily="2" charset="0"/>
              </a:endParaRPr>
            </a:p>
            <a:p>
              <a:pPr algn="ctr">
                <a:lnSpc>
                  <a:spcPts val="1000"/>
                </a:lnSpc>
              </a:pPr>
              <a:r>
                <a:rPr lang="lt-LT" sz="1400" dirty="0">
                  <a:solidFill>
                    <a:schemeClr val="bg1">
                      <a:lumMod val="50000"/>
                    </a:schemeClr>
                  </a:solidFill>
                  <a:latin typeface="MetaPlusLF" panose="02000503060000020004" pitchFamily="2" charset="0"/>
                </a:rPr>
                <a:t>šalys</a:t>
              </a:r>
              <a:endParaRPr lang="en-US" sz="1400" dirty="0">
                <a:solidFill>
                  <a:schemeClr val="bg1">
                    <a:lumMod val="50000"/>
                  </a:schemeClr>
                </a:solidFill>
                <a:latin typeface="MetaPlusLF" panose="02000503060000020004" pitchFamily="2" charset="0"/>
              </a:endParaRPr>
            </a:p>
          </p:txBody>
        </p:sp>
        <p:pic>
          <p:nvPicPr>
            <p:cNvPr id="19" name="Grafinis elementas 34">
              <a:extLst>
                <a:ext uri="{FF2B5EF4-FFF2-40B4-BE49-F238E27FC236}">
                  <a16:creationId xmlns:a16="http://schemas.microsoft.com/office/drawing/2014/main" id="{1FC6E1E1-1741-4E61-B135-39AA4AD4CE2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0766" y="4292418"/>
              <a:ext cx="624647" cy="624647"/>
            </a:xfrm>
            <a:prstGeom prst="rect">
              <a:avLst/>
            </a:prstGeom>
          </p:spPr>
        </p:pic>
      </p:grpSp>
      <p:sp>
        <p:nvSpPr>
          <p:cNvPr id="20" name="TextBox 19">
            <a:extLst>
              <a:ext uri="{FF2B5EF4-FFF2-40B4-BE49-F238E27FC236}">
                <a16:creationId xmlns:a16="http://schemas.microsoft.com/office/drawing/2014/main" id="{C238E6D6-7CE5-4825-AA34-6542084990B2}"/>
              </a:ext>
            </a:extLst>
          </p:cNvPr>
          <p:cNvSpPr txBox="1"/>
          <p:nvPr/>
        </p:nvSpPr>
        <p:spPr>
          <a:xfrm>
            <a:off x="2662691" y="2789910"/>
            <a:ext cx="1156802" cy="477054"/>
          </a:xfrm>
          <a:prstGeom prst="rect">
            <a:avLst/>
          </a:prstGeom>
          <a:noFill/>
        </p:spPr>
        <p:txBody>
          <a:bodyPr wrap="square" rtlCol="0">
            <a:spAutoFit/>
          </a:bodyPr>
          <a:lstStyle/>
          <a:p>
            <a:pPr>
              <a:lnSpc>
                <a:spcPts val="1500"/>
              </a:lnSpc>
            </a:pPr>
            <a:r>
              <a:rPr lang="en-US" sz="2400" b="1" dirty="0">
                <a:solidFill>
                  <a:schemeClr val="tx1">
                    <a:lumMod val="65000"/>
                    <a:lumOff val="35000"/>
                  </a:schemeClr>
                </a:solidFill>
                <a:latin typeface="MetaPlusLF" panose="02000503060000020004" pitchFamily="2" charset="0"/>
              </a:rPr>
              <a:t>20 000</a:t>
            </a:r>
          </a:p>
          <a:p>
            <a:pPr>
              <a:lnSpc>
                <a:spcPts val="1500"/>
              </a:lnSpc>
            </a:pPr>
            <a:r>
              <a:rPr lang="en-US" sz="1400" dirty="0" err="1">
                <a:solidFill>
                  <a:schemeClr val="bg1">
                    <a:lumMod val="50000"/>
                  </a:schemeClr>
                </a:solidFill>
                <a:latin typeface="MetaPlusLF" panose="02000503060000020004" pitchFamily="2" charset="0"/>
              </a:rPr>
              <a:t>darbuotoj</a:t>
            </a:r>
            <a:r>
              <a:rPr lang="lt-LT" sz="1400" dirty="0">
                <a:solidFill>
                  <a:schemeClr val="bg1">
                    <a:lumMod val="50000"/>
                  </a:schemeClr>
                </a:solidFill>
                <a:latin typeface="MetaPlusLF" panose="02000503060000020004" pitchFamily="2" charset="0"/>
              </a:rPr>
              <a:t>ų</a:t>
            </a:r>
            <a:endParaRPr lang="en-US" sz="1400" dirty="0">
              <a:solidFill>
                <a:schemeClr val="bg1">
                  <a:lumMod val="50000"/>
                </a:schemeClr>
              </a:solidFill>
              <a:latin typeface="MetaPlusLF" panose="02000503060000020004" pitchFamily="2" charset="0"/>
            </a:endParaRPr>
          </a:p>
        </p:txBody>
      </p:sp>
      <p:pic>
        <p:nvPicPr>
          <p:cNvPr id="25" name="Grafinis elementas 43">
            <a:extLst>
              <a:ext uri="{FF2B5EF4-FFF2-40B4-BE49-F238E27FC236}">
                <a16:creationId xmlns:a16="http://schemas.microsoft.com/office/drawing/2014/main" id="{72E2B0FA-0072-4D85-846F-3DEBE7E9EE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6435" y="5481826"/>
            <a:ext cx="1153556" cy="625251"/>
          </a:xfrm>
          <a:prstGeom prst="rect">
            <a:avLst/>
          </a:prstGeom>
        </p:spPr>
      </p:pic>
      <p:sp>
        <p:nvSpPr>
          <p:cNvPr id="26" name="TextBox 25">
            <a:extLst>
              <a:ext uri="{FF2B5EF4-FFF2-40B4-BE49-F238E27FC236}">
                <a16:creationId xmlns:a16="http://schemas.microsoft.com/office/drawing/2014/main" id="{3FDD7163-0266-490B-BC39-49A845319FEA}"/>
              </a:ext>
            </a:extLst>
          </p:cNvPr>
          <p:cNvSpPr txBox="1"/>
          <p:nvPr/>
        </p:nvSpPr>
        <p:spPr>
          <a:xfrm>
            <a:off x="443619" y="4156794"/>
            <a:ext cx="866523" cy="368627"/>
          </a:xfrm>
          <a:prstGeom prst="rect">
            <a:avLst/>
          </a:prstGeom>
          <a:noFill/>
        </p:spPr>
        <p:txBody>
          <a:bodyPr wrap="square" rtlCol="0">
            <a:spAutoFit/>
          </a:bodyPr>
          <a:lstStyle/>
          <a:p>
            <a:pPr>
              <a:lnSpc>
                <a:spcPts val="1500"/>
              </a:lnSpc>
            </a:pPr>
            <a:r>
              <a:rPr lang="en-US" sz="4400" b="1" dirty="0">
                <a:solidFill>
                  <a:schemeClr val="accent1">
                    <a:lumMod val="75000"/>
                  </a:schemeClr>
                </a:solidFill>
                <a:latin typeface="MetaPlusLF" panose="02000503060000020004" pitchFamily="2" charset="0"/>
              </a:rPr>
              <a:t>2</a:t>
            </a:r>
            <a:r>
              <a:rPr lang="lt-LT" sz="4400" b="1" dirty="0">
                <a:solidFill>
                  <a:schemeClr val="accent1">
                    <a:lumMod val="75000"/>
                  </a:schemeClr>
                </a:solidFill>
                <a:latin typeface="MetaPlusLF" panose="02000503060000020004" pitchFamily="2" charset="0"/>
              </a:rPr>
              <a:t>9</a:t>
            </a:r>
            <a:endParaRPr lang="en-US" sz="4400" b="1" dirty="0">
              <a:solidFill>
                <a:schemeClr val="accent1">
                  <a:lumMod val="75000"/>
                </a:schemeClr>
              </a:solidFill>
              <a:latin typeface="MetaPlusLF" panose="02000503060000020004" pitchFamily="2" charset="0"/>
            </a:endParaRPr>
          </a:p>
        </p:txBody>
      </p:sp>
      <p:sp>
        <p:nvSpPr>
          <p:cNvPr id="22" name="Title 1">
            <a:extLst>
              <a:ext uri="{FF2B5EF4-FFF2-40B4-BE49-F238E27FC236}">
                <a16:creationId xmlns:a16="http://schemas.microsoft.com/office/drawing/2014/main" id="{2BE2BC1C-7A55-45AF-8C13-843DD74A0109}"/>
              </a:ext>
            </a:extLst>
          </p:cNvPr>
          <p:cNvSpPr txBox="1">
            <a:spLocks/>
          </p:cNvSpPr>
          <p:nvPr/>
        </p:nvSpPr>
        <p:spPr>
          <a:xfrm>
            <a:off x="8285956" y="6096117"/>
            <a:ext cx="11301413" cy="354013"/>
          </a:xfrm>
          <a:solidFill>
            <a:schemeClr val="bg2">
              <a:lumMod val="75000"/>
            </a:schemeClr>
          </a:solidFill>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pPr>
              <a:buClr>
                <a:schemeClr val="accent6">
                  <a:lumMod val="60000"/>
                  <a:lumOff val="40000"/>
                </a:schemeClr>
              </a:buClr>
            </a:pPr>
            <a:r>
              <a:rPr lang="en-US" sz="1000" b="0" dirty="0">
                <a:solidFill>
                  <a:schemeClr val="tx1">
                    <a:lumMod val="75000"/>
                    <a:lumOff val="25000"/>
                  </a:schemeClr>
                </a:solidFill>
              </a:rPr>
              <a:t>(</a:t>
            </a:r>
            <a:r>
              <a:rPr lang="lt-LT" sz="1000" b="0" dirty="0">
                <a:solidFill>
                  <a:schemeClr val="tx1">
                    <a:lumMod val="75000"/>
                    <a:lumOff val="25000"/>
                  </a:schemeClr>
                </a:solidFill>
              </a:rPr>
              <a:t>Šaltinis: UAB Festo </a:t>
            </a:r>
            <a:r>
              <a:rPr lang="en-US" sz="1000" b="0" dirty="0">
                <a:solidFill>
                  <a:schemeClr val="tx1">
                    <a:lumMod val="75000"/>
                    <a:lumOff val="25000"/>
                  </a:schemeClr>
                </a:solidFill>
              </a:rPr>
              <a:t>202</a:t>
            </a:r>
            <a:r>
              <a:rPr lang="lt-LT" sz="1000" b="0" dirty="0">
                <a:solidFill>
                  <a:schemeClr val="tx1">
                    <a:lumMod val="75000"/>
                    <a:lumOff val="25000"/>
                  </a:schemeClr>
                </a:solidFill>
              </a:rPr>
              <a:t>1</a:t>
            </a:r>
            <a:r>
              <a:rPr lang="en-US" sz="1000" b="0" dirty="0">
                <a:solidFill>
                  <a:schemeClr val="tx1">
                    <a:lumMod val="75000"/>
                    <a:lumOff val="25000"/>
                  </a:schemeClr>
                </a:solidFill>
              </a:rPr>
              <a:t> m. </a:t>
            </a:r>
            <a:r>
              <a:rPr lang="lt-LT" sz="1000" b="0" dirty="0">
                <a:solidFill>
                  <a:schemeClr val="tx1">
                    <a:lumMod val="75000"/>
                    <a:lumOff val="25000"/>
                  </a:schemeClr>
                </a:solidFill>
              </a:rPr>
              <a:t>naujausi </a:t>
            </a:r>
            <a:r>
              <a:rPr lang="en-US" sz="1000" b="0" dirty="0" err="1">
                <a:solidFill>
                  <a:schemeClr val="tx1">
                    <a:lumMod val="75000"/>
                    <a:lumOff val="25000"/>
                  </a:schemeClr>
                </a:solidFill>
              </a:rPr>
              <a:t>duomenys</a:t>
            </a:r>
            <a:r>
              <a:rPr lang="en-US" sz="1000" b="0" dirty="0">
                <a:solidFill>
                  <a:schemeClr val="tx1">
                    <a:lumMod val="75000"/>
                    <a:lumOff val="25000"/>
                  </a:schemeClr>
                </a:solidFill>
              </a:rPr>
              <a:t>)</a:t>
            </a:r>
            <a:br>
              <a:rPr lang="lt-LT" sz="2400" dirty="0">
                <a:solidFill>
                  <a:schemeClr val="accent3">
                    <a:lumMod val="75000"/>
                  </a:schemeClr>
                </a:solidFill>
              </a:rPr>
            </a:br>
            <a:endParaRPr lang="lt-LT" sz="2400" dirty="0">
              <a:solidFill>
                <a:schemeClr val="accent3">
                  <a:lumMod val="75000"/>
                </a:schemeClr>
              </a:solidFill>
            </a:endParaRPr>
          </a:p>
        </p:txBody>
      </p:sp>
    </p:spTree>
    <p:extLst>
      <p:ext uri="{BB962C8B-B14F-4D97-AF65-F5344CB8AC3E}">
        <p14:creationId xmlns:p14="http://schemas.microsoft.com/office/powerpoint/2010/main" val="5644525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A956111-9FA5-4106-92EB-414CCA056F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59" imgH="358" progId="TCLayout.ActiveDocument.1">
                  <p:embed/>
                </p:oleObj>
              </mc:Choice>
              <mc:Fallback>
                <p:oleObj name="think-cell Slide" r:id="rId35" imgW="359" imgH="358" progId="TCLayout.ActiveDocument.1">
                  <p:embed/>
                  <p:pic>
                    <p:nvPicPr>
                      <p:cNvPr id="10" name="Object 9" hidden="1">
                        <a:extLst>
                          <a:ext uri="{FF2B5EF4-FFF2-40B4-BE49-F238E27FC236}">
                            <a16:creationId xmlns:a16="http://schemas.microsoft.com/office/drawing/2014/main" id="{BA956111-9FA5-4106-92EB-414CCA056F66}"/>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cxnSp>
        <p:nvCxnSpPr>
          <p:cNvPr id="169" name="Straight Connector 168">
            <a:extLst>
              <a:ext uri="{FF2B5EF4-FFF2-40B4-BE49-F238E27FC236}">
                <a16:creationId xmlns:a16="http://schemas.microsoft.com/office/drawing/2014/main" id="{F5CE5317-EDC9-47AB-8447-10882E52EF1A}"/>
              </a:ext>
            </a:extLst>
          </p:cNvPr>
          <p:cNvCxnSpPr>
            <a:cxnSpLocks/>
          </p:cNvCxnSpPr>
          <p:nvPr/>
        </p:nvCxnSpPr>
        <p:spPr>
          <a:xfrm>
            <a:off x="9412598" y="3683067"/>
            <a:ext cx="5493" cy="848334"/>
          </a:xfrm>
          <a:prstGeom prst="line">
            <a:avLst/>
          </a:prstGeom>
          <a:ln w="12700">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sp>
        <p:nvSpPr>
          <p:cNvPr id="9" name="Rectangle 8" hidden="1">
            <a:extLst>
              <a:ext uri="{FF2B5EF4-FFF2-40B4-BE49-F238E27FC236}">
                <a16:creationId xmlns:a16="http://schemas.microsoft.com/office/drawing/2014/main" id="{418084FA-1F52-424C-BF17-DDECDDECFD97}"/>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100" b="1" u="none" strike="noStrike" kern="1200" cap="none" spc="0" normalizeH="0" noProof="0" dirty="0">
              <a:ln>
                <a:noFill/>
              </a:ln>
              <a:solidFill>
                <a:srgbClr val="FFFFFF"/>
              </a:solidFill>
              <a:effectLst/>
              <a:uLnTx/>
              <a:uFillTx/>
              <a:latin typeface="MetaPlusLF" panose="02000503060000020004" pitchFamily="2" charset="-70"/>
              <a:sym typeface="MetaPlusLF" panose="02000503060000020004" pitchFamily="2" charset="-70"/>
            </a:endParaRPr>
          </a:p>
        </p:txBody>
      </p:sp>
      <p:cxnSp>
        <p:nvCxnSpPr>
          <p:cNvPr id="92" name="Straight Connector 91">
            <a:extLst>
              <a:ext uri="{FF2B5EF4-FFF2-40B4-BE49-F238E27FC236}">
                <a16:creationId xmlns:a16="http://schemas.microsoft.com/office/drawing/2014/main" id="{43D4927B-FD41-457A-AFD2-1D3B1888C478}"/>
              </a:ext>
            </a:extLst>
          </p:cNvPr>
          <p:cNvCxnSpPr>
            <a:cxnSpLocks/>
          </p:cNvCxnSpPr>
          <p:nvPr/>
        </p:nvCxnSpPr>
        <p:spPr>
          <a:xfrm>
            <a:off x="3248058" y="3676637"/>
            <a:ext cx="0" cy="415969"/>
          </a:xfrm>
          <a:prstGeom prst="line">
            <a:avLst/>
          </a:prstGeom>
          <a:ln w="12700">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04FA5FD-3AE3-4D09-A9CC-9102A4B63E30}"/>
              </a:ext>
            </a:extLst>
          </p:cNvPr>
          <p:cNvCxnSpPr>
            <a:cxnSpLocks/>
          </p:cNvCxnSpPr>
          <p:nvPr/>
        </p:nvCxnSpPr>
        <p:spPr>
          <a:xfrm>
            <a:off x="1178339" y="3676852"/>
            <a:ext cx="0" cy="379752"/>
          </a:xfrm>
          <a:prstGeom prst="line">
            <a:avLst/>
          </a:prstGeom>
          <a:ln w="12700">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85DFB927-D003-4A6B-B162-D246253746B3}"/>
              </a:ext>
            </a:extLst>
          </p:cNvPr>
          <p:cNvCxnSpPr>
            <a:cxnSpLocks/>
            <a:endCxn id="74" idx="0"/>
          </p:cNvCxnSpPr>
          <p:nvPr/>
        </p:nvCxnSpPr>
        <p:spPr>
          <a:xfrm>
            <a:off x="3247680" y="4110361"/>
            <a:ext cx="0" cy="442276"/>
          </a:xfrm>
          <a:prstGeom prst="line">
            <a:avLst/>
          </a:prstGeom>
          <a:ln w="12700">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99BBB137-6571-41E6-B379-501C206983CF}"/>
              </a:ext>
            </a:extLst>
          </p:cNvPr>
          <p:cNvCxnSpPr>
            <a:cxnSpLocks/>
          </p:cNvCxnSpPr>
          <p:nvPr/>
        </p:nvCxnSpPr>
        <p:spPr>
          <a:xfrm>
            <a:off x="7353300" y="3686175"/>
            <a:ext cx="5493" cy="848334"/>
          </a:xfrm>
          <a:prstGeom prst="line">
            <a:avLst/>
          </a:prstGeom>
          <a:ln w="12700">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819877B-78D5-4E6B-8D7B-0689351ECAC3}"/>
              </a:ext>
            </a:extLst>
          </p:cNvPr>
          <p:cNvCxnSpPr>
            <a:cxnSpLocks/>
            <a:stCxn id="26" idx="4"/>
            <a:endCxn id="78" idx="0"/>
          </p:cNvCxnSpPr>
          <p:nvPr/>
        </p:nvCxnSpPr>
        <p:spPr>
          <a:xfrm flipH="1">
            <a:off x="5330335" y="3623891"/>
            <a:ext cx="5481" cy="922668"/>
          </a:xfrm>
          <a:prstGeom prst="line">
            <a:avLst/>
          </a:prstGeom>
          <a:ln w="12700">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a:spLocks noChangeAspect="1"/>
          </p:cNvSpPr>
          <p:nvPr/>
        </p:nvSpPr>
        <p:spPr>
          <a:xfrm>
            <a:off x="644568" y="2573704"/>
            <a:ext cx="1085679" cy="1085679"/>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2" name="Group 21"/>
          <p:cNvGrpSpPr>
            <a:grpSpLocks noChangeAspect="1"/>
          </p:cNvGrpSpPr>
          <p:nvPr/>
        </p:nvGrpSpPr>
        <p:grpSpPr>
          <a:xfrm>
            <a:off x="2678585" y="2573202"/>
            <a:ext cx="1085679" cy="1085679"/>
            <a:chOff x="1115911" y="2879929"/>
            <a:chExt cx="1338773" cy="1338773"/>
          </a:xfrm>
        </p:grpSpPr>
        <p:sp>
          <p:nvSpPr>
            <p:cNvPr id="23" name="Oval 22"/>
            <p:cNvSpPr>
              <a:spLocks noChangeAspect="1"/>
            </p:cNvSpPr>
            <p:nvPr/>
          </p:nvSpPr>
          <p:spPr>
            <a:xfrm>
              <a:off x="1115911" y="2879929"/>
              <a:ext cx="1338773" cy="1338773"/>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Oval 23"/>
            <p:cNvSpPr>
              <a:spLocks noChangeAspect="1"/>
            </p:cNvSpPr>
            <p:nvPr/>
          </p:nvSpPr>
          <p:spPr>
            <a:xfrm>
              <a:off x="1232085" y="2996103"/>
              <a:ext cx="1106424" cy="1106424"/>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5" name="Group 24"/>
          <p:cNvGrpSpPr>
            <a:grpSpLocks noChangeAspect="1"/>
          </p:cNvGrpSpPr>
          <p:nvPr/>
        </p:nvGrpSpPr>
        <p:grpSpPr>
          <a:xfrm>
            <a:off x="4792976" y="2538212"/>
            <a:ext cx="1085679" cy="1085679"/>
            <a:chOff x="1115911" y="2879929"/>
            <a:chExt cx="1338773" cy="1338773"/>
          </a:xfrm>
        </p:grpSpPr>
        <p:sp>
          <p:nvSpPr>
            <p:cNvPr id="26" name="Oval 25"/>
            <p:cNvSpPr>
              <a:spLocks noChangeAspect="1"/>
            </p:cNvSpPr>
            <p:nvPr/>
          </p:nvSpPr>
          <p:spPr>
            <a:xfrm>
              <a:off x="1115911" y="2879929"/>
              <a:ext cx="1338773" cy="1338773"/>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Oval 26"/>
            <p:cNvSpPr>
              <a:spLocks noChangeAspect="1"/>
            </p:cNvSpPr>
            <p:nvPr/>
          </p:nvSpPr>
          <p:spPr>
            <a:xfrm>
              <a:off x="1232085" y="2996103"/>
              <a:ext cx="1106424" cy="1106424"/>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8" name="Group 27"/>
          <p:cNvGrpSpPr>
            <a:grpSpLocks noChangeAspect="1"/>
          </p:cNvGrpSpPr>
          <p:nvPr/>
        </p:nvGrpSpPr>
        <p:grpSpPr>
          <a:xfrm>
            <a:off x="6814675" y="2569794"/>
            <a:ext cx="1085679" cy="1085679"/>
            <a:chOff x="1115911" y="2879929"/>
            <a:chExt cx="1338773" cy="1338773"/>
          </a:xfrm>
        </p:grpSpPr>
        <p:sp>
          <p:nvSpPr>
            <p:cNvPr id="29" name="Oval 28"/>
            <p:cNvSpPr>
              <a:spLocks noChangeAspect="1"/>
            </p:cNvSpPr>
            <p:nvPr/>
          </p:nvSpPr>
          <p:spPr>
            <a:xfrm>
              <a:off x="1115911" y="2879929"/>
              <a:ext cx="1338773" cy="1338773"/>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Oval 29"/>
            <p:cNvSpPr>
              <a:spLocks noChangeAspect="1"/>
            </p:cNvSpPr>
            <p:nvPr/>
          </p:nvSpPr>
          <p:spPr>
            <a:xfrm>
              <a:off x="1232085" y="2996103"/>
              <a:ext cx="1106424" cy="1106424"/>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1" name="Group 30"/>
          <p:cNvGrpSpPr>
            <a:grpSpLocks noChangeAspect="1"/>
          </p:cNvGrpSpPr>
          <p:nvPr/>
        </p:nvGrpSpPr>
        <p:grpSpPr>
          <a:xfrm>
            <a:off x="8875137" y="2559654"/>
            <a:ext cx="1085679" cy="1085679"/>
            <a:chOff x="1115911" y="2879929"/>
            <a:chExt cx="1338773" cy="1338773"/>
          </a:xfrm>
        </p:grpSpPr>
        <p:sp>
          <p:nvSpPr>
            <p:cNvPr id="32" name="Oval 31"/>
            <p:cNvSpPr>
              <a:spLocks noChangeAspect="1"/>
            </p:cNvSpPr>
            <p:nvPr/>
          </p:nvSpPr>
          <p:spPr>
            <a:xfrm>
              <a:off x="1115911" y="2879929"/>
              <a:ext cx="1338773" cy="1338773"/>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Oval 32"/>
            <p:cNvSpPr>
              <a:spLocks noChangeAspect="1"/>
            </p:cNvSpPr>
            <p:nvPr/>
          </p:nvSpPr>
          <p:spPr>
            <a:xfrm>
              <a:off x="1232085" y="2996103"/>
              <a:ext cx="1106424" cy="1106424"/>
            </a:xfrm>
            <a:prstGeom prst="ellipse">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5" name="Oval 34"/>
          <p:cNvSpPr>
            <a:spLocks noChangeAspect="1"/>
          </p:cNvSpPr>
          <p:nvPr/>
        </p:nvSpPr>
        <p:spPr>
          <a:xfrm>
            <a:off x="634312" y="4538903"/>
            <a:ext cx="1085679" cy="1085679"/>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TextBox 20"/>
          <p:cNvSpPr txBox="1"/>
          <p:nvPr/>
        </p:nvSpPr>
        <p:spPr>
          <a:xfrm>
            <a:off x="1422159" y="3318165"/>
            <a:ext cx="986679" cy="498598"/>
          </a:xfrm>
          <a:prstGeom prst="rect">
            <a:avLst/>
          </a:prstGeom>
          <a:noFill/>
        </p:spPr>
        <p:txBody>
          <a:bodyPr wrap="square" rtlCol="0">
            <a:spAutoFit/>
          </a:bodyPr>
          <a:lstStyle/>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en-GB" sz="1200" b="1" i="0" u="none" strike="noStrike" kern="1200" cap="none" spc="0" normalizeH="0" baseline="0" noProof="0" dirty="0">
                <a:ln>
                  <a:noFill/>
                </a:ln>
                <a:solidFill>
                  <a:srgbClr val="0091DC"/>
                </a:solidFill>
                <a:effectLst/>
                <a:uLnTx/>
                <a:uFillTx/>
                <a:latin typeface="MetaPlusLF" panose="02000503060000020004" pitchFamily="2" charset="-70"/>
              </a:rPr>
              <a:t>19</a:t>
            </a:r>
            <a:r>
              <a:rPr kumimoji="0" lang="lt-LT" sz="1200" b="1" i="0" u="none" strike="noStrike" kern="1200" cap="none" spc="0" normalizeH="0" baseline="0" noProof="0" dirty="0">
                <a:ln>
                  <a:noFill/>
                </a:ln>
                <a:solidFill>
                  <a:srgbClr val="0091DC"/>
                </a:solidFill>
                <a:effectLst/>
                <a:uLnTx/>
                <a:uFillTx/>
                <a:latin typeface="MetaPlusLF" panose="02000503060000020004" pitchFamily="2" charset="-70"/>
              </a:rPr>
              <a:t>92</a:t>
            </a:r>
            <a:r>
              <a:rPr kumimoji="0" lang="en-GB" sz="1200" b="1" i="0" u="none" strike="noStrike" kern="1200" cap="none" spc="0" normalizeH="0" baseline="0" noProof="0" dirty="0">
                <a:ln>
                  <a:noFill/>
                </a:ln>
                <a:solidFill>
                  <a:srgbClr val="0091DC"/>
                </a:solidFill>
                <a:effectLst/>
                <a:uLnTx/>
                <a:uFillTx/>
                <a:latin typeface="MetaPlusLF" panose="02000503060000020004" pitchFamily="2" charset="-70"/>
              </a:rPr>
              <a:t> </a:t>
            </a:r>
          </a:p>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MetaPlusLF" panose="02000503060000020004" pitchFamily="2" charset="-70"/>
              </a:rPr>
              <a:t>F-LT</a:t>
            </a:r>
            <a:endParaRPr kumimoji="0" lang="en-GB" sz="1200" b="1" i="0" u="none" strike="noStrike" kern="1200" cap="none" spc="0" normalizeH="0" baseline="0" noProof="0" dirty="0">
              <a:ln>
                <a:noFill/>
              </a:ln>
              <a:solidFill>
                <a:srgbClr val="000000"/>
              </a:solidFill>
              <a:effectLst/>
              <a:uLnTx/>
              <a:uFillTx/>
              <a:latin typeface="MetaPlusLF" panose="02000503060000020004" pitchFamily="2" charset="-70"/>
            </a:endParaRPr>
          </a:p>
        </p:txBody>
      </p:sp>
      <p:sp>
        <p:nvSpPr>
          <p:cNvPr id="38" name="TextBox 37"/>
          <p:cNvSpPr txBox="1"/>
          <p:nvPr/>
        </p:nvSpPr>
        <p:spPr>
          <a:xfrm>
            <a:off x="3061967" y="3333135"/>
            <a:ext cx="1798246" cy="498598"/>
          </a:xfrm>
          <a:prstGeom prst="rect">
            <a:avLst/>
          </a:prstGeom>
          <a:noFill/>
        </p:spPr>
        <p:txBody>
          <a:bodyPr wrap="square" rtlCol="0">
            <a:spAutoFit/>
          </a:bodyPr>
          <a:lstStyle/>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200" b="1" i="0" u="none" strike="noStrike" kern="1200" cap="none" spc="0" normalizeH="0" baseline="0" noProof="0" dirty="0">
                <a:ln>
                  <a:noFill/>
                </a:ln>
                <a:solidFill>
                  <a:srgbClr val="0091DC"/>
                </a:solidFill>
                <a:effectLst/>
                <a:uLnTx/>
                <a:uFillTx/>
                <a:latin typeface="MetaPlusLF"/>
                <a:ea typeface="+mn-ea"/>
              </a:rPr>
              <a:t>2006</a:t>
            </a:r>
            <a:r>
              <a:rPr kumimoji="0" lang="en-GB" sz="1200" b="1" i="0" u="none" strike="noStrike" kern="1200" cap="none" spc="0" normalizeH="0" baseline="0" noProof="0" dirty="0">
                <a:ln>
                  <a:noFill/>
                </a:ln>
                <a:solidFill>
                  <a:srgbClr val="0091DC"/>
                </a:solidFill>
                <a:effectLst/>
                <a:uLnTx/>
                <a:uFillTx/>
                <a:latin typeface="MetaPlusLF"/>
                <a:ea typeface="+mn-ea"/>
              </a:rPr>
              <a:t> </a:t>
            </a:r>
          </a:p>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200" b="0" i="0" u="none" strike="noStrike" kern="1200" cap="none" spc="0" normalizeH="0" baseline="0" noProof="0" dirty="0">
                <a:ln>
                  <a:noFill/>
                </a:ln>
                <a:solidFill>
                  <a:srgbClr val="000000"/>
                </a:solidFill>
                <a:effectLst/>
                <a:uLnTx/>
                <a:uFillTx/>
                <a:latin typeface="MetaPlusLF"/>
                <a:ea typeface="Verdana" panose="020B0604030504040204" pitchFamily="34" charset="0"/>
                <a:cs typeface="Verdana" panose="020B0604030504040204" pitchFamily="34" charset="0"/>
              </a:rPr>
              <a:t>DPC </a:t>
            </a:r>
            <a:r>
              <a:rPr lang="en-US" sz="1200" dirty="0" err="1">
                <a:solidFill>
                  <a:srgbClr val="000000"/>
                </a:solidFill>
                <a:latin typeface="MetaPlusLF"/>
                <a:ea typeface="Verdana" panose="020B0604030504040204" pitchFamily="34" charset="0"/>
                <a:cs typeface="Verdana" panose="020B0604030504040204" pitchFamily="34" charset="0"/>
              </a:rPr>
              <a:t>ir</a:t>
            </a:r>
            <a:r>
              <a:rPr lang="en-US" sz="1200" dirty="0">
                <a:solidFill>
                  <a:srgbClr val="000000"/>
                </a:solidFill>
                <a:latin typeface="MetaPlusLF"/>
                <a:ea typeface="Verdana" panose="020B0604030504040204" pitchFamily="34" charset="0"/>
                <a:cs typeface="Verdana" panose="020B0604030504040204" pitchFamily="34" charset="0"/>
              </a:rPr>
              <a:t> </a:t>
            </a:r>
            <a:r>
              <a:rPr kumimoji="0" lang="lt-LT" sz="1200" b="0" i="0" u="none" strike="noStrike" kern="1200" cap="none" spc="0" normalizeH="0" baseline="0" noProof="0" dirty="0">
                <a:ln>
                  <a:noFill/>
                </a:ln>
                <a:solidFill>
                  <a:srgbClr val="000000"/>
                </a:solidFill>
                <a:effectLst/>
                <a:uLnTx/>
                <a:uFillTx/>
                <a:latin typeface="MetaPlusLF"/>
                <a:ea typeface="Verdana" panose="020B0604030504040204" pitchFamily="34" charset="0"/>
                <a:cs typeface="Verdana" panose="020B0604030504040204" pitchFamily="34" charset="0"/>
              </a:rPr>
              <a:t> IT</a:t>
            </a:r>
            <a:endParaRPr kumimoji="0" lang="en-GB" sz="1200" b="0" i="0" u="none" strike="noStrike" kern="1200" cap="none" spc="0" normalizeH="0" baseline="0" noProof="0" dirty="0">
              <a:ln>
                <a:noFill/>
              </a:ln>
              <a:solidFill>
                <a:srgbClr val="000000"/>
              </a:solidFill>
              <a:effectLst/>
              <a:uLnTx/>
              <a:uFillTx/>
              <a:latin typeface="MetaPlusLF"/>
              <a:ea typeface="+mn-ea"/>
            </a:endParaRPr>
          </a:p>
        </p:txBody>
      </p:sp>
      <p:sp>
        <p:nvSpPr>
          <p:cNvPr id="39" name="TextBox 38"/>
          <p:cNvSpPr txBox="1"/>
          <p:nvPr/>
        </p:nvSpPr>
        <p:spPr>
          <a:xfrm>
            <a:off x="5286806" y="3392603"/>
            <a:ext cx="1849049"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lt-LT" sz="1200" b="1" i="0" u="none" strike="noStrike" kern="1200" cap="none" spc="0" normalizeH="0" baseline="0" noProof="0" dirty="0">
                <a:ln>
                  <a:noFill/>
                </a:ln>
                <a:solidFill>
                  <a:srgbClr val="0091DC"/>
                </a:solidFill>
                <a:effectLst/>
                <a:uLnTx/>
                <a:uFillTx/>
                <a:latin typeface="MetaPlusLF"/>
                <a:ea typeface="+mn-ea"/>
              </a:rPr>
              <a:t>2013</a:t>
            </a:r>
            <a:r>
              <a:rPr kumimoji="0" lang="en-GB" sz="1200" b="1" i="0" u="none" strike="noStrike" kern="1200" cap="none" spc="0" normalizeH="0" baseline="0" noProof="0" dirty="0">
                <a:ln>
                  <a:noFill/>
                </a:ln>
                <a:solidFill>
                  <a:srgbClr val="0091DC"/>
                </a:solidFill>
                <a:effectLst/>
                <a:uLnTx/>
                <a:uFillTx/>
                <a:latin typeface="MetaPlusLF"/>
                <a:ea typeface="+mn-ea"/>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MetaPlusLF" charset="0"/>
                <a:ea typeface="+mn-ea"/>
              </a:rPr>
              <a:t>Kitos</a:t>
            </a:r>
            <a:r>
              <a:rPr kumimoji="0" lang="en-US" sz="1200" b="0" i="0" u="none" strike="noStrike" kern="1200" cap="none" spc="0" normalizeH="0" baseline="0" noProof="0" dirty="0">
                <a:ln>
                  <a:noFill/>
                </a:ln>
                <a:solidFill>
                  <a:srgbClr val="000000"/>
                </a:solidFill>
                <a:effectLst/>
                <a:uLnTx/>
                <a:uFillTx/>
                <a:latin typeface="MetaPlusLF" charset="0"/>
                <a:ea typeface="+mn-ea"/>
              </a:rPr>
              <a:t> </a:t>
            </a:r>
            <a:r>
              <a:rPr kumimoji="0" lang="en-US" sz="1200" b="0" i="0" u="none" strike="noStrike" kern="1200" cap="none" spc="0" normalizeH="0" baseline="0" noProof="0" dirty="0" err="1">
                <a:ln>
                  <a:noFill/>
                </a:ln>
                <a:solidFill>
                  <a:srgbClr val="000000"/>
                </a:solidFill>
                <a:effectLst/>
                <a:uLnTx/>
                <a:uFillTx/>
                <a:latin typeface="MetaPlusLF" charset="0"/>
                <a:ea typeface="+mn-ea"/>
              </a:rPr>
              <a:t>pardavim</a:t>
            </a:r>
            <a:r>
              <a:rPr kumimoji="0" lang="lt-LT" sz="1200" b="0" i="0" u="none" strike="noStrike" kern="1200" cap="none" spc="0" normalizeH="0" baseline="0" noProof="0" dirty="0">
                <a:ln>
                  <a:noFill/>
                </a:ln>
                <a:solidFill>
                  <a:srgbClr val="000000"/>
                </a:solidFill>
                <a:effectLst/>
                <a:uLnTx/>
                <a:uFillTx/>
                <a:latin typeface="MetaPlusLF" charset="0"/>
                <a:ea typeface="+mn-ea"/>
              </a:rPr>
              <a:t>ų funkcijos</a:t>
            </a:r>
            <a:endParaRPr kumimoji="0" lang="en-US" sz="1200" b="0" i="0" u="none" strike="noStrike" kern="1200" cap="none" spc="0" normalizeH="0" baseline="0" noProof="0" dirty="0">
              <a:ln>
                <a:noFill/>
              </a:ln>
              <a:solidFill>
                <a:srgbClr val="000000"/>
              </a:solidFill>
              <a:effectLst/>
              <a:uLnTx/>
              <a:uFillTx/>
              <a:latin typeface="MetaPlusLF" charset="0"/>
              <a:ea typeface="+mn-ea"/>
            </a:endParaRPr>
          </a:p>
        </p:txBody>
      </p:sp>
      <p:sp>
        <p:nvSpPr>
          <p:cNvPr id="41" name="TextBox 40"/>
          <p:cNvSpPr txBox="1"/>
          <p:nvPr/>
        </p:nvSpPr>
        <p:spPr>
          <a:xfrm>
            <a:off x="9465940" y="3321000"/>
            <a:ext cx="2065538" cy="680186"/>
          </a:xfrm>
          <a:prstGeom prst="rect">
            <a:avLst/>
          </a:prstGeom>
          <a:noFill/>
        </p:spPr>
        <p:txBody>
          <a:bodyPr wrap="square" rtlCol="0">
            <a:spAutoFit/>
          </a:bodyPr>
          <a:lstStyle/>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200" b="1" i="0" u="none" strike="noStrike" kern="1200" cap="none" spc="0" normalizeH="0" baseline="0" noProof="0" dirty="0">
                <a:ln>
                  <a:noFill/>
                </a:ln>
                <a:solidFill>
                  <a:srgbClr val="0091DC"/>
                </a:solidFill>
                <a:effectLst/>
                <a:uLnTx/>
                <a:uFillTx/>
                <a:latin typeface="MetaPlusLF"/>
                <a:ea typeface="+mn-ea"/>
              </a:rPr>
              <a:t>2019</a:t>
            </a:r>
            <a:r>
              <a:rPr kumimoji="0" lang="en-GB" sz="1200" b="1" i="0" u="none" strike="noStrike" kern="1200" cap="none" spc="0" normalizeH="0" baseline="0" noProof="0" dirty="0">
                <a:ln>
                  <a:noFill/>
                </a:ln>
                <a:solidFill>
                  <a:srgbClr val="0091DC"/>
                </a:solidFill>
                <a:effectLst/>
                <a:uLnTx/>
                <a:uFillTx/>
                <a:latin typeface="MetaPlusLF"/>
                <a:ea typeface="+mn-ea"/>
              </a:rPr>
              <a:t> </a:t>
            </a:r>
          </a:p>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200" b="0" i="0" u="none" strike="noStrike" kern="1200" cap="none" spc="0" normalizeH="0" baseline="0" noProof="0" dirty="0">
                <a:ln>
                  <a:noFill/>
                </a:ln>
                <a:solidFill>
                  <a:srgbClr val="000000"/>
                </a:solidFill>
                <a:effectLst/>
                <a:uLnTx/>
                <a:uFillTx/>
                <a:latin typeface="MetaPlusLF"/>
                <a:ea typeface="+mn-ea"/>
              </a:rPr>
              <a:t>5 Skyriai ir virš 450 darbuotojų SSC Kaunas</a:t>
            </a:r>
            <a:endParaRPr kumimoji="0" lang="en-GB" sz="1200" b="0" i="0" u="none" strike="noStrike" kern="1200" cap="none" spc="0" normalizeH="0" baseline="0" noProof="0" dirty="0">
              <a:ln>
                <a:noFill/>
              </a:ln>
              <a:solidFill>
                <a:srgbClr val="000000"/>
              </a:solidFill>
              <a:effectLst/>
              <a:uLnTx/>
              <a:uFillTx/>
              <a:latin typeface="MetaPlusLF"/>
              <a:ea typeface="+mn-ea"/>
            </a:endParaRPr>
          </a:p>
        </p:txBody>
      </p:sp>
      <p:sp>
        <p:nvSpPr>
          <p:cNvPr id="42" name="TextBox 41"/>
          <p:cNvSpPr txBox="1"/>
          <p:nvPr/>
        </p:nvSpPr>
        <p:spPr>
          <a:xfrm>
            <a:off x="886900" y="5367304"/>
            <a:ext cx="1997064" cy="683264"/>
          </a:xfrm>
          <a:prstGeom prst="rect">
            <a:avLst/>
          </a:prstGeom>
          <a:noFill/>
        </p:spPr>
        <p:txBody>
          <a:bodyPr wrap="square" rtlCol="0">
            <a:spAutoFit/>
          </a:bodyPr>
          <a:lstStyle/>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200" b="1" i="0" u="none" strike="noStrike" kern="1200" cap="none" spc="0" normalizeH="0" baseline="0" noProof="0" dirty="0">
                <a:ln>
                  <a:noFill/>
                </a:ln>
                <a:solidFill>
                  <a:srgbClr val="0091DC"/>
                </a:solidFill>
                <a:effectLst/>
                <a:uLnTx/>
                <a:uFillTx/>
                <a:latin typeface="MetaPlusLF"/>
                <a:ea typeface="+mn-ea"/>
              </a:rPr>
              <a:t>2005</a:t>
            </a:r>
            <a:r>
              <a:rPr kumimoji="0" lang="en-GB" sz="1200" b="1" i="0" u="none" strike="noStrike" kern="1200" cap="none" spc="0" normalizeH="0" baseline="0" noProof="0" dirty="0">
                <a:ln>
                  <a:noFill/>
                </a:ln>
                <a:solidFill>
                  <a:srgbClr val="0091DC"/>
                </a:solidFill>
                <a:effectLst/>
                <a:uLnTx/>
                <a:uFillTx/>
                <a:latin typeface="MetaPlusLF"/>
                <a:ea typeface="+mn-ea"/>
              </a:rPr>
              <a:t> </a:t>
            </a:r>
          </a:p>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200" b="0" i="0" u="none" strike="noStrike" kern="1200" cap="none" spc="0" normalizeH="0" baseline="0" noProof="0" dirty="0">
                <a:ln>
                  <a:noFill/>
                </a:ln>
                <a:solidFill>
                  <a:srgbClr val="000000"/>
                </a:solidFill>
                <a:effectLst/>
                <a:uLnTx/>
                <a:uFillTx/>
                <a:latin typeface="MetaPlusLF"/>
                <a:ea typeface="Verdana" panose="020B0604030504040204" pitchFamily="34" charset="0"/>
              </a:rPr>
              <a:t>Pirmieji žingsniai link paslaugų centro (</a:t>
            </a:r>
            <a:r>
              <a:rPr kumimoji="0" lang="lt-LT" sz="1200" b="0" i="0" u="none" strike="noStrike" kern="1200" cap="none" spc="0" normalizeH="0" baseline="0" noProof="0" dirty="0">
                <a:ln>
                  <a:noFill/>
                </a:ln>
                <a:solidFill>
                  <a:srgbClr val="000000"/>
                </a:solidFill>
                <a:effectLst/>
                <a:uLnTx/>
                <a:uFillTx/>
                <a:latin typeface="MetaPlusLF"/>
                <a:ea typeface="Verdana" panose="020B0604030504040204" pitchFamily="34" charset="0"/>
                <a:cs typeface="Verdana" panose="020B0604030504040204" pitchFamily="34" charset="0"/>
              </a:rPr>
              <a:t>PM ir CRS)</a:t>
            </a:r>
            <a:endParaRPr kumimoji="0" lang="en-GB" sz="1200" b="0" i="0" u="none" strike="noStrike" kern="1200" cap="none" spc="0" normalizeH="0" baseline="0" noProof="0" dirty="0">
              <a:ln>
                <a:noFill/>
              </a:ln>
              <a:solidFill>
                <a:srgbClr val="000000"/>
              </a:solidFill>
              <a:effectLst/>
              <a:uLnTx/>
              <a:uFillTx/>
              <a:latin typeface="MetaPlusLF"/>
              <a:ea typeface="Verdana" panose="020B0604030504040204" pitchFamily="34" charset="0"/>
              <a:cs typeface="Verdana" panose="020B0604030504040204" pitchFamily="34" charset="0"/>
            </a:endParaRPr>
          </a:p>
        </p:txBody>
      </p:sp>
      <p:sp>
        <p:nvSpPr>
          <p:cNvPr id="37" name="Construction2" descr="{&quot;Key&quot;:&quot;POWER_USER_SHAPE_ICON&quot;,&quot;Value&quot;:&quot;POWER_USER_SHAPE_ICON_STYLE_1&quot;}"/>
          <p:cNvSpPr>
            <a:spLocks noChangeAspect="1" noEditPoints="1"/>
          </p:cNvSpPr>
          <p:nvPr>
            <p:custDataLst>
              <p:tags r:id="rId3"/>
            </p:custDataLst>
          </p:nvPr>
        </p:nvSpPr>
        <p:spPr bwMode="auto">
          <a:xfrm>
            <a:off x="836249" y="4778701"/>
            <a:ext cx="721355" cy="484314"/>
          </a:xfrm>
          <a:custGeom>
            <a:avLst/>
            <a:gdLst>
              <a:gd name="T0" fmla="*/ 821 w 1127"/>
              <a:gd name="T1" fmla="*/ 408 h 753"/>
              <a:gd name="T2" fmla="*/ 740 w 1127"/>
              <a:gd name="T3" fmla="*/ 424 h 753"/>
              <a:gd name="T4" fmla="*/ 669 w 1127"/>
              <a:gd name="T5" fmla="*/ 526 h 753"/>
              <a:gd name="T6" fmla="*/ 617 w 1127"/>
              <a:gd name="T7" fmla="*/ 512 h 753"/>
              <a:gd name="T8" fmla="*/ 453 w 1127"/>
              <a:gd name="T9" fmla="*/ 482 h 753"/>
              <a:gd name="T10" fmla="*/ 394 w 1127"/>
              <a:gd name="T11" fmla="*/ 355 h 753"/>
              <a:gd name="T12" fmla="*/ 360 w 1127"/>
              <a:gd name="T13" fmla="*/ 169 h 753"/>
              <a:gd name="T14" fmla="*/ 366 w 1127"/>
              <a:gd name="T15" fmla="*/ 141 h 753"/>
              <a:gd name="T16" fmla="*/ 357 w 1127"/>
              <a:gd name="T17" fmla="*/ 0 h 753"/>
              <a:gd name="T18" fmla="*/ 298 w 1127"/>
              <a:gd name="T19" fmla="*/ 109 h 753"/>
              <a:gd name="T20" fmla="*/ 283 w 1127"/>
              <a:gd name="T21" fmla="*/ 138 h 753"/>
              <a:gd name="T22" fmla="*/ 229 w 1127"/>
              <a:gd name="T23" fmla="*/ 140 h 753"/>
              <a:gd name="T24" fmla="*/ 85 w 1127"/>
              <a:gd name="T25" fmla="*/ 223 h 753"/>
              <a:gd name="T26" fmla="*/ 67 w 1127"/>
              <a:gd name="T27" fmla="*/ 333 h 753"/>
              <a:gd name="T28" fmla="*/ 64 w 1127"/>
              <a:gd name="T29" fmla="*/ 355 h 753"/>
              <a:gd name="T30" fmla="*/ 89 w 1127"/>
              <a:gd name="T31" fmla="*/ 371 h 753"/>
              <a:gd name="T32" fmla="*/ 123 w 1127"/>
              <a:gd name="T33" fmla="*/ 363 h 753"/>
              <a:gd name="T34" fmla="*/ 144 w 1127"/>
              <a:gd name="T35" fmla="*/ 367 h 753"/>
              <a:gd name="T36" fmla="*/ 140 w 1127"/>
              <a:gd name="T37" fmla="*/ 528 h 753"/>
              <a:gd name="T38" fmla="*/ 43 w 1127"/>
              <a:gd name="T39" fmla="*/ 684 h 753"/>
              <a:gd name="T40" fmla="*/ 71 w 1127"/>
              <a:gd name="T41" fmla="*/ 708 h 753"/>
              <a:gd name="T42" fmla="*/ 0 w 1127"/>
              <a:gd name="T43" fmla="*/ 718 h 753"/>
              <a:gd name="T44" fmla="*/ 1127 w 1127"/>
              <a:gd name="T45" fmla="*/ 753 h 753"/>
              <a:gd name="T46" fmla="*/ 128 w 1127"/>
              <a:gd name="T47" fmla="*/ 328 h 753"/>
              <a:gd name="T48" fmla="*/ 198 w 1127"/>
              <a:gd name="T49" fmla="*/ 223 h 753"/>
              <a:gd name="T50" fmla="*/ 193 w 1127"/>
              <a:gd name="T51" fmla="*/ 272 h 753"/>
              <a:gd name="T52" fmla="*/ 128 w 1127"/>
              <a:gd name="T53" fmla="*/ 328 h 753"/>
              <a:gd name="T54" fmla="*/ 142 w 1127"/>
              <a:gd name="T55" fmla="*/ 685 h 753"/>
              <a:gd name="T56" fmla="*/ 143 w 1127"/>
              <a:gd name="T57" fmla="*/ 656 h 753"/>
              <a:gd name="T58" fmla="*/ 223 w 1127"/>
              <a:gd name="T59" fmla="*/ 531 h 753"/>
              <a:gd name="T60" fmla="*/ 235 w 1127"/>
              <a:gd name="T61" fmla="*/ 454 h 753"/>
              <a:gd name="T62" fmla="*/ 300 w 1127"/>
              <a:gd name="T63" fmla="*/ 549 h 753"/>
              <a:gd name="T64" fmla="*/ 160 w 1127"/>
              <a:gd name="T65" fmla="*/ 719 h 753"/>
              <a:gd name="T66" fmla="*/ 303 w 1127"/>
              <a:gd name="T67" fmla="*/ 343 h 753"/>
              <a:gd name="T68" fmla="*/ 335 w 1127"/>
              <a:gd name="T69" fmla="*/ 361 h 753"/>
              <a:gd name="T70" fmla="*/ 367 w 1127"/>
              <a:gd name="T71" fmla="*/ 438 h 753"/>
              <a:gd name="T72" fmla="*/ 297 w 1127"/>
              <a:gd name="T73" fmla="*/ 382 h 753"/>
              <a:gd name="T74" fmla="*/ 535 w 1127"/>
              <a:gd name="T75" fmla="*/ 646 h 753"/>
              <a:gd name="T76" fmla="*/ 495 w 1127"/>
              <a:gd name="T77" fmla="*/ 691 h 753"/>
              <a:gd name="T78" fmla="*/ 461 w 1127"/>
              <a:gd name="T79" fmla="*/ 718 h 753"/>
              <a:gd name="T80" fmla="*/ 382 w 1127"/>
              <a:gd name="T81" fmla="*/ 670 h 753"/>
              <a:gd name="T82" fmla="*/ 375 w 1127"/>
              <a:gd name="T83" fmla="*/ 527 h 753"/>
              <a:gd name="T84" fmla="*/ 342 w 1127"/>
              <a:gd name="T85" fmla="*/ 463 h 753"/>
              <a:gd name="T86" fmla="*/ 552 w 1127"/>
              <a:gd name="T87" fmla="*/ 586 h 753"/>
              <a:gd name="T88" fmla="*/ 583 w 1127"/>
              <a:gd name="T89" fmla="*/ 616 h 753"/>
              <a:gd name="T90" fmla="*/ 548 w 1127"/>
              <a:gd name="T91" fmla="*/ 641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7" h="753">
                <a:moveTo>
                  <a:pt x="871" y="399"/>
                </a:moveTo>
                <a:cubicBezTo>
                  <a:pt x="856" y="377"/>
                  <a:pt x="827" y="404"/>
                  <a:pt x="821" y="408"/>
                </a:cubicBezTo>
                <a:cubicBezTo>
                  <a:pt x="814" y="411"/>
                  <a:pt x="818" y="409"/>
                  <a:pt x="792" y="401"/>
                </a:cubicBezTo>
                <a:cubicBezTo>
                  <a:pt x="765" y="394"/>
                  <a:pt x="746" y="411"/>
                  <a:pt x="740" y="424"/>
                </a:cubicBezTo>
                <a:cubicBezTo>
                  <a:pt x="734" y="437"/>
                  <a:pt x="697" y="511"/>
                  <a:pt x="691" y="523"/>
                </a:cubicBezTo>
                <a:cubicBezTo>
                  <a:pt x="684" y="534"/>
                  <a:pt x="669" y="526"/>
                  <a:pt x="669" y="526"/>
                </a:cubicBezTo>
                <a:cubicBezTo>
                  <a:pt x="669" y="526"/>
                  <a:pt x="643" y="511"/>
                  <a:pt x="634" y="507"/>
                </a:cubicBezTo>
                <a:cubicBezTo>
                  <a:pt x="624" y="504"/>
                  <a:pt x="617" y="512"/>
                  <a:pt x="617" y="512"/>
                </a:cubicBezTo>
                <a:lnTo>
                  <a:pt x="586" y="545"/>
                </a:lnTo>
                <a:cubicBezTo>
                  <a:pt x="586" y="545"/>
                  <a:pt x="466" y="489"/>
                  <a:pt x="453" y="482"/>
                </a:cubicBezTo>
                <a:cubicBezTo>
                  <a:pt x="440" y="474"/>
                  <a:pt x="410" y="398"/>
                  <a:pt x="401" y="382"/>
                </a:cubicBezTo>
                <a:cubicBezTo>
                  <a:pt x="392" y="367"/>
                  <a:pt x="394" y="355"/>
                  <a:pt x="394" y="355"/>
                </a:cubicBezTo>
                <a:cubicBezTo>
                  <a:pt x="394" y="355"/>
                  <a:pt x="392" y="322"/>
                  <a:pt x="391" y="262"/>
                </a:cubicBezTo>
                <a:cubicBezTo>
                  <a:pt x="391" y="203"/>
                  <a:pt x="365" y="177"/>
                  <a:pt x="360" y="169"/>
                </a:cubicBezTo>
                <a:cubicBezTo>
                  <a:pt x="355" y="161"/>
                  <a:pt x="360" y="154"/>
                  <a:pt x="360" y="154"/>
                </a:cubicBezTo>
                <a:lnTo>
                  <a:pt x="366" y="141"/>
                </a:lnTo>
                <a:cubicBezTo>
                  <a:pt x="401" y="136"/>
                  <a:pt x="428" y="107"/>
                  <a:pt x="428" y="70"/>
                </a:cubicBezTo>
                <a:cubicBezTo>
                  <a:pt x="428" y="31"/>
                  <a:pt x="396" y="0"/>
                  <a:pt x="357" y="0"/>
                </a:cubicBezTo>
                <a:cubicBezTo>
                  <a:pt x="318" y="0"/>
                  <a:pt x="287" y="31"/>
                  <a:pt x="287" y="70"/>
                </a:cubicBezTo>
                <a:cubicBezTo>
                  <a:pt x="287" y="85"/>
                  <a:pt x="291" y="98"/>
                  <a:pt x="298" y="109"/>
                </a:cubicBezTo>
                <a:cubicBezTo>
                  <a:pt x="297" y="112"/>
                  <a:pt x="297" y="118"/>
                  <a:pt x="296" y="124"/>
                </a:cubicBezTo>
                <a:cubicBezTo>
                  <a:pt x="296" y="135"/>
                  <a:pt x="283" y="138"/>
                  <a:pt x="283" y="138"/>
                </a:cubicBezTo>
                <a:cubicBezTo>
                  <a:pt x="283" y="138"/>
                  <a:pt x="252" y="137"/>
                  <a:pt x="245" y="137"/>
                </a:cubicBezTo>
                <a:cubicBezTo>
                  <a:pt x="237" y="137"/>
                  <a:pt x="229" y="140"/>
                  <a:pt x="229" y="140"/>
                </a:cubicBezTo>
                <a:cubicBezTo>
                  <a:pt x="229" y="140"/>
                  <a:pt x="110" y="200"/>
                  <a:pt x="97" y="207"/>
                </a:cubicBezTo>
                <a:cubicBezTo>
                  <a:pt x="84" y="213"/>
                  <a:pt x="85" y="223"/>
                  <a:pt x="85" y="223"/>
                </a:cubicBezTo>
                <a:lnTo>
                  <a:pt x="76" y="327"/>
                </a:lnTo>
                <a:cubicBezTo>
                  <a:pt x="76" y="327"/>
                  <a:pt x="70" y="331"/>
                  <a:pt x="67" y="333"/>
                </a:cubicBezTo>
                <a:cubicBezTo>
                  <a:pt x="64" y="335"/>
                  <a:pt x="64" y="339"/>
                  <a:pt x="64" y="339"/>
                </a:cubicBezTo>
                <a:lnTo>
                  <a:pt x="64" y="355"/>
                </a:lnTo>
                <a:cubicBezTo>
                  <a:pt x="64" y="360"/>
                  <a:pt x="71" y="362"/>
                  <a:pt x="71" y="362"/>
                </a:cubicBezTo>
                <a:cubicBezTo>
                  <a:pt x="71" y="362"/>
                  <a:pt x="84" y="368"/>
                  <a:pt x="89" y="371"/>
                </a:cubicBezTo>
                <a:cubicBezTo>
                  <a:pt x="95" y="374"/>
                  <a:pt x="97" y="371"/>
                  <a:pt x="97" y="371"/>
                </a:cubicBezTo>
                <a:cubicBezTo>
                  <a:pt x="97" y="371"/>
                  <a:pt x="118" y="365"/>
                  <a:pt x="123" y="363"/>
                </a:cubicBezTo>
                <a:cubicBezTo>
                  <a:pt x="127" y="360"/>
                  <a:pt x="131" y="360"/>
                  <a:pt x="131" y="360"/>
                </a:cubicBezTo>
                <a:lnTo>
                  <a:pt x="144" y="367"/>
                </a:lnTo>
                <a:cubicBezTo>
                  <a:pt x="144" y="367"/>
                  <a:pt x="147" y="491"/>
                  <a:pt x="147" y="506"/>
                </a:cubicBezTo>
                <a:cubicBezTo>
                  <a:pt x="147" y="520"/>
                  <a:pt x="140" y="528"/>
                  <a:pt x="140" y="528"/>
                </a:cubicBezTo>
                <a:cubicBezTo>
                  <a:pt x="140" y="528"/>
                  <a:pt x="51" y="650"/>
                  <a:pt x="41" y="663"/>
                </a:cubicBezTo>
                <a:cubicBezTo>
                  <a:pt x="32" y="676"/>
                  <a:pt x="43" y="684"/>
                  <a:pt x="43" y="684"/>
                </a:cubicBezTo>
                <a:lnTo>
                  <a:pt x="59" y="694"/>
                </a:lnTo>
                <a:cubicBezTo>
                  <a:pt x="59" y="694"/>
                  <a:pt x="71" y="701"/>
                  <a:pt x="71" y="708"/>
                </a:cubicBezTo>
                <a:cubicBezTo>
                  <a:pt x="71" y="715"/>
                  <a:pt x="61" y="718"/>
                  <a:pt x="61" y="718"/>
                </a:cubicBezTo>
                <a:lnTo>
                  <a:pt x="0" y="718"/>
                </a:lnTo>
                <a:lnTo>
                  <a:pt x="0" y="751"/>
                </a:lnTo>
                <a:lnTo>
                  <a:pt x="1127" y="753"/>
                </a:lnTo>
                <a:lnTo>
                  <a:pt x="871" y="399"/>
                </a:lnTo>
                <a:close/>
                <a:moveTo>
                  <a:pt x="128" y="328"/>
                </a:moveTo>
                <a:cubicBezTo>
                  <a:pt x="127" y="324"/>
                  <a:pt x="134" y="255"/>
                  <a:pt x="134" y="255"/>
                </a:cubicBezTo>
                <a:lnTo>
                  <a:pt x="198" y="223"/>
                </a:lnTo>
                <a:cubicBezTo>
                  <a:pt x="198" y="223"/>
                  <a:pt x="205" y="218"/>
                  <a:pt x="204" y="227"/>
                </a:cubicBezTo>
                <a:cubicBezTo>
                  <a:pt x="204" y="236"/>
                  <a:pt x="193" y="272"/>
                  <a:pt x="193" y="272"/>
                </a:cubicBezTo>
                <a:lnTo>
                  <a:pt x="158" y="343"/>
                </a:lnTo>
                <a:cubicBezTo>
                  <a:pt x="158" y="343"/>
                  <a:pt x="130" y="332"/>
                  <a:pt x="128" y="328"/>
                </a:cubicBezTo>
                <a:close/>
                <a:moveTo>
                  <a:pt x="160" y="719"/>
                </a:moveTo>
                <a:lnTo>
                  <a:pt x="142" y="685"/>
                </a:lnTo>
                <a:cubicBezTo>
                  <a:pt x="142" y="685"/>
                  <a:pt x="139" y="676"/>
                  <a:pt x="139" y="670"/>
                </a:cubicBezTo>
                <a:cubicBezTo>
                  <a:pt x="139" y="665"/>
                  <a:pt x="143" y="656"/>
                  <a:pt x="143" y="656"/>
                </a:cubicBezTo>
                <a:lnTo>
                  <a:pt x="216" y="550"/>
                </a:lnTo>
                <a:cubicBezTo>
                  <a:pt x="216" y="550"/>
                  <a:pt x="221" y="541"/>
                  <a:pt x="223" y="531"/>
                </a:cubicBezTo>
                <a:cubicBezTo>
                  <a:pt x="224" y="521"/>
                  <a:pt x="231" y="453"/>
                  <a:pt x="231" y="453"/>
                </a:cubicBezTo>
                <a:cubicBezTo>
                  <a:pt x="231" y="453"/>
                  <a:pt x="233" y="452"/>
                  <a:pt x="235" y="454"/>
                </a:cubicBezTo>
                <a:cubicBezTo>
                  <a:pt x="238" y="457"/>
                  <a:pt x="295" y="533"/>
                  <a:pt x="295" y="533"/>
                </a:cubicBezTo>
                <a:cubicBezTo>
                  <a:pt x="295" y="533"/>
                  <a:pt x="300" y="543"/>
                  <a:pt x="300" y="549"/>
                </a:cubicBezTo>
                <a:cubicBezTo>
                  <a:pt x="300" y="554"/>
                  <a:pt x="302" y="718"/>
                  <a:pt x="302" y="718"/>
                </a:cubicBezTo>
                <a:lnTo>
                  <a:pt x="160" y="719"/>
                </a:lnTo>
                <a:close/>
                <a:moveTo>
                  <a:pt x="297" y="382"/>
                </a:moveTo>
                <a:cubicBezTo>
                  <a:pt x="297" y="368"/>
                  <a:pt x="296" y="353"/>
                  <a:pt x="303" y="343"/>
                </a:cubicBezTo>
                <a:cubicBezTo>
                  <a:pt x="311" y="333"/>
                  <a:pt x="333" y="308"/>
                  <a:pt x="333" y="308"/>
                </a:cubicBezTo>
                <a:lnTo>
                  <a:pt x="335" y="361"/>
                </a:lnTo>
                <a:cubicBezTo>
                  <a:pt x="335" y="361"/>
                  <a:pt x="335" y="375"/>
                  <a:pt x="340" y="386"/>
                </a:cubicBezTo>
                <a:cubicBezTo>
                  <a:pt x="345" y="396"/>
                  <a:pt x="367" y="438"/>
                  <a:pt x="367" y="438"/>
                </a:cubicBezTo>
                <a:lnTo>
                  <a:pt x="314" y="415"/>
                </a:lnTo>
                <a:cubicBezTo>
                  <a:pt x="314" y="415"/>
                  <a:pt x="297" y="396"/>
                  <a:pt x="297" y="382"/>
                </a:cubicBezTo>
                <a:close/>
                <a:moveTo>
                  <a:pt x="548" y="641"/>
                </a:moveTo>
                <a:cubicBezTo>
                  <a:pt x="548" y="641"/>
                  <a:pt x="540" y="644"/>
                  <a:pt x="535" y="646"/>
                </a:cubicBezTo>
                <a:cubicBezTo>
                  <a:pt x="530" y="648"/>
                  <a:pt x="518" y="650"/>
                  <a:pt x="513" y="665"/>
                </a:cubicBezTo>
                <a:cubicBezTo>
                  <a:pt x="509" y="679"/>
                  <a:pt x="506" y="689"/>
                  <a:pt x="495" y="691"/>
                </a:cubicBezTo>
                <a:cubicBezTo>
                  <a:pt x="485" y="693"/>
                  <a:pt x="483" y="695"/>
                  <a:pt x="476" y="702"/>
                </a:cubicBezTo>
                <a:cubicBezTo>
                  <a:pt x="469" y="709"/>
                  <a:pt x="467" y="717"/>
                  <a:pt x="461" y="718"/>
                </a:cubicBezTo>
                <a:cubicBezTo>
                  <a:pt x="455" y="719"/>
                  <a:pt x="413" y="719"/>
                  <a:pt x="413" y="719"/>
                </a:cubicBezTo>
                <a:lnTo>
                  <a:pt x="382" y="670"/>
                </a:lnTo>
                <a:cubicBezTo>
                  <a:pt x="382" y="670"/>
                  <a:pt x="379" y="663"/>
                  <a:pt x="379" y="656"/>
                </a:cubicBezTo>
                <a:cubicBezTo>
                  <a:pt x="379" y="649"/>
                  <a:pt x="375" y="527"/>
                  <a:pt x="375" y="527"/>
                </a:cubicBezTo>
                <a:cubicBezTo>
                  <a:pt x="375" y="527"/>
                  <a:pt x="374" y="517"/>
                  <a:pt x="369" y="509"/>
                </a:cubicBezTo>
                <a:cubicBezTo>
                  <a:pt x="365" y="502"/>
                  <a:pt x="342" y="463"/>
                  <a:pt x="342" y="463"/>
                </a:cubicBezTo>
                <a:lnTo>
                  <a:pt x="564" y="571"/>
                </a:lnTo>
                <a:lnTo>
                  <a:pt x="552" y="586"/>
                </a:lnTo>
                <a:cubicBezTo>
                  <a:pt x="552" y="586"/>
                  <a:pt x="542" y="598"/>
                  <a:pt x="554" y="603"/>
                </a:cubicBezTo>
                <a:cubicBezTo>
                  <a:pt x="565" y="608"/>
                  <a:pt x="583" y="616"/>
                  <a:pt x="583" y="616"/>
                </a:cubicBezTo>
                <a:lnTo>
                  <a:pt x="584" y="621"/>
                </a:lnTo>
                <a:lnTo>
                  <a:pt x="548" y="641"/>
                </a:lnTo>
                <a:close/>
              </a:path>
            </a:pathLst>
          </a:custGeom>
          <a:solidFill>
            <a:schemeClr val="bg1"/>
          </a:solidFill>
          <a:ln w="0">
            <a:noFill/>
            <a:prstDash val="solid"/>
            <a:round/>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57" name="Microscope3" descr="{&quot;Key&quot;:&quot;POWER_USER_SHAPE_ICON&quot;,&quot;Value&quot;:&quot;POWER_USER_SHAPE_ICON_STYLE_1&quot;}"/>
          <p:cNvGrpSpPr>
            <a:grpSpLocks noChangeAspect="1"/>
          </p:cNvGrpSpPr>
          <p:nvPr>
            <p:custDataLst>
              <p:tags r:id="rId4"/>
            </p:custDataLst>
          </p:nvPr>
        </p:nvGrpSpPr>
        <p:grpSpPr bwMode="auto">
          <a:xfrm>
            <a:off x="965799" y="2850171"/>
            <a:ext cx="397464" cy="532745"/>
            <a:chOff x="897" y="335"/>
            <a:chExt cx="2656" cy="3560"/>
          </a:xfrm>
          <a:solidFill>
            <a:schemeClr val="bg1"/>
          </a:solidFill>
        </p:grpSpPr>
        <p:sp>
          <p:nvSpPr>
            <p:cNvPr id="58" name="Rectangle 41"/>
            <p:cNvSpPr>
              <a:spLocks noChangeArrowheads="1"/>
            </p:cNvSpPr>
            <p:nvPr/>
          </p:nvSpPr>
          <p:spPr bwMode="auto">
            <a:xfrm>
              <a:off x="897" y="3811"/>
              <a:ext cx="2414" cy="84"/>
            </a:xfrm>
            <a:prstGeom prst="rect">
              <a:avLst/>
            </a:prstGeom>
            <a:grpFill/>
            <a:ln w="93663"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59" name="Rectangle 42"/>
            <p:cNvSpPr>
              <a:spLocks noChangeArrowheads="1"/>
            </p:cNvSpPr>
            <p:nvPr/>
          </p:nvSpPr>
          <p:spPr bwMode="auto">
            <a:xfrm>
              <a:off x="1266" y="3609"/>
              <a:ext cx="419" cy="151"/>
            </a:xfrm>
            <a:prstGeom prst="rect">
              <a:avLst/>
            </a:prstGeom>
            <a:grpFill/>
            <a:ln w="93663"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60" name="Freeform 43"/>
            <p:cNvSpPr>
              <a:spLocks/>
            </p:cNvSpPr>
            <p:nvPr/>
          </p:nvSpPr>
          <p:spPr bwMode="auto">
            <a:xfrm>
              <a:off x="1151" y="3341"/>
              <a:ext cx="734" cy="369"/>
            </a:xfrm>
            <a:custGeom>
              <a:avLst/>
              <a:gdLst>
                <a:gd name="T0" fmla="*/ 87 w 2388"/>
                <a:gd name="T1" fmla="*/ 0 h 1198"/>
                <a:gd name="T2" fmla="*/ 2388 w 2388"/>
                <a:gd name="T3" fmla="*/ 998 h 1198"/>
                <a:gd name="T4" fmla="*/ 2301 w 2388"/>
                <a:gd name="T5" fmla="*/ 1198 h 1198"/>
                <a:gd name="T6" fmla="*/ 0 w 2388"/>
                <a:gd name="T7" fmla="*/ 200 h 1198"/>
                <a:gd name="T8" fmla="*/ 87 w 2388"/>
                <a:gd name="T9" fmla="*/ 0 h 1198"/>
              </a:gdLst>
              <a:ahLst/>
              <a:cxnLst>
                <a:cxn ang="0">
                  <a:pos x="T0" y="T1"/>
                </a:cxn>
                <a:cxn ang="0">
                  <a:pos x="T2" y="T3"/>
                </a:cxn>
                <a:cxn ang="0">
                  <a:pos x="T4" y="T5"/>
                </a:cxn>
                <a:cxn ang="0">
                  <a:pos x="T6" y="T7"/>
                </a:cxn>
                <a:cxn ang="0">
                  <a:pos x="T8" y="T9"/>
                </a:cxn>
              </a:cxnLst>
              <a:rect l="0" t="0" r="r" b="b"/>
              <a:pathLst>
                <a:path w="2388" h="1198">
                  <a:moveTo>
                    <a:pt x="87" y="0"/>
                  </a:moveTo>
                  <a:lnTo>
                    <a:pt x="2388" y="998"/>
                  </a:lnTo>
                  <a:lnTo>
                    <a:pt x="2301" y="1198"/>
                  </a:lnTo>
                  <a:lnTo>
                    <a:pt x="0" y="200"/>
                  </a:lnTo>
                  <a:lnTo>
                    <a:pt x="87" y="0"/>
                  </a:lnTo>
                  <a:close/>
                </a:path>
              </a:pathLst>
            </a:custGeom>
            <a:grpFill/>
            <a:ln w="93663"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61" name="Freeform 44"/>
            <p:cNvSpPr>
              <a:spLocks noEditPoints="1"/>
            </p:cNvSpPr>
            <p:nvPr/>
          </p:nvSpPr>
          <p:spPr bwMode="auto">
            <a:xfrm>
              <a:off x="1048" y="2823"/>
              <a:ext cx="2087" cy="974"/>
            </a:xfrm>
            <a:custGeom>
              <a:avLst/>
              <a:gdLst>
                <a:gd name="T0" fmla="*/ 4985 w 6789"/>
                <a:gd name="T1" fmla="*/ 0 h 3165"/>
                <a:gd name="T2" fmla="*/ 4976 w 6789"/>
                <a:gd name="T3" fmla="*/ 45 h 3165"/>
                <a:gd name="T4" fmla="*/ 0 w 6789"/>
                <a:gd name="T5" fmla="*/ 45 h 3165"/>
                <a:gd name="T6" fmla="*/ 0 w 6789"/>
                <a:gd name="T7" fmla="*/ 536 h 3165"/>
                <a:gd name="T8" fmla="*/ 4871 w 6789"/>
                <a:gd name="T9" fmla="*/ 536 h 3165"/>
                <a:gd name="T10" fmla="*/ 4307 w 6789"/>
                <a:gd name="T11" fmla="*/ 3165 h 3165"/>
                <a:gd name="T12" fmla="*/ 5548 w 6789"/>
                <a:gd name="T13" fmla="*/ 3157 h 3165"/>
                <a:gd name="T14" fmla="*/ 6789 w 6789"/>
                <a:gd name="T15" fmla="*/ 3165 h 3165"/>
                <a:gd name="T16" fmla="*/ 6166 w 6789"/>
                <a:gd name="T17" fmla="*/ 261 h 3165"/>
                <a:gd name="T18" fmla="*/ 6111 w 6789"/>
                <a:gd name="T19" fmla="*/ 0 h 3165"/>
                <a:gd name="T20" fmla="*/ 4985 w 6789"/>
                <a:gd name="T21" fmla="*/ 0 h 3165"/>
                <a:gd name="T22" fmla="*/ 5559 w 6789"/>
                <a:gd name="T23" fmla="*/ 261 h 3165"/>
                <a:gd name="T24" fmla="*/ 5994 w 6789"/>
                <a:gd name="T25" fmla="*/ 672 h 3165"/>
                <a:gd name="T26" fmla="*/ 5559 w 6789"/>
                <a:gd name="T27" fmla="*/ 1083 h 3165"/>
                <a:gd name="T28" fmla="*/ 5124 w 6789"/>
                <a:gd name="T29" fmla="*/ 672 h 3165"/>
                <a:gd name="T30" fmla="*/ 5559 w 6789"/>
                <a:gd name="T31" fmla="*/ 261 h 3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89" h="3165">
                  <a:moveTo>
                    <a:pt x="4985" y="0"/>
                  </a:moveTo>
                  <a:lnTo>
                    <a:pt x="4976" y="45"/>
                  </a:lnTo>
                  <a:lnTo>
                    <a:pt x="0" y="45"/>
                  </a:lnTo>
                  <a:lnTo>
                    <a:pt x="0" y="536"/>
                  </a:lnTo>
                  <a:lnTo>
                    <a:pt x="4871" y="536"/>
                  </a:lnTo>
                  <a:lnTo>
                    <a:pt x="4307" y="3165"/>
                  </a:lnTo>
                  <a:lnTo>
                    <a:pt x="5548" y="3157"/>
                  </a:lnTo>
                  <a:lnTo>
                    <a:pt x="6789" y="3165"/>
                  </a:lnTo>
                  <a:lnTo>
                    <a:pt x="6166" y="261"/>
                  </a:lnTo>
                  <a:lnTo>
                    <a:pt x="6111" y="0"/>
                  </a:lnTo>
                  <a:lnTo>
                    <a:pt x="4985" y="0"/>
                  </a:lnTo>
                  <a:close/>
                  <a:moveTo>
                    <a:pt x="5559" y="261"/>
                  </a:moveTo>
                  <a:cubicBezTo>
                    <a:pt x="5799" y="261"/>
                    <a:pt x="5994" y="445"/>
                    <a:pt x="5994" y="672"/>
                  </a:cubicBezTo>
                  <a:cubicBezTo>
                    <a:pt x="5994" y="899"/>
                    <a:pt x="5799" y="1083"/>
                    <a:pt x="5559" y="1083"/>
                  </a:cubicBezTo>
                  <a:cubicBezTo>
                    <a:pt x="5319" y="1083"/>
                    <a:pt x="5124" y="899"/>
                    <a:pt x="5124" y="672"/>
                  </a:cubicBezTo>
                  <a:cubicBezTo>
                    <a:pt x="5124" y="445"/>
                    <a:pt x="5319" y="261"/>
                    <a:pt x="5559" y="261"/>
                  </a:cubicBezTo>
                  <a:close/>
                </a:path>
              </a:pathLst>
            </a:custGeom>
            <a:grpFill/>
            <a:ln w="122238"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62" name="Freeform 45"/>
            <p:cNvSpPr>
              <a:spLocks/>
            </p:cNvSpPr>
            <p:nvPr/>
          </p:nvSpPr>
          <p:spPr bwMode="auto">
            <a:xfrm>
              <a:off x="2229" y="1083"/>
              <a:ext cx="1152" cy="1724"/>
            </a:xfrm>
            <a:custGeom>
              <a:avLst/>
              <a:gdLst>
                <a:gd name="T0" fmla="*/ 1367 w 3747"/>
                <a:gd name="T1" fmla="*/ 0 h 5598"/>
                <a:gd name="T2" fmla="*/ 0 w 3747"/>
                <a:gd name="T3" fmla="*/ 445 h 5598"/>
                <a:gd name="T4" fmla="*/ 249 w 3747"/>
                <a:gd name="T5" fmla="*/ 419 h 5598"/>
                <a:gd name="T6" fmla="*/ 2111 w 3747"/>
                <a:gd name="T7" fmla="*/ 3045 h 5598"/>
                <a:gd name="T8" fmla="*/ 837 w 3747"/>
                <a:gd name="T9" fmla="*/ 5534 h 5598"/>
                <a:gd name="T10" fmla="*/ 1367 w 3747"/>
                <a:gd name="T11" fmla="*/ 5598 h 5598"/>
                <a:gd name="T12" fmla="*/ 3747 w 3747"/>
                <a:gd name="T13" fmla="*/ 3730 h 5598"/>
                <a:gd name="T14" fmla="*/ 3629 w 3747"/>
                <a:gd name="T15" fmla="*/ 3738 h 5598"/>
                <a:gd name="T16" fmla="*/ 2642 w 3747"/>
                <a:gd name="T17" fmla="*/ 2777 h 5598"/>
                <a:gd name="T18" fmla="*/ 3629 w 3747"/>
                <a:gd name="T19" fmla="*/ 1816 h 5598"/>
                <a:gd name="T20" fmla="*/ 3731 w 3747"/>
                <a:gd name="T21" fmla="*/ 1821 h 5598"/>
                <a:gd name="T22" fmla="*/ 1367 w 3747"/>
                <a:gd name="T23" fmla="*/ 0 h 5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47" h="5598">
                  <a:moveTo>
                    <a:pt x="1367" y="0"/>
                  </a:moveTo>
                  <a:cubicBezTo>
                    <a:pt x="882" y="0"/>
                    <a:pt x="408" y="155"/>
                    <a:pt x="0" y="445"/>
                  </a:cubicBezTo>
                  <a:cubicBezTo>
                    <a:pt x="83" y="429"/>
                    <a:pt x="166" y="420"/>
                    <a:pt x="249" y="419"/>
                  </a:cubicBezTo>
                  <a:cubicBezTo>
                    <a:pt x="1278" y="419"/>
                    <a:pt x="2111" y="1595"/>
                    <a:pt x="2111" y="3045"/>
                  </a:cubicBezTo>
                  <a:cubicBezTo>
                    <a:pt x="2110" y="4175"/>
                    <a:pt x="1597" y="5177"/>
                    <a:pt x="837" y="5534"/>
                  </a:cubicBezTo>
                  <a:cubicBezTo>
                    <a:pt x="1011" y="5576"/>
                    <a:pt x="1189" y="5597"/>
                    <a:pt x="1367" y="5598"/>
                  </a:cubicBezTo>
                  <a:cubicBezTo>
                    <a:pt x="2437" y="5597"/>
                    <a:pt x="3391" y="4848"/>
                    <a:pt x="3747" y="3730"/>
                  </a:cubicBezTo>
                  <a:cubicBezTo>
                    <a:pt x="3707" y="3735"/>
                    <a:pt x="3668" y="3738"/>
                    <a:pt x="3629" y="3738"/>
                  </a:cubicBezTo>
                  <a:cubicBezTo>
                    <a:pt x="3084" y="3738"/>
                    <a:pt x="2642" y="3308"/>
                    <a:pt x="2642" y="2777"/>
                  </a:cubicBezTo>
                  <a:cubicBezTo>
                    <a:pt x="2642" y="2246"/>
                    <a:pt x="3084" y="1816"/>
                    <a:pt x="3629" y="1816"/>
                  </a:cubicBezTo>
                  <a:cubicBezTo>
                    <a:pt x="3663" y="1816"/>
                    <a:pt x="3697" y="1818"/>
                    <a:pt x="3731" y="1821"/>
                  </a:cubicBezTo>
                  <a:cubicBezTo>
                    <a:pt x="3363" y="727"/>
                    <a:pt x="2421" y="1"/>
                    <a:pt x="1367" y="0"/>
                  </a:cubicBezTo>
                  <a:close/>
                </a:path>
              </a:pathLst>
            </a:custGeom>
            <a:grpFill/>
            <a:ln w="103188"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63" name="Freeform 46"/>
            <p:cNvSpPr>
              <a:spLocks/>
            </p:cNvSpPr>
            <p:nvPr/>
          </p:nvSpPr>
          <p:spPr bwMode="auto">
            <a:xfrm>
              <a:off x="1253" y="2117"/>
              <a:ext cx="349" cy="338"/>
            </a:xfrm>
            <a:custGeom>
              <a:avLst/>
              <a:gdLst>
                <a:gd name="T0" fmla="*/ 0 w 1133"/>
                <a:gd name="T1" fmla="*/ 649 h 1099"/>
                <a:gd name="T2" fmla="*/ 737 w 1133"/>
                <a:gd name="T3" fmla="*/ 0 h 1099"/>
                <a:gd name="T4" fmla="*/ 1133 w 1133"/>
                <a:gd name="T5" fmla="*/ 450 h 1099"/>
                <a:gd name="T6" fmla="*/ 396 w 1133"/>
                <a:gd name="T7" fmla="*/ 1099 h 1099"/>
                <a:gd name="T8" fmla="*/ 0 w 1133"/>
                <a:gd name="T9" fmla="*/ 649 h 1099"/>
              </a:gdLst>
              <a:ahLst/>
              <a:cxnLst>
                <a:cxn ang="0">
                  <a:pos x="T0" y="T1"/>
                </a:cxn>
                <a:cxn ang="0">
                  <a:pos x="T2" y="T3"/>
                </a:cxn>
                <a:cxn ang="0">
                  <a:pos x="T4" y="T5"/>
                </a:cxn>
                <a:cxn ang="0">
                  <a:pos x="T6" y="T7"/>
                </a:cxn>
                <a:cxn ang="0">
                  <a:pos x="T8" y="T9"/>
                </a:cxn>
              </a:cxnLst>
              <a:rect l="0" t="0" r="r" b="b"/>
              <a:pathLst>
                <a:path w="1133" h="1099">
                  <a:moveTo>
                    <a:pt x="0" y="649"/>
                  </a:moveTo>
                  <a:lnTo>
                    <a:pt x="737" y="0"/>
                  </a:lnTo>
                  <a:lnTo>
                    <a:pt x="1133" y="450"/>
                  </a:lnTo>
                  <a:lnTo>
                    <a:pt x="396" y="1099"/>
                  </a:lnTo>
                  <a:lnTo>
                    <a:pt x="0" y="649"/>
                  </a:lnTo>
                  <a:close/>
                </a:path>
              </a:pathLst>
            </a:custGeom>
            <a:grpFill/>
            <a:ln w="93663"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64" name="Freeform 47"/>
            <p:cNvSpPr>
              <a:spLocks/>
            </p:cNvSpPr>
            <p:nvPr/>
          </p:nvSpPr>
          <p:spPr bwMode="auto">
            <a:xfrm>
              <a:off x="1237" y="1970"/>
              <a:ext cx="336" cy="250"/>
            </a:xfrm>
            <a:custGeom>
              <a:avLst/>
              <a:gdLst>
                <a:gd name="T0" fmla="*/ 141 w 1095"/>
                <a:gd name="T1" fmla="*/ 0 h 813"/>
                <a:gd name="T2" fmla="*/ 1095 w 1095"/>
                <a:gd name="T3" fmla="*/ 230 h 813"/>
                <a:gd name="T4" fmla="*/ 955 w 1095"/>
                <a:gd name="T5" fmla="*/ 813 h 813"/>
                <a:gd name="T6" fmla="*/ 0 w 1095"/>
                <a:gd name="T7" fmla="*/ 583 h 813"/>
                <a:gd name="T8" fmla="*/ 141 w 1095"/>
                <a:gd name="T9" fmla="*/ 0 h 813"/>
              </a:gdLst>
              <a:ahLst/>
              <a:cxnLst>
                <a:cxn ang="0">
                  <a:pos x="T0" y="T1"/>
                </a:cxn>
                <a:cxn ang="0">
                  <a:pos x="T2" y="T3"/>
                </a:cxn>
                <a:cxn ang="0">
                  <a:pos x="T4" y="T5"/>
                </a:cxn>
                <a:cxn ang="0">
                  <a:pos x="T6" y="T7"/>
                </a:cxn>
                <a:cxn ang="0">
                  <a:pos x="T8" y="T9"/>
                </a:cxn>
              </a:cxnLst>
              <a:rect l="0" t="0" r="r" b="b"/>
              <a:pathLst>
                <a:path w="1095" h="813">
                  <a:moveTo>
                    <a:pt x="141" y="0"/>
                  </a:moveTo>
                  <a:lnTo>
                    <a:pt x="1095" y="230"/>
                  </a:lnTo>
                  <a:lnTo>
                    <a:pt x="955" y="813"/>
                  </a:lnTo>
                  <a:lnTo>
                    <a:pt x="0" y="583"/>
                  </a:lnTo>
                  <a:lnTo>
                    <a:pt x="141" y="0"/>
                  </a:lnTo>
                  <a:close/>
                </a:path>
              </a:pathLst>
            </a:custGeom>
            <a:grpFill/>
            <a:ln w="93663"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65" name="Freeform 48"/>
            <p:cNvSpPr>
              <a:spLocks/>
            </p:cNvSpPr>
            <p:nvPr/>
          </p:nvSpPr>
          <p:spPr bwMode="auto">
            <a:xfrm>
              <a:off x="1495" y="547"/>
              <a:ext cx="1840" cy="1736"/>
            </a:xfrm>
            <a:custGeom>
              <a:avLst/>
              <a:gdLst>
                <a:gd name="T0" fmla="*/ 0 w 5986"/>
                <a:gd name="T1" fmla="*/ 4000 h 5637"/>
                <a:gd name="T2" fmla="*/ 4544 w 5986"/>
                <a:gd name="T3" fmla="*/ 0 h 5637"/>
                <a:gd name="T4" fmla="*/ 5986 w 5986"/>
                <a:gd name="T5" fmla="*/ 1637 h 5637"/>
                <a:gd name="T6" fmla="*/ 1442 w 5986"/>
                <a:gd name="T7" fmla="*/ 5637 h 5637"/>
                <a:gd name="T8" fmla="*/ 0 w 5986"/>
                <a:gd name="T9" fmla="*/ 4000 h 5637"/>
              </a:gdLst>
              <a:ahLst/>
              <a:cxnLst>
                <a:cxn ang="0">
                  <a:pos x="T0" y="T1"/>
                </a:cxn>
                <a:cxn ang="0">
                  <a:pos x="T2" y="T3"/>
                </a:cxn>
                <a:cxn ang="0">
                  <a:pos x="T4" y="T5"/>
                </a:cxn>
                <a:cxn ang="0">
                  <a:pos x="T6" y="T7"/>
                </a:cxn>
                <a:cxn ang="0">
                  <a:pos x="T8" y="T9"/>
                </a:cxn>
              </a:cxnLst>
              <a:rect l="0" t="0" r="r" b="b"/>
              <a:pathLst>
                <a:path w="5986" h="5637">
                  <a:moveTo>
                    <a:pt x="0" y="4000"/>
                  </a:moveTo>
                  <a:lnTo>
                    <a:pt x="4544" y="0"/>
                  </a:lnTo>
                  <a:lnTo>
                    <a:pt x="5986" y="1637"/>
                  </a:lnTo>
                  <a:lnTo>
                    <a:pt x="1442" y="5637"/>
                  </a:lnTo>
                  <a:lnTo>
                    <a:pt x="0" y="4000"/>
                  </a:lnTo>
                  <a:close/>
                </a:path>
              </a:pathLst>
            </a:custGeom>
            <a:grpFill/>
            <a:ln w="93663"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66" name="Freeform 49"/>
            <p:cNvSpPr>
              <a:spLocks/>
            </p:cNvSpPr>
            <p:nvPr/>
          </p:nvSpPr>
          <p:spPr bwMode="auto">
            <a:xfrm>
              <a:off x="1371" y="1814"/>
              <a:ext cx="523" cy="582"/>
            </a:xfrm>
            <a:custGeom>
              <a:avLst/>
              <a:gdLst>
                <a:gd name="T0" fmla="*/ 0 w 1700"/>
                <a:gd name="T1" fmla="*/ 138 h 1892"/>
                <a:gd name="T2" fmla="*/ 156 w 1700"/>
                <a:gd name="T3" fmla="*/ 0 h 1892"/>
                <a:gd name="T4" fmla="*/ 1700 w 1700"/>
                <a:gd name="T5" fmla="*/ 1754 h 1892"/>
                <a:gd name="T6" fmla="*/ 1543 w 1700"/>
                <a:gd name="T7" fmla="*/ 1892 h 1892"/>
                <a:gd name="T8" fmla="*/ 0 w 1700"/>
                <a:gd name="T9" fmla="*/ 138 h 1892"/>
              </a:gdLst>
              <a:ahLst/>
              <a:cxnLst>
                <a:cxn ang="0">
                  <a:pos x="T0" y="T1"/>
                </a:cxn>
                <a:cxn ang="0">
                  <a:pos x="T2" y="T3"/>
                </a:cxn>
                <a:cxn ang="0">
                  <a:pos x="T4" y="T5"/>
                </a:cxn>
                <a:cxn ang="0">
                  <a:pos x="T6" y="T7"/>
                </a:cxn>
                <a:cxn ang="0">
                  <a:pos x="T8" y="T9"/>
                </a:cxn>
              </a:cxnLst>
              <a:rect l="0" t="0" r="r" b="b"/>
              <a:pathLst>
                <a:path w="1700" h="1892">
                  <a:moveTo>
                    <a:pt x="0" y="138"/>
                  </a:moveTo>
                  <a:lnTo>
                    <a:pt x="156" y="0"/>
                  </a:lnTo>
                  <a:lnTo>
                    <a:pt x="1700" y="1754"/>
                  </a:lnTo>
                  <a:lnTo>
                    <a:pt x="1543" y="1892"/>
                  </a:lnTo>
                  <a:lnTo>
                    <a:pt x="0" y="138"/>
                  </a:lnTo>
                  <a:close/>
                </a:path>
              </a:pathLst>
            </a:custGeom>
            <a:grpFill/>
            <a:ln w="17463"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67" name="Freeform 50"/>
            <p:cNvSpPr>
              <a:spLocks/>
            </p:cNvSpPr>
            <p:nvPr/>
          </p:nvSpPr>
          <p:spPr bwMode="auto">
            <a:xfrm>
              <a:off x="1465" y="2155"/>
              <a:ext cx="251" cy="353"/>
            </a:xfrm>
            <a:custGeom>
              <a:avLst/>
              <a:gdLst>
                <a:gd name="T0" fmla="*/ 0 w 816"/>
                <a:gd name="T1" fmla="*/ 51 h 1147"/>
                <a:gd name="T2" fmla="*/ 157 w 816"/>
                <a:gd name="T3" fmla="*/ 1147 h 1147"/>
                <a:gd name="T4" fmla="*/ 816 w 816"/>
                <a:gd name="T5" fmla="*/ 1096 h 1147"/>
                <a:gd name="T6" fmla="*/ 658 w 816"/>
                <a:gd name="T7" fmla="*/ 0 h 1147"/>
                <a:gd name="T8" fmla="*/ 0 w 816"/>
                <a:gd name="T9" fmla="*/ 51 h 1147"/>
              </a:gdLst>
              <a:ahLst/>
              <a:cxnLst>
                <a:cxn ang="0">
                  <a:pos x="T0" y="T1"/>
                </a:cxn>
                <a:cxn ang="0">
                  <a:pos x="T2" y="T3"/>
                </a:cxn>
                <a:cxn ang="0">
                  <a:pos x="T4" y="T5"/>
                </a:cxn>
                <a:cxn ang="0">
                  <a:pos x="T6" y="T7"/>
                </a:cxn>
                <a:cxn ang="0">
                  <a:pos x="T8" y="T9"/>
                </a:cxn>
              </a:cxnLst>
              <a:rect l="0" t="0" r="r" b="b"/>
              <a:pathLst>
                <a:path w="816" h="1147">
                  <a:moveTo>
                    <a:pt x="0" y="51"/>
                  </a:moveTo>
                  <a:lnTo>
                    <a:pt x="157" y="1147"/>
                  </a:lnTo>
                  <a:lnTo>
                    <a:pt x="816" y="1096"/>
                  </a:lnTo>
                  <a:lnTo>
                    <a:pt x="658" y="0"/>
                  </a:lnTo>
                  <a:lnTo>
                    <a:pt x="0" y="51"/>
                  </a:lnTo>
                  <a:close/>
                </a:path>
              </a:pathLst>
            </a:custGeom>
            <a:grpFill/>
            <a:ln w="107950"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68" name="Freeform 51"/>
            <p:cNvSpPr>
              <a:spLocks/>
            </p:cNvSpPr>
            <p:nvPr/>
          </p:nvSpPr>
          <p:spPr bwMode="auto">
            <a:xfrm>
              <a:off x="3095" y="548"/>
              <a:ext cx="243" cy="254"/>
            </a:xfrm>
            <a:custGeom>
              <a:avLst/>
              <a:gdLst>
                <a:gd name="T0" fmla="*/ 0 w 791"/>
                <a:gd name="T1" fmla="*/ 252 h 825"/>
                <a:gd name="T2" fmla="*/ 287 w 791"/>
                <a:gd name="T3" fmla="*/ 0 h 825"/>
                <a:gd name="T4" fmla="*/ 791 w 791"/>
                <a:gd name="T5" fmla="*/ 573 h 825"/>
                <a:gd name="T6" fmla="*/ 505 w 791"/>
                <a:gd name="T7" fmla="*/ 825 h 825"/>
                <a:gd name="T8" fmla="*/ 0 w 791"/>
                <a:gd name="T9" fmla="*/ 252 h 825"/>
              </a:gdLst>
              <a:ahLst/>
              <a:cxnLst>
                <a:cxn ang="0">
                  <a:pos x="T0" y="T1"/>
                </a:cxn>
                <a:cxn ang="0">
                  <a:pos x="T2" y="T3"/>
                </a:cxn>
                <a:cxn ang="0">
                  <a:pos x="T4" y="T5"/>
                </a:cxn>
                <a:cxn ang="0">
                  <a:pos x="T6" y="T7"/>
                </a:cxn>
                <a:cxn ang="0">
                  <a:pos x="T8" y="T9"/>
                </a:cxn>
              </a:cxnLst>
              <a:rect l="0" t="0" r="r" b="b"/>
              <a:pathLst>
                <a:path w="791" h="825">
                  <a:moveTo>
                    <a:pt x="0" y="252"/>
                  </a:moveTo>
                  <a:lnTo>
                    <a:pt x="287" y="0"/>
                  </a:lnTo>
                  <a:lnTo>
                    <a:pt x="791" y="573"/>
                  </a:lnTo>
                  <a:lnTo>
                    <a:pt x="505" y="825"/>
                  </a:lnTo>
                  <a:lnTo>
                    <a:pt x="0" y="252"/>
                  </a:lnTo>
                  <a:close/>
                </a:path>
              </a:pathLst>
            </a:custGeom>
            <a:grpFill/>
            <a:ln w="93663"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69" name="Freeform 52"/>
            <p:cNvSpPr>
              <a:spLocks/>
            </p:cNvSpPr>
            <p:nvPr/>
          </p:nvSpPr>
          <p:spPr bwMode="auto">
            <a:xfrm>
              <a:off x="3057" y="335"/>
              <a:ext cx="483" cy="536"/>
            </a:xfrm>
            <a:custGeom>
              <a:avLst/>
              <a:gdLst>
                <a:gd name="T0" fmla="*/ 0 w 1569"/>
                <a:gd name="T1" fmla="*/ 144 h 1741"/>
                <a:gd name="T2" fmla="*/ 164 w 1569"/>
                <a:gd name="T3" fmla="*/ 0 h 1741"/>
                <a:gd name="T4" fmla="*/ 1569 w 1569"/>
                <a:gd name="T5" fmla="*/ 1596 h 1741"/>
                <a:gd name="T6" fmla="*/ 1406 w 1569"/>
                <a:gd name="T7" fmla="*/ 1741 h 1741"/>
                <a:gd name="T8" fmla="*/ 0 w 1569"/>
                <a:gd name="T9" fmla="*/ 144 h 1741"/>
              </a:gdLst>
              <a:ahLst/>
              <a:cxnLst>
                <a:cxn ang="0">
                  <a:pos x="T0" y="T1"/>
                </a:cxn>
                <a:cxn ang="0">
                  <a:pos x="T2" y="T3"/>
                </a:cxn>
                <a:cxn ang="0">
                  <a:pos x="T4" y="T5"/>
                </a:cxn>
                <a:cxn ang="0">
                  <a:pos x="T6" y="T7"/>
                </a:cxn>
                <a:cxn ang="0">
                  <a:pos x="T8" y="T9"/>
                </a:cxn>
              </a:cxnLst>
              <a:rect l="0" t="0" r="r" b="b"/>
              <a:pathLst>
                <a:path w="1569" h="1741">
                  <a:moveTo>
                    <a:pt x="0" y="144"/>
                  </a:moveTo>
                  <a:lnTo>
                    <a:pt x="164" y="0"/>
                  </a:lnTo>
                  <a:lnTo>
                    <a:pt x="1569" y="1596"/>
                  </a:lnTo>
                  <a:lnTo>
                    <a:pt x="1406" y="1741"/>
                  </a:lnTo>
                  <a:lnTo>
                    <a:pt x="0" y="144"/>
                  </a:lnTo>
                  <a:close/>
                </a:path>
              </a:pathLst>
            </a:custGeom>
            <a:grpFill/>
            <a:ln w="93663"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70" name="Oval 53"/>
            <p:cNvSpPr>
              <a:spLocks noChangeArrowheads="1"/>
            </p:cNvSpPr>
            <p:nvPr/>
          </p:nvSpPr>
          <p:spPr bwMode="auto">
            <a:xfrm>
              <a:off x="3149" y="1751"/>
              <a:ext cx="404" cy="394"/>
            </a:xfrm>
            <a:prstGeom prst="ellipse">
              <a:avLst/>
            </a:prstGeom>
            <a:grpFill/>
            <a:ln w="57150"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71" name="Oval 54"/>
            <p:cNvSpPr>
              <a:spLocks noChangeArrowheads="1"/>
            </p:cNvSpPr>
            <p:nvPr/>
          </p:nvSpPr>
          <p:spPr bwMode="auto">
            <a:xfrm>
              <a:off x="3226" y="1826"/>
              <a:ext cx="251" cy="244"/>
            </a:xfrm>
            <a:prstGeom prst="ellipse">
              <a:avLst/>
            </a:prstGeom>
            <a:grpFill/>
            <a:ln w="34925"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72" name="Freeform 55"/>
            <p:cNvSpPr>
              <a:spLocks/>
            </p:cNvSpPr>
            <p:nvPr/>
          </p:nvSpPr>
          <p:spPr bwMode="auto">
            <a:xfrm>
              <a:off x="1486" y="2102"/>
              <a:ext cx="157" cy="61"/>
            </a:xfrm>
            <a:custGeom>
              <a:avLst/>
              <a:gdLst>
                <a:gd name="T0" fmla="*/ 100 w 512"/>
                <a:gd name="T1" fmla="*/ 0 h 199"/>
                <a:gd name="T2" fmla="*/ 413 w 512"/>
                <a:gd name="T3" fmla="*/ 0 h 199"/>
                <a:gd name="T4" fmla="*/ 512 w 512"/>
                <a:gd name="T5" fmla="*/ 100 h 199"/>
                <a:gd name="T6" fmla="*/ 413 w 512"/>
                <a:gd name="T7" fmla="*/ 199 h 199"/>
                <a:gd name="T8" fmla="*/ 100 w 512"/>
                <a:gd name="T9" fmla="*/ 199 h 199"/>
                <a:gd name="T10" fmla="*/ 0 w 512"/>
                <a:gd name="T11" fmla="*/ 100 h 199"/>
                <a:gd name="T12" fmla="*/ 100 w 512"/>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512" h="199">
                  <a:moveTo>
                    <a:pt x="100" y="0"/>
                  </a:moveTo>
                  <a:lnTo>
                    <a:pt x="413" y="0"/>
                  </a:lnTo>
                  <a:cubicBezTo>
                    <a:pt x="468" y="0"/>
                    <a:pt x="512" y="44"/>
                    <a:pt x="512" y="100"/>
                  </a:cubicBezTo>
                  <a:cubicBezTo>
                    <a:pt x="512" y="155"/>
                    <a:pt x="468" y="199"/>
                    <a:pt x="413" y="199"/>
                  </a:cubicBezTo>
                  <a:lnTo>
                    <a:pt x="100" y="199"/>
                  </a:lnTo>
                  <a:cubicBezTo>
                    <a:pt x="44" y="199"/>
                    <a:pt x="0" y="155"/>
                    <a:pt x="0" y="100"/>
                  </a:cubicBezTo>
                  <a:cubicBezTo>
                    <a:pt x="0" y="44"/>
                    <a:pt x="44" y="0"/>
                    <a:pt x="100" y="0"/>
                  </a:cubicBezTo>
                  <a:close/>
                </a:path>
              </a:pathLst>
            </a:custGeom>
            <a:grpFill/>
            <a:ln w="65088" cap="rnd">
              <a:noFill/>
              <a:prstDash val="solid"/>
              <a:miter lim="800000"/>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74" name="Oval 73">
            <a:extLst>
              <a:ext uri="{FF2B5EF4-FFF2-40B4-BE49-F238E27FC236}">
                <a16:creationId xmlns:a16="http://schemas.microsoft.com/office/drawing/2014/main" id="{FBD7B9C8-ECD4-45E7-8D5A-1B0B3C4E87D7}"/>
              </a:ext>
            </a:extLst>
          </p:cNvPr>
          <p:cNvSpPr>
            <a:spLocks noChangeAspect="1"/>
          </p:cNvSpPr>
          <p:nvPr/>
        </p:nvSpPr>
        <p:spPr>
          <a:xfrm>
            <a:off x="2704840" y="4552637"/>
            <a:ext cx="1085679" cy="1085679"/>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1" i="0" u="none" strike="noStrike" kern="1200" cap="none" spc="0" normalizeH="0" baseline="0" noProof="0" dirty="0">
              <a:ln>
                <a:noFill/>
              </a:ln>
              <a:solidFill>
                <a:prstClr val="black"/>
              </a:solidFill>
              <a:effectLst/>
              <a:uLnTx/>
              <a:uFillTx/>
              <a:latin typeface="Calibri"/>
              <a:ea typeface="+mn-ea"/>
              <a:cs typeface="+mn-cs"/>
            </a:endParaRPr>
          </a:p>
        </p:txBody>
      </p:sp>
      <p:sp>
        <p:nvSpPr>
          <p:cNvPr id="76" name="Construction2" descr="{&quot;Key&quot;:&quot;POWER_USER_SHAPE_ICON&quot;,&quot;Value&quot;:&quot;POWER_USER_SHAPE_ICON_STYLE_1&quot;}">
            <a:extLst>
              <a:ext uri="{FF2B5EF4-FFF2-40B4-BE49-F238E27FC236}">
                <a16:creationId xmlns:a16="http://schemas.microsoft.com/office/drawing/2014/main" id="{5B9712B4-EC0F-437E-AA45-CED6B9B11CED}"/>
              </a:ext>
            </a:extLst>
          </p:cNvPr>
          <p:cNvSpPr>
            <a:spLocks noChangeAspect="1" noEditPoints="1"/>
          </p:cNvSpPr>
          <p:nvPr>
            <p:custDataLst>
              <p:tags r:id="rId5"/>
            </p:custDataLst>
          </p:nvPr>
        </p:nvSpPr>
        <p:spPr bwMode="auto">
          <a:xfrm>
            <a:off x="2897152" y="4830936"/>
            <a:ext cx="721355" cy="484314"/>
          </a:xfrm>
          <a:custGeom>
            <a:avLst/>
            <a:gdLst>
              <a:gd name="T0" fmla="*/ 821 w 1127"/>
              <a:gd name="T1" fmla="*/ 408 h 753"/>
              <a:gd name="T2" fmla="*/ 740 w 1127"/>
              <a:gd name="T3" fmla="*/ 424 h 753"/>
              <a:gd name="T4" fmla="*/ 669 w 1127"/>
              <a:gd name="T5" fmla="*/ 526 h 753"/>
              <a:gd name="T6" fmla="*/ 617 w 1127"/>
              <a:gd name="T7" fmla="*/ 512 h 753"/>
              <a:gd name="T8" fmla="*/ 453 w 1127"/>
              <a:gd name="T9" fmla="*/ 482 h 753"/>
              <a:gd name="T10" fmla="*/ 394 w 1127"/>
              <a:gd name="T11" fmla="*/ 355 h 753"/>
              <a:gd name="T12" fmla="*/ 360 w 1127"/>
              <a:gd name="T13" fmla="*/ 169 h 753"/>
              <a:gd name="T14" fmla="*/ 366 w 1127"/>
              <a:gd name="T15" fmla="*/ 141 h 753"/>
              <a:gd name="T16" fmla="*/ 357 w 1127"/>
              <a:gd name="T17" fmla="*/ 0 h 753"/>
              <a:gd name="T18" fmla="*/ 298 w 1127"/>
              <a:gd name="T19" fmla="*/ 109 h 753"/>
              <a:gd name="T20" fmla="*/ 283 w 1127"/>
              <a:gd name="T21" fmla="*/ 138 h 753"/>
              <a:gd name="T22" fmla="*/ 229 w 1127"/>
              <a:gd name="T23" fmla="*/ 140 h 753"/>
              <a:gd name="T24" fmla="*/ 85 w 1127"/>
              <a:gd name="T25" fmla="*/ 223 h 753"/>
              <a:gd name="T26" fmla="*/ 67 w 1127"/>
              <a:gd name="T27" fmla="*/ 333 h 753"/>
              <a:gd name="T28" fmla="*/ 64 w 1127"/>
              <a:gd name="T29" fmla="*/ 355 h 753"/>
              <a:gd name="T30" fmla="*/ 89 w 1127"/>
              <a:gd name="T31" fmla="*/ 371 h 753"/>
              <a:gd name="T32" fmla="*/ 123 w 1127"/>
              <a:gd name="T33" fmla="*/ 363 h 753"/>
              <a:gd name="T34" fmla="*/ 144 w 1127"/>
              <a:gd name="T35" fmla="*/ 367 h 753"/>
              <a:gd name="T36" fmla="*/ 140 w 1127"/>
              <a:gd name="T37" fmla="*/ 528 h 753"/>
              <a:gd name="T38" fmla="*/ 43 w 1127"/>
              <a:gd name="T39" fmla="*/ 684 h 753"/>
              <a:gd name="T40" fmla="*/ 71 w 1127"/>
              <a:gd name="T41" fmla="*/ 708 h 753"/>
              <a:gd name="T42" fmla="*/ 0 w 1127"/>
              <a:gd name="T43" fmla="*/ 718 h 753"/>
              <a:gd name="T44" fmla="*/ 1127 w 1127"/>
              <a:gd name="T45" fmla="*/ 753 h 753"/>
              <a:gd name="T46" fmla="*/ 128 w 1127"/>
              <a:gd name="T47" fmla="*/ 328 h 753"/>
              <a:gd name="T48" fmla="*/ 198 w 1127"/>
              <a:gd name="T49" fmla="*/ 223 h 753"/>
              <a:gd name="T50" fmla="*/ 193 w 1127"/>
              <a:gd name="T51" fmla="*/ 272 h 753"/>
              <a:gd name="T52" fmla="*/ 128 w 1127"/>
              <a:gd name="T53" fmla="*/ 328 h 753"/>
              <a:gd name="T54" fmla="*/ 142 w 1127"/>
              <a:gd name="T55" fmla="*/ 685 h 753"/>
              <a:gd name="T56" fmla="*/ 143 w 1127"/>
              <a:gd name="T57" fmla="*/ 656 h 753"/>
              <a:gd name="T58" fmla="*/ 223 w 1127"/>
              <a:gd name="T59" fmla="*/ 531 h 753"/>
              <a:gd name="T60" fmla="*/ 235 w 1127"/>
              <a:gd name="T61" fmla="*/ 454 h 753"/>
              <a:gd name="T62" fmla="*/ 300 w 1127"/>
              <a:gd name="T63" fmla="*/ 549 h 753"/>
              <a:gd name="T64" fmla="*/ 160 w 1127"/>
              <a:gd name="T65" fmla="*/ 719 h 753"/>
              <a:gd name="T66" fmla="*/ 303 w 1127"/>
              <a:gd name="T67" fmla="*/ 343 h 753"/>
              <a:gd name="T68" fmla="*/ 335 w 1127"/>
              <a:gd name="T69" fmla="*/ 361 h 753"/>
              <a:gd name="T70" fmla="*/ 367 w 1127"/>
              <a:gd name="T71" fmla="*/ 438 h 753"/>
              <a:gd name="T72" fmla="*/ 297 w 1127"/>
              <a:gd name="T73" fmla="*/ 382 h 753"/>
              <a:gd name="T74" fmla="*/ 535 w 1127"/>
              <a:gd name="T75" fmla="*/ 646 h 753"/>
              <a:gd name="T76" fmla="*/ 495 w 1127"/>
              <a:gd name="T77" fmla="*/ 691 h 753"/>
              <a:gd name="T78" fmla="*/ 461 w 1127"/>
              <a:gd name="T79" fmla="*/ 718 h 753"/>
              <a:gd name="T80" fmla="*/ 382 w 1127"/>
              <a:gd name="T81" fmla="*/ 670 h 753"/>
              <a:gd name="T82" fmla="*/ 375 w 1127"/>
              <a:gd name="T83" fmla="*/ 527 h 753"/>
              <a:gd name="T84" fmla="*/ 342 w 1127"/>
              <a:gd name="T85" fmla="*/ 463 h 753"/>
              <a:gd name="T86" fmla="*/ 552 w 1127"/>
              <a:gd name="T87" fmla="*/ 586 h 753"/>
              <a:gd name="T88" fmla="*/ 583 w 1127"/>
              <a:gd name="T89" fmla="*/ 616 h 753"/>
              <a:gd name="T90" fmla="*/ 548 w 1127"/>
              <a:gd name="T91" fmla="*/ 641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7" h="753">
                <a:moveTo>
                  <a:pt x="871" y="399"/>
                </a:moveTo>
                <a:cubicBezTo>
                  <a:pt x="856" y="377"/>
                  <a:pt x="827" y="404"/>
                  <a:pt x="821" y="408"/>
                </a:cubicBezTo>
                <a:cubicBezTo>
                  <a:pt x="814" y="411"/>
                  <a:pt x="818" y="409"/>
                  <a:pt x="792" y="401"/>
                </a:cubicBezTo>
                <a:cubicBezTo>
                  <a:pt x="765" y="394"/>
                  <a:pt x="746" y="411"/>
                  <a:pt x="740" y="424"/>
                </a:cubicBezTo>
                <a:cubicBezTo>
                  <a:pt x="734" y="437"/>
                  <a:pt x="697" y="511"/>
                  <a:pt x="691" y="523"/>
                </a:cubicBezTo>
                <a:cubicBezTo>
                  <a:pt x="684" y="534"/>
                  <a:pt x="669" y="526"/>
                  <a:pt x="669" y="526"/>
                </a:cubicBezTo>
                <a:cubicBezTo>
                  <a:pt x="669" y="526"/>
                  <a:pt x="643" y="511"/>
                  <a:pt x="634" y="507"/>
                </a:cubicBezTo>
                <a:cubicBezTo>
                  <a:pt x="624" y="504"/>
                  <a:pt x="617" y="512"/>
                  <a:pt x="617" y="512"/>
                </a:cubicBezTo>
                <a:lnTo>
                  <a:pt x="586" y="545"/>
                </a:lnTo>
                <a:cubicBezTo>
                  <a:pt x="586" y="545"/>
                  <a:pt x="466" y="489"/>
                  <a:pt x="453" y="482"/>
                </a:cubicBezTo>
                <a:cubicBezTo>
                  <a:pt x="440" y="474"/>
                  <a:pt x="410" y="398"/>
                  <a:pt x="401" y="382"/>
                </a:cubicBezTo>
                <a:cubicBezTo>
                  <a:pt x="392" y="367"/>
                  <a:pt x="394" y="355"/>
                  <a:pt x="394" y="355"/>
                </a:cubicBezTo>
                <a:cubicBezTo>
                  <a:pt x="394" y="355"/>
                  <a:pt x="392" y="322"/>
                  <a:pt x="391" y="262"/>
                </a:cubicBezTo>
                <a:cubicBezTo>
                  <a:pt x="391" y="203"/>
                  <a:pt x="365" y="177"/>
                  <a:pt x="360" y="169"/>
                </a:cubicBezTo>
                <a:cubicBezTo>
                  <a:pt x="355" y="161"/>
                  <a:pt x="360" y="154"/>
                  <a:pt x="360" y="154"/>
                </a:cubicBezTo>
                <a:lnTo>
                  <a:pt x="366" y="141"/>
                </a:lnTo>
                <a:cubicBezTo>
                  <a:pt x="401" y="136"/>
                  <a:pt x="428" y="107"/>
                  <a:pt x="428" y="70"/>
                </a:cubicBezTo>
                <a:cubicBezTo>
                  <a:pt x="428" y="31"/>
                  <a:pt x="396" y="0"/>
                  <a:pt x="357" y="0"/>
                </a:cubicBezTo>
                <a:cubicBezTo>
                  <a:pt x="318" y="0"/>
                  <a:pt x="287" y="31"/>
                  <a:pt x="287" y="70"/>
                </a:cubicBezTo>
                <a:cubicBezTo>
                  <a:pt x="287" y="85"/>
                  <a:pt x="291" y="98"/>
                  <a:pt x="298" y="109"/>
                </a:cubicBezTo>
                <a:cubicBezTo>
                  <a:pt x="297" y="112"/>
                  <a:pt x="297" y="118"/>
                  <a:pt x="296" y="124"/>
                </a:cubicBezTo>
                <a:cubicBezTo>
                  <a:pt x="296" y="135"/>
                  <a:pt x="283" y="138"/>
                  <a:pt x="283" y="138"/>
                </a:cubicBezTo>
                <a:cubicBezTo>
                  <a:pt x="283" y="138"/>
                  <a:pt x="252" y="137"/>
                  <a:pt x="245" y="137"/>
                </a:cubicBezTo>
                <a:cubicBezTo>
                  <a:pt x="237" y="137"/>
                  <a:pt x="229" y="140"/>
                  <a:pt x="229" y="140"/>
                </a:cubicBezTo>
                <a:cubicBezTo>
                  <a:pt x="229" y="140"/>
                  <a:pt x="110" y="200"/>
                  <a:pt x="97" y="207"/>
                </a:cubicBezTo>
                <a:cubicBezTo>
                  <a:pt x="84" y="213"/>
                  <a:pt x="85" y="223"/>
                  <a:pt x="85" y="223"/>
                </a:cubicBezTo>
                <a:lnTo>
                  <a:pt x="76" y="327"/>
                </a:lnTo>
                <a:cubicBezTo>
                  <a:pt x="76" y="327"/>
                  <a:pt x="70" y="331"/>
                  <a:pt x="67" y="333"/>
                </a:cubicBezTo>
                <a:cubicBezTo>
                  <a:pt x="64" y="335"/>
                  <a:pt x="64" y="339"/>
                  <a:pt x="64" y="339"/>
                </a:cubicBezTo>
                <a:lnTo>
                  <a:pt x="64" y="355"/>
                </a:lnTo>
                <a:cubicBezTo>
                  <a:pt x="64" y="360"/>
                  <a:pt x="71" y="362"/>
                  <a:pt x="71" y="362"/>
                </a:cubicBezTo>
                <a:cubicBezTo>
                  <a:pt x="71" y="362"/>
                  <a:pt x="84" y="368"/>
                  <a:pt x="89" y="371"/>
                </a:cubicBezTo>
                <a:cubicBezTo>
                  <a:pt x="95" y="374"/>
                  <a:pt x="97" y="371"/>
                  <a:pt x="97" y="371"/>
                </a:cubicBezTo>
                <a:cubicBezTo>
                  <a:pt x="97" y="371"/>
                  <a:pt x="118" y="365"/>
                  <a:pt x="123" y="363"/>
                </a:cubicBezTo>
                <a:cubicBezTo>
                  <a:pt x="127" y="360"/>
                  <a:pt x="131" y="360"/>
                  <a:pt x="131" y="360"/>
                </a:cubicBezTo>
                <a:lnTo>
                  <a:pt x="144" y="367"/>
                </a:lnTo>
                <a:cubicBezTo>
                  <a:pt x="144" y="367"/>
                  <a:pt x="147" y="491"/>
                  <a:pt x="147" y="506"/>
                </a:cubicBezTo>
                <a:cubicBezTo>
                  <a:pt x="147" y="520"/>
                  <a:pt x="140" y="528"/>
                  <a:pt x="140" y="528"/>
                </a:cubicBezTo>
                <a:cubicBezTo>
                  <a:pt x="140" y="528"/>
                  <a:pt x="51" y="650"/>
                  <a:pt x="41" y="663"/>
                </a:cubicBezTo>
                <a:cubicBezTo>
                  <a:pt x="32" y="676"/>
                  <a:pt x="43" y="684"/>
                  <a:pt x="43" y="684"/>
                </a:cubicBezTo>
                <a:lnTo>
                  <a:pt x="59" y="694"/>
                </a:lnTo>
                <a:cubicBezTo>
                  <a:pt x="59" y="694"/>
                  <a:pt x="71" y="701"/>
                  <a:pt x="71" y="708"/>
                </a:cubicBezTo>
                <a:cubicBezTo>
                  <a:pt x="71" y="715"/>
                  <a:pt x="61" y="718"/>
                  <a:pt x="61" y="718"/>
                </a:cubicBezTo>
                <a:lnTo>
                  <a:pt x="0" y="718"/>
                </a:lnTo>
                <a:lnTo>
                  <a:pt x="0" y="751"/>
                </a:lnTo>
                <a:lnTo>
                  <a:pt x="1127" y="753"/>
                </a:lnTo>
                <a:lnTo>
                  <a:pt x="871" y="399"/>
                </a:lnTo>
                <a:close/>
                <a:moveTo>
                  <a:pt x="128" y="328"/>
                </a:moveTo>
                <a:cubicBezTo>
                  <a:pt x="127" y="324"/>
                  <a:pt x="134" y="255"/>
                  <a:pt x="134" y="255"/>
                </a:cubicBezTo>
                <a:lnTo>
                  <a:pt x="198" y="223"/>
                </a:lnTo>
                <a:cubicBezTo>
                  <a:pt x="198" y="223"/>
                  <a:pt x="205" y="218"/>
                  <a:pt x="204" y="227"/>
                </a:cubicBezTo>
                <a:cubicBezTo>
                  <a:pt x="204" y="236"/>
                  <a:pt x="193" y="272"/>
                  <a:pt x="193" y="272"/>
                </a:cubicBezTo>
                <a:lnTo>
                  <a:pt x="158" y="343"/>
                </a:lnTo>
                <a:cubicBezTo>
                  <a:pt x="158" y="343"/>
                  <a:pt x="130" y="332"/>
                  <a:pt x="128" y="328"/>
                </a:cubicBezTo>
                <a:close/>
                <a:moveTo>
                  <a:pt x="160" y="719"/>
                </a:moveTo>
                <a:lnTo>
                  <a:pt x="142" y="685"/>
                </a:lnTo>
                <a:cubicBezTo>
                  <a:pt x="142" y="685"/>
                  <a:pt x="139" y="676"/>
                  <a:pt x="139" y="670"/>
                </a:cubicBezTo>
                <a:cubicBezTo>
                  <a:pt x="139" y="665"/>
                  <a:pt x="143" y="656"/>
                  <a:pt x="143" y="656"/>
                </a:cubicBezTo>
                <a:lnTo>
                  <a:pt x="216" y="550"/>
                </a:lnTo>
                <a:cubicBezTo>
                  <a:pt x="216" y="550"/>
                  <a:pt x="221" y="541"/>
                  <a:pt x="223" y="531"/>
                </a:cubicBezTo>
                <a:cubicBezTo>
                  <a:pt x="224" y="521"/>
                  <a:pt x="231" y="453"/>
                  <a:pt x="231" y="453"/>
                </a:cubicBezTo>
                <a:cubicBezTo>
                  <a:pt x="231" y="453"/>
                  <a:pt x="233" y="452"/>
                  <a:pt x="235" y="454"/>
                </a:cubicBezTo>
                <a:cubicBezTo>
                  <a:pt x="238" y="457"/>
                  <a:pt x="295" y="533"/>
                  <a:pt x="295" y="533"/>
                </a:cubicBezTo>
                <a:cubicBezTo>
                  <a:pt x="295" y="533"/>
                  <a:pt x="300" y="543"/>
                  <a:pt x="300" y="549"/>
                </a:cubicBezTo>
                <a:cubicBezTo>
                  <a:pt x="300" y="554"/>
                  <a:pt x="302" y="718"/>
                  <a:pt x="302" y="718"/>
                </a:cubicBezTo>
                <a:lnTo>
                  <a:pt x="160" y="719"/>
                </a:lnTo>
                <a:close/>
                <a:moveTo>
                  <a:pt x="297" y="382"/>
                </a:moveTo>
                <a:cubicBezTo>
                  <a:pt x="297" y="368"/>
                  <a:pt x="296" y="353"/>
                  <a:pt x="303" y="343"/>
                </a:cubicBezTo>
                <a:cubicBezTo>
                  <a:pt x="311" y="333"/>
                  <a:pt x="333" y="308"/>
                  <a:pt x="333" y="308"/>
                </a:cubicBezTo>
                <a:lnTo>
                  <a:pt x="335" y="361"/>
                </a:lnTo>
                <a:cubicBezTo>
                  <a:pt x="335" y="361"/>
                  <a:pt x="335" y="375"/>
                  <a:pt x="340" y="386"/>
                </a:cubicBezTo>
                <a:cubicBezTo>
                  <a:pt x="345" y="396"/>
                  <a:pt x="367" y="438"/>
                  <a:pt x="367" y="438"/>
                </a:cubicBezTo>
                <a:lnTo>
                  <a:pt x="314" y="415"/>
                </a:lnTo>
                <a:cubicBezTo>
                  <a:pt x="314" y="415"/>
                  <a:pt x="297" y="396"/>
                  <a:pt x="297" y="382"/>
                </a:cubicBezTo>
                <a:close/>
                <a:moveTo>
                  <a:pt x="548" y="641"/>
                </a:moveTo>
                <a:cubicBezTo>
                  <a:pt x="548" y="641"/>
                  <a:pt x="540" y="644"/>
                  <a:pt x="535" y="646"/>
                </a:cubicBezTo>
                <a:cubicBezTo>
                  <a:pt x="530" y="648"/>
                  <a:pt x="518" y="650"/>
                  <a:pt x="513" y="665"/>
                </a:cubicBezTo>
                <a:cubicBezTo>
                  <a:pt x="509" y="679"/>
                  <a:pt x="506" y="689"/>
                  <a:pt x="495" y="691"/>
                </a:cubicBezTo>
                <a:cubicBezTo>
                  <a:pt x="485" y="693"/>
                  <a:pt x="483" y="695"/>
                  <a:pt x="476" y="702"/>
                </a:cubicBezTo>
                <a:cubicBezTo>
                  <a:pt x="469" y="709"/>
                  <a:pt x="467" y="717"/>
                  <a:pt x="461" y="718"/>
                </a:cubicBezTo>
                <a:cubicBezTo>
                  <a:pt x="455" y="719"/>
                  <a:pt x="413" y="719"/>
                  <a:pt x="413" y="719"/>
                </a:cubicBezTo>
                <a:lnTo>
                  <a:pt x="382" y="670"/>
                </a:lnTo>
                <a:cubicBezTo>
                  <a:pt x="382" y="670"/>
                  <a:pt x="379" y="663"/>
                  <a:pt x="379" y="656"/>
                </a:cubicBezTo>
                <a:cubicBezTo>
                  <a:pt x="379" y="649"/>
                  <a:pt x="375" y="527"/>
                  <a:pt x="375" y="527"/>
                </a:cubicBezTo>
                <a:cubicBezTo>
                  <a:pt x="375" y="527"/>
                  <a:pt x="374" y="517"/>
                  <a:pt x="369" y="509"/>
                </a:cubicBezTo>
                <a:cubicBezTo>
                  <a:pt x="365" y="502"/>
                  <a:pt x="342" y="463"/>
                  <a:pt x="342" y="463"/>
                </a:cubicBezTo>
                <a:lnTo>
                  <a:pt x="564" y="571"/>
                </a:lnTo>
                <a:lnTo>
                  <a:pt x="552" y="586"/>
                </a:lnTo>
                <a:cubicBezTo>
                  <a:pt x="552" y="586"/>
                  <a:pt x="542" y="598"/>
                  <a:pt x="554" y="603"/>
                </a:cubicBezTo>
                <a:cubicBezTo>
                  <a:pt x="565" y="608"/>
                  <a:pt x="583" y="616"/>
                  <a:pt x="583" y="616"/>
                </a:cubicBezTo>
                <a:lnTo>
                  <a:pt x="584" y="621"/>
                </a:lnTo>
                <a:lnTo>
                  <a:pt x="548" y="641"/>
                </a:lnTo>
                <a:close/>
              </a:path>
            </a:pathLst>
          </a:custGeom>
          <a:solidFill>
            <a:schemeClr val="bg1"/>
          </a:solidFill>
          <a:ln w="0">
            <a:noFill/>
            <a:prstDash val="solid"/>
            <a:round/>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1" i="0" u="none" strike="noStrike" kern="1200" cap="none" spc="0" normalizeH="0" baseline="0" noProof="0" dirty="0">
              <a:ln>
                <a:noFill/>
              </a:ln>
              <a:solidFill>
                <a:prstClr val="black"/>
              </a:solidFill>
              <a:effectLst/>
              <a:uLnTx/>
              <a:uFillTx/>
              <a:latin typeface="Calibri"/>
              <a:ea typeface="+mn-ea"/>
              <a:cs typeface="+mn-cs"/>
            </a:endParaRPr>
          </a:p>
        </p:txBody>
      </p:sp>
      <p:sp>
        <p:nvSpPr>
          <p:cNvPr id="78" name="Oval 77">
            <a:extLst>
              <a:ext uri="{FF2B5EF4-FFF2-40B4-BE49-F238E27FC236}">
                <a16:creationId xmlns:a16="http://schemas.microsoft.com/office/drawing/2014/main" id="{9F8E97BB-1293-459A-8924-96127B7F3BCF}"/>
              </a:ext>
            </a:extLst>
          </p:cNvPr>
          <p:cNvSpPr>
            <a:spLocks noChangeAspect="1"/>
          </p:cNvSpPr>
          <p:nvPr/>
        </p:nvSpPr>
        <p:spPr>
          <a:xfrm>
            <a:off x="4787495" y="4546559"/>
            <a:ext cx="1085679" cy="1085679"/>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80" name="TextBox 79">
            <a:extLst>
              <a:ext uri="{FF2B5EF4-FFF2-40B4-BE49-F238E27FC236}">
                <a16:creationId xmlns:a16="http://schemas.microsoft.com/office/drawing/2014/main" id="{26E97638-EEC9-40A2-805A-709F16A46E9F}"/>
              </a:ext>
            </a:extLst>
          </p:cNvPr>
          <p:cNvSpPr txBox="1"/>
          <p:nvPr/>
        </p:nvSpPr>
        <p:spPr>
          <a:xfrm>
            <a:off x="5267852" y="5394079"/>
            <a:ext cx="1997064" cy="830997"/>
          </a:xfrm>
          <a:prstGeom prst="rect">
            <a:avLst/>
          </a:prstGeom>
          <a:noFill/>
        </p:spPr>
        <p:txBody>
          <a:bodyPr wrap="square" rtlCol="0">
            <a:spAutoFit/>
          </a:bodyPr>
          <a:lstStyle/>
          <a:p>
            <a:pPr marL="0" marR="0" lvl="0" indent="0" algn="ctr" defTabSz="914439" rtl="0" eaLnBrk="1" fontAlgn="base" latinLnBrk="0" hangingPunct="1">
              <a:lnSpc>
                <a:spcPct val="100000"/>
              </a:lnSpc>
              <a:spcBef>
                <a:spcPct val="0"/>
              </a:spcBef>
              <a:spcAft>
                <a:spcPct val="0"/>
              </a:spcAft>
              <a:buClrTx/>
              <a:buSzTx/>
              <a:buFontTx/>
              <a:buNone/>
              <a:tabLst/>
              <a:defRPr/>
            </a:pPr>
            <a:r>
              <a:rPr kumimoji="0" lang="lt-LT" sz="1200" b="1" i="0" u="none" strike="noStrike" kern="1200" cap="none" spc="0" normalizeH="0" baseline="0" noProof="0" dirty="0">
                <a:ln>
                  <a:noFill/>
                </a:ln>
                <a:solidFill>
                  <a:srgbClr val="0091DC"/>
                </a:solidFill>
                <a:effectLst/>
                <a:uLnTx/>
                <a:uFillTx/>
                <a:latin typeface="MetaPlusLF"/>
                <a:ea typeface="+mn-ea"/>
              </a:rPr>
              <a:t>2015</a:t>
            </a:r>
            <a:r>
              <a:rPr kumimoji="0" lang="en-GB" sz="1200" b="1" i="0" u="none" strike="noStrike" kern="1200" cap="none" spc="0" normalizeH="0" baseline="0" noProof="0" dirty="0">
                <a:ln>
                  <a:noFill/>
                </a:ln>
                <a:solidFill>
                  <a:srgbClr val="0091DC"/>
                </a:solidFill>
                <a:effectLst/>
                <a:uLnTx/>
                <a:uFillTx/>
                <a:latin typeface="MetaPlusLF"/>
                <a:ea typeface="+mn-ea"/>
              </a:rPr>
              <a:t> </a:t>
            </a:r>
          </a:p>
          <a:p>
            <a:pPr marL="0" marR="0" lvl="0" indent="0" algn="ctr" defTabSz="914439" rtl="0" eaLnBrk="1" fontAlgn="base" latinLnBrk="0" hangingPunct="1">
              <a:lnSpc>
                <a:spcPct val="100000"/>
              </a:lnSpc>
              <a:spcBef>
                <a:spcPct val="0"/>
              </a:spcBef>
              <a:spcAft>
                <a:spcPct val="0"/>
              </a:spcAft>
              <a:buClrTx/>
              <a:buSzTx/>
              <a:buFontTx/>
              <a:buNone/>
              <a:tabLst/>
              <a:defRPr/>
            </a:pPr>
            <a:r>
              <a:rPr kumimoji="0" lang="lt-LT" sz="1200" b="0" i="0" u="none" strike="noStrike" kern="1200" cap="none" spc="0" normalizeH="0" baseline="0" noProof="0" dirty="0">
                <a:ln>
                  <a:noFill/>
                </a:ln>
                <a:solidFill>
                  <a:srgbClr val="000000"/>
                </a:solidFill>
                <a:effectLst/>
                <a:uLnTx/>
                <a:uFillTx/>
                <a:latin typeface="MetaPlusLF" charset="0"/>
                <a:ea typeface="+mn-ea"/>
              </a:rPr>
              <a:t>HR </a:t>
            </a:r>
            <a:r>
              <a:rPr kumimoji="0" lang="en-US" sz="1200" b="0" i="0" u="none" strike="noStrike" kern="1200" cap="none" spc="0" normalizeH="0" baseline="0" noProof="0" dirty="0">
                <a:ln>
                  <a:noFill/>
                </a:ln>
                <a:solidFill>
                  <a:srgbClr val="000000"/>
                </a:solidFill>
                <a:effectLst/>
                <a:uLnTx/>
                <a:uFillTx/>
                <a:latin typeface="MetaPlusLF" charset="0"/>
                <a:ea typeface="+mn-ea"/>
              </a:rPr>
              <a:t>, Finance, IT/Finance </a:t>
            </a:r>
            <a:r>
              <a:rPr kumimoji="0" lang="lt-LT" sz="1200" b="0" i="0" u="none" strike="noStrike" kern="1200" cap="none" spc="0" normalizeH="0" baseline="0" noProof="0" dirty="0">
                <a:ln>
                  <a:noFill/>
                </a:ln>
                <a:solidFill>
                  <a:srgbClr val="000000"/>
                </a:solidFill>
                <a:effectLst/>
                <a:uLnTx/>
                <a:uFillTx/>
                <a:latin typeface="MetaPlusLF" charset="0"/>
                <a:ea typeface="+mn-ea"/>
              </a:rPr>
              <a:t>funkcijos;</a:t>
            </a:r>
            <a:r>
              <a:rPr kumimoji="0" lang="en-US" sz="1200" b="0" i="0" u="none" strike="noStrike" kern="1200" cap="none" spc="0" normalizeH="0" baseline="0" noProof="0" dirty="0">
                <a:ln>
                  <a:noFill/>
                </a:ln>
                <a:solidFill>
                  <a:srgbClr val="000000"/>
                </a:solidFill>
                <a:effectLst/>
                <a:uLnTx/>
                <a:uFillTx/>
                <a:latin typeface="MetaPlusLF" charset="0"/>
                <a:ea typeface="+mn-ea"/>
              </a:rPr>
              <a:t> CMS Region Americas</a:t>
            </a:r>
          </a:p>
        </p:txBody>
      </p:sp>
      <p:sp>
        <p:nvSpPr>
          <p:cNvPr id="81" name="Construction2" descr="{&quot;Key&quot;:&quot;POWER_USER_SHAPE_ICON&quot;,&quot;Value&quot;:&quot;POWER_USER_SHAPE_ICON_STYLE_1&quot;}">
            <a:extLst>
              <a:ext uri="{FF2B5EF4-FFF2-40B4-BE49-F238E27FC236}">
                <a16:creationId xmlns:a16="http://schemas.microsoft.com/office/drawing/2014/main" id="{F5443023-B3F4-4077-A14F-25022BBB109F}"/>
              </a:ext>
            </a:extLst>
          </p:cNvPr>
          <p:cNvSpPr>
            <a:spLocks noChangeAspect="1" noEditPoints="1"/>
          </p:cNvSpPr>
          <p:nvPr>
            <p:custDataLst>
              <p:tags r:id="rId6"/>
            </p:custDataLst>
          </p:nvPr>
        </p:nvSpPr>
        <p:spPr bwMode="auto">
          <a:xfrm>
            <a:off x="4931815" y="4831858"/>
            <a:ext cx="721355" cy="484314"/>
          </a:xfrm>
          <a:custGeom>
            <a:avLst/>
            <a:gdLst>
              <a:gd name="T0" fmla="*/ 821 w 1127"/>
              <a:gd name="T1" fmla="*/ 408 h 753"/>
              <a:gd name="T2" fmla="*/ 740 w 1127"/>
              <a:gd name="T3" fmla="*/ 424 h 753"/>
              <a:gd name="T4" fmla="*/ 669 w 1127"/>
              <a:gd name="T5" fmla="*/ 526 h 753"/>
              <a:gd name="T6" fmla="*/ 617 w 1127"/>
              <a:gd name="T7" fmla="*/ 512 h 753"/>
              <a:gd name="T8" fmla="*/ 453 w 1127"/>
              <a:gd name="T9" fmla="*/ 482 h 753"/>
              <a:gd name="T10" fmla="*/ 394 w 1127"/>
              <a:gd name="T11" fmla="*/ 355 h 753"/>
              <a:gd name="T12" fmla="*/ 360 w 1127"/>
              <a:gd name="T13" fmla="*/ 169 h 753"/>
              <a:gd name="T14" fmla="*/ 366 w 1127"/>
              <a:gd name="T15" fmla="*/ 141 h 753"/>
              <a:gd name="T16" fmla="*/ 357 w 1127"/>
              <a:gd name="T17" fmla="*/ 0 h 753"/>
              <a:gd name="T18" fmla="*/ 298 w 1127"/>
              <a:gd name="T19" fmla="*/ 109 h 753"/>
              <a:gd name="T20" fmla="*/ 283 w 1127"/>
              <a:gd name="T21" fmla="*/ 138 h 753"/>
              <a:gd name="T22" fmla="*/ 229 w 1127"/>
              <a:gd name="T23" fmla="*/ 140 h 753"/>
              <a:gd name="T24" fmla="*/ 85 w 1127"/>
              <a:gd name="T25" fmla="*/ 223 h 753"/>
              <a:gd name="T26" fmla="*/ 67 w 1127"/>
              <a:gd name="T27" fmla="*/ 333 h 753"/>
              <a:gd name="T28" fmla="*/ 64 w 1127"/>
              <a:gd name="T29" fmla="*/ 355 h 753"/>
              <a:gd name="T30" fmla="*/ 89 w 1127"/>
              <a:gd name="T31" fmla="*/ 371 h 753"/>
              <a:gd name="T32" fmla="*/ 123 w 1127"/>
              <a:gd name="T33" fmla="*/ 363 h 753"/>
              <a:gd name="T34" fmla="*/ 144 w 1127"/>
              <a:gd name="T35" fmla="*/ 367 h 753"/>
              <a:gd name="T36" fmla="*/ 140 w 1127"/>
              <a:gd name="T37" fmla="*/ 528 h 753"/>
              <a:gd name="T38" fmla="*/ 43 w 1127"/>
              <a:gd name="T39" fmla="*/ 684 h 753"/>
              <a:gd name="T40" fmla="*/ 71 w 1127"/>
              <a:gd name="T41" fmla="*/ 708 h 753"/>
              <a:gd name="T42" fmla="*/ 0 w 1127"/>
              <a:gd name="T43" fmla="*/ 718 h 753"/>
              <a:gd name="T44" fmla="*/ 1127 w 1127"/>
              <a:gd name="T45" fmla="*/ 753 h 753"/>
              <a:gd name="T46" fmla="*/ 128 w 1127"/>
              <a:gd name="T47" fmla="*/ 328 h 753"/>
              <a:gd name="T48" fmla="*/ 198 w 1127"/>
              <a:gd name="T49" fmla="*/ 223 h 753"/>
              <a:gd name="T50" fmla="*/ 193 w 1127"/>
              <a:gd name="T51" fmla="*/ 272 h 753"/>
              <a:gd name="T52" fmla="*/ 128 w 1127"/>
              <a:gd name="T53" fmla="*/ 328 h 753"/>
              <a:gd name="T54" fmla="*/ 142 w 1127"/>
              <a:gd name="T55" fmla="*/ 685 h 753"/>
              <a:gd name="T56" fmla="*/ 143 w 1127"/>
              <a:gd name="T57" fmla="*/ 656 h 753"/>
              <a:gd name="T58" fmla="*/ 223 w 1127"/>
              <a:gd name="T59" fmla="*/ 531 h 753"/>
              <a:gd name="T60" fmla="*/ 235 w 1127"/>
              <a:gd name="T61" fmla="*/ 454 h 753"/>
              <a:gd name="T62" fmla="*/ 300 w 1127"/>
              <a:gd name="T63" fmla="*/ 549 h 753"/>
              <a:gd name="T64" fmla="*/ 160 w 1127"/>
              <a:gd name="T65" fmla="*/ 719 h 753"/>
              <a:gd name="T66" fmla="*/ 303 w 1127"/>
              <a:gd name="T67" fmla="*/ 343 h 753"/>
              <a:gd name="T68" fmla="*/ 335 w 1127"/>
              <a:gd name="T69" fmla="*/ 361 h 753"/>
              <a:gd name="T70" fmla="*/ 367 w 1127"/>
              <a:gd name="T71" fmla="*/ 438 h 753"/>
              <a:gd name="T72" fmla="*/ 297 w 1127"/>
              <a:gd name="T73" fmla="*/ 382 h 753"/>
              <a:gd name="T74" fmla="*/ 535 w 1127"/>
              <a:gd name="T75" fmla="*/ 646 h 753"/>
              <a:gd name="T76" fmla="*/ 495 w 1127"/>
              <a:gd name="T77" fmla="*/ 691 h 753"/>
              <a:gd name="T78" fmla="*/ 461 w 1127"/>
              <a:gd name="T79" fmla="*/ 718 h 753"/>
              <a:gd name="T80" fmla="*/ 382 w 1127"/>
              <a:gd name="T81" fmla="*/ 670 h 753"/>
              <a:gd name="T82" fmla="*/ 375 w 1127"/>
              <a:gd name="T83" fmla="*/ 527 h 753"/>
              <a:gd name="T84" fmla="*/ 342 w 1127"/>
              <a:gd name="T85" fmla="*/ 463 h 753"/>
              <a:gd name="T86" fmla="*/ 552 w 1127"/>
              <a:gd name="T87" fmla="*/ 586 h 753"/>
              <a:gd name="T88" fmla="*/ 583 w 1127"/>
              <a:gd name="T89" fmla="*/ 616 h 753"/>
              <a:gd name="T90" fmla="*/ 548 w 1127"/>
              <a:gd name="T91" fmla="*/ 641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7" h="753">
                <a:moveTo>
                  <a:pt x="871" y="399"/>
                </a:moveTo>
                <a:cubicBezTo>
                  <a:pt x="856" y="377"/>
                  <a:pt x="827" y="404"/>
                  <a:pt x="821" y="408"/>
                </a:cubicBezTo>
                <a:cubicBezTo>
                  <a:pt x="814" y="411"/>
                  <a:pt x="818" y="409"/>
                  <a:pt x="792" y="401"/>
                </a:cubicBezTo>
                <a:cubicBezTo>
                  <a:pt x="765" y="394"/>
                  <a:pt x="746" y="411"/>
                  <a:pt x="740" y="424"/>
                </a:cubicBezTo>
                <a:cubicBezTo>
                  <a:pt x="734" y="437"/>
                  <a:pt x="697" y="511"/>
                  <a:pt x="691" y="523"/>
                </a:cubicBezTo>
                <a:cubicBezTo>
                  <a:pt x="684" y="534"/>
                  <a:pt x="669" y="526"/>
                  <a:pt x="669" y="526"/>
                </a:cubicBezTo>
                <a:cubicBezTo>
                  <a:pt x="669" y="526"/>
                  <a:pt x="643" y="511"/>
                  <a:pt x="634" y="507"/>
                </a:cubicBezTo>
                <a:cubicBezTo>
                  <a:pt x="624" y="504"/>
                  <a:pt x="617" y="512"/>
                  <a:pt x="617" y="512"/>
                </a:cubicBezTo>
                <a:lnTo>
                  <a:pt x="586" y="545"/>
                </a:lnTo>
                <a:cubicBezTo>
                  <a:pt x="586" y="545"/>
                  <a:pt x="466" y="489"/>
                  <a:pt x="453" y="482"/>
                </a:cubicBezTo>
                <a:cubicBezTo>
                  <a:pt x="440" y="474"/>
                  <a:pt x="410" y="398"/>
                  <a:pt x="401" y="382"/>
                </a:cubicBezTo>
                <a:cubicBezTo>
                  <a:pt x="392" y="367"/>
                  <a:pt x="394" y="355"/>
                  <a:pt x="394" y="355"/>
                </a:cubicBezTo>
                <a:cubicBezTo>
                  <a:pt x="394" y="355"/>
                  <a:pt x="392" y="322"/>
                  <a:pt x="391" y="262"/>
                </a:cubicBezTo>
                <a:cubicBezTo>
                  <a:pt x="391" y="203"/>
                  <a:pt x="365" y="177"/>
                  <a:pt x="360" y="169"/>
                </a:cubicBezTo>
                <a:cubicBezTo>
                  <a:pt x="355" y="161"/>
                  <a:pt x="360" y="154"/>
                  <a:pt x="360" y="154"/>
                </a:cubicBezTo>
                <a:lnTo>
                  <a:pt x="366" y="141"/>
                </a:lnTo>
                <a:cubicBezTo>
                  <a:pt x="401" y="136"/>
                  <a:pt x="428" y="107"/>
                  <a:pt x="428" y="70"/>
                </a:cubicBezTo>
                <a:cubicBezTo>
                  <a:pt x="428" y="31"/>
                  <a:pt x="396" y="0"/>
                  <a:pt x="357" y="0"/>
                </a:cubicBezTo>
                <a:cubicBezTo>
                  <a:pt x="318" y="0"/>
                  <a:pt x="287" y="31"/>
                  <a:pt x="287" y="70"/>
                </a:cubicBezTo>
                <a:cubicBezTo>
                  <a:pt x="287" y="85"/>
                  <a:pt x="291" y="98"/>
                  <a:pt x="298" y="109"/>
                </a:cubicBezTo>
                <a:cubicBezTo>
                  <a:pt x="297" y="112"/>
                  <a:pt x="297" y="118"/>
                  <a:pt x="296" y="124"/>
                </a:cubicBezTo>
                <a:cubicBezTo>
                  <a:pt x="296" y="135"/>
                  <a:pt x="283" y="138"/>
                  <a:pt x="283" y="138"/>
                </a:cubicBezTo>
                <a:cubicBezTo>
                  <a:pt x="283" y="138"/>
                  <a:pt x="252" y="137"/>
                  <a:pt x="245" y="137"/>
                </a:cubicBezTo>
                <a:cubicBezTo>
                  <a:pt x="237" y="137"/>
                  <a:pt x="229" y="140"/>
                  <a:pt x="229" y="140"/>
                </a:cubicBezTo>
                <a:cubicBezTo>
                  <a:pt x="229" y="140"/>
                  <a:pt x="110" y="200"/>
                  <a:pt x="97" y="207"/>
                </a:cubicBezTo>
                <a:cubicBezTo>
                  <a:pt x="84" y="213"/>
                  <a:pt x="85" y="223"/>
                  <a:pt x="85" y="223"/>
                </a:cubicBezTo>
                <a:lnTo>
                  <a:pt x="76" y="327"/>
                </a:lnTo>
                <a:cubicBezTo>
                  <a:pt x="76" y="327"/>
                  <a:pt x="70" y="331"/>
                  <a:pt x="67" y="333"/>
                </a:cubicBezTo>
                <a:cubicBezTo>
                  <a:pt x="64" y="335"/>
                  <a:pt x="64" y="339"/>
                  <a:pt x="64" y="339"/>
                </a:cubicBezTo>
                <a:lnTo>
                  <a:pt x="64" y="355"/>
                </a:lnTo>
                <a:cubicBezTo>
                  <a:pt x="64" y="360"/>
                  <a:pt x="71" y="362"/>
                  <a:pt x="71" y="362"/>
                </a:cubicBezTo>
                <a:cubicBezTo>
                  <a:pt x="71" y="362"/>
                  <a:pt x="84" y="368"/>
                  <a:pt x="89" y="371"/>
                </a:cubicBezTo>
                <a:cubicBezTo>
                  <a:pt x="95" y="374"/>
                  <a:pt x="97" y="371"/>
                  <a:pt x="97" y="371"/>
                </a:cubicBezTo>
                <a:cubicBezTo>
                  <a:pt x="97" y="371"/>
                  <a:pt x="118" y="365"/>
                  <a:pt x="123" y="363"/>
                </a:cubicBezTo>
                <a:cubicBezTo>
                  <a:pt x="127" y="360"/>
                  <a:pt x="131" y="360"/>
                  <a:pt x="131" y="360"/>
                </a:cubicBezTo>
                <a:lnTo>
                  <a:pt x="144" y="367"/>
                </a:lnTo>
                <a:cubicBezTo>
                  <a:pt x="144" y="367"/>
                  <a:pt x="147" y="491"/>
                  <a:pt x="147" y="506"/>
                </a:cubicBezTo>
                <a:cubicBezTo>
                  <a:pt x="147" y="520"/>
                  <a:pt x="140" y="528"/>
                  <a:pt x="140" y="528"/>
                </a:cubicBezTo>
                <a:cubicBezTo>
                  <a:pt x="140" y="528"/>
                  <a:pt x="51" y="650"/>
                  <a:pt x="41" y="663"/>
                </a:cubicBezTo>
                <a:cubicBezTo>
                  <a:pt x="32" y="676"/>
                  <a:pt x="43" y="684"/>
                  <a:pt x="43" y="684"/>
                </a:cubicBezTo>
                <a:lnTo>
                  <a:pt x="59" y="694"/>
                </a:lnTo>
                <a:cubicBezTo>
                  <a:pt x="59" y="694"/>
                  <a:pt x="71" y="701"/>
                  <a:pt x="71" y="708"/>
                </a:cubicBezTo>
                <a:cubicBezTo>
                  <a:pt x="71" y="715"/>
                  <a:pt x="61" y="718"/>
                  <a:pt x="61" y="718"/>
                </a:cubicBezTo>
                <a:lnTo>
                  <a:pt x="0" y="718"/>
                </a:lnTo>
                <a:lnTo>
                  <a:pt x="0" y="751"/>
                </a:lnTo>
                <a:lnTo>
                  <a:pt x="1127" y="753"/>
                </a:lnTo>
                <a:lnTo>
                  <a:pt x="871" y="399"/>
                </a:lnTo>
                <a:close/>
                <a:moveTo>
                  <a:pt x="128" y="328"/>
                </a:moveTo>
                <a:cubicBezTo>
                  <a:pt x="127" y="324"/>
                  <a:pt x="134" y="255"/>
                  <a:pt x="134" y="255"/>
                </a:cubicBezTo>
                <a:lnTo>
                  <a:pt x="198" y="223"/>
                </a:lnTo>
                <a:cubicBezTo>
                  <a:pt x="198" y="223"/>
                  <a:pt x="205" y="218"/>
                  <a:pt x="204" y="227"/>
                </a:cubicBezTo>
                <a:cubicBezTo>
                  <a:pt x="204" y="236"/>
                  <a:pt x="193" y="272"/>
                  <a:pt x="193" y="272"/>
                </a:cubicBezTo>
                <a:lnTo>
                  <a:pt x="158" y="343"/>
                </a:lnTo>
                <a:cubicBezTo>
                  <a:pt x="158" y="343"/>
                  <a:pt x="130" y="332"/>
                  <a:pt x="128" y="328"/>
                </a:cubicBezTo>
                <a:close/>
                <a:moveTo>
                  <a:pt x="160" y="719"/>
                </a:moveTo>
                <a:lnTo>
                  <a:pt x="142" y="685"/>
                </a:lnTo>
                <a:cubicBezTo>
                  <a:pt x="142" y="685"/>
                  <a:pt x="139" y="676"/>
                  <a:pt x="139" y="670"/>
                </a:cubicBezTo>
                <a:cubicBezTo>
                  <a:pt x="139" y="665"/>
                  <a:pt x="143" y="656"/>
                  <a:pt x="143" y="656"/>
                </a:cubicBezTo>
                <a:lnTo>
                  <a:pt x="216" y="550"/>
                </a:lnTo>
                <a:cubicBezTo>
                  <a:pt x="216" y="550"/>
                  <a:pt x="221" y="541"/>
                  <a:pt x="223" y="531"/>
                </a:cubicBezTo>
                <a:cubicBezTo>
                  <a:pt x="224" y="521"/>
                  <a:pt x="231" y="453"/>
                  <a:pt x="231" y="453"/>
                </a:cubicBezTo>
                <a:cubicBezTo>
                  <a:pt x="231" y="453"/>
                  <a:pt x="233" y="452"/>
                  <a:pt x="235" y="454"/>
                </a:cubicBezTo>
                <a:cubicBezTo>
                  <a:pt x="238" y="457"/>
                  <a:pt x="295" y="533"/>
                  <a:pt x="295" y="533"/>
                </a:cubicBezTo>
                <a:cubicBezTo>
                  <a:pt x="295" y="533"/>
                  <a:pt x="300" y="543"/>
                  <a:pt x="300" y="549"/>
                </a:cubicBezTo>
                <a:cubicBezTo>
                  <a:pt x="300" y="554"/>
                  <a:pt x="302" y="718"/>
                  <a:pt x="302" y="718"/>
                </a:cubicBezTo>
                <a:lnTo>
                  <a:pt x="160" y="719"/>
                </a:lnTo>
                <a:close/>
                <a:moveTo>
                  <a:pt x="297" y="382"/>
                </a:moveTo>
                <a:cubicBezTo>
                  <a:pt x="297" y="368"/>
                  <a:pt x="296" y="353"/>
                  <a:pt x="303" y="343"/>
                </a:cubicBezTo>
                <a:cubicBezTo>
                  <a:pt x="311" y="333"/>
                  <a:pt x="333" y="308"/>
                  <a:pt x="333" y="308"/>
                </a:cubicBezTo>
                <a:lnTo>
                  <a:pt x="335" y="361"/>
                </a:lnTo>
                <a:cubicBezTo>
                  <a:pt x="335" y="361"/>
                  <a:pt x="335" y="375"/>
                  <a:pt x="340" y="386"/>
                </a:cubicBezTo>
                <a:cubicBezTo>
                  <a:pt x="345" y="396"/>
                  <a:pt x="367" y="438"/>
                  <a:pt x="367" y="438"/>
                </a:cubicBezTo>
                <a:lnTo>
                  <a:pt x="314" y="415"/>
                </a:lnTo>
                <a:cubicBezTo>
                  <a:pt x="314" y="415"/>
                  <a:pt x="297" y="396"/>
                  <a:pt x="297" y="382"/>
                </a:cubicBezTo>
                <a:close/>
                <a:moveTo>
                  <a:pt x="548" y="641"/>
                </a:moveTo>
                <a:cubicBezTo>
                  <a:pt x="548" y="641"/>
                  <a:pt x="540" y="644"/>
                  <a:pt x="535" y="646"/>
                </a:cubicBezTo>
                <a:cubicBezTo>
                  <a:pt x="530" y="648"/>
                  <a:pt x="518" y="650"/>
                  <a:pt x="513" y="665"/>
                </a:cubicBezTo>
                <a:cubicBezTo>
                  <a:pt x="509" y="679"/>
                  <a:pt x="506" y="689"/>
                  <a:pt x="495" y="691"/>
                </a:cubicBezTo>
                <a:cubicBezTo>
                  <a:pt x="485" y="693"/>
                  <a:pt x="483" y="695"/>
                  <a:pt x="476" y="702"/>
                </a:cubicBezTo>
                <a:cubicBezTo>
                  <a:pt x="469" y="709"/>
                  <a:pt x="467" y="717"/>
                  <a:pt x="461" y="718"/>
                </a:cubicBezTo>
                <a:cubicBezTo>
                  <a:pt x="455" y="719"/>
                  <a:pt x="413" y="719"/>
                  <a:pt x="413" y="719"/>
                </a:cubicBezTo>
                <a:lnTo>
                  <a:pt x="382" y="670"/>
                </a:lnTo>
                <a:cubicBezTo>
                  <a:pt x="382" y="670"/>
                  <a:pt x="379" y="663"/>
                  <a:pt x="379" y="656"/>
                </a:cubicBezTo>
                <a:cubicBezTo>
                  <a:pt x="379" y="649"/>
                  <a:pt x="375" y="527"/>
                  <a:pt x="375" y="527"/>
                </a:cubicBezTo>
                <a:cubicBezTo>
                  <a:pt x="375" y="527"/>
                  <a:pt x="374" y="517"/>
                  <a:pt x="369" y="509"/>
                </a:cubicBezTo>
                <a:cubicBezTo>
                  <a:pt x="365" y="502"/>
                  <a:pt x="342" y="463"/>
                  <a:pt x="342" y="463"/>
                </a:cubicBezTo>
                <a:lnTo>
                  <a:pt x="564" y="571"/>
                </a:lnTo>
                <a:lnTo>
                  <a:pt x="552" y="586"/>
                </a:lnTo>
                <a:cubicBezTo>
                  <a:pt x="552" y="586"/>
                  <a:pt x="542" y="598"/>
                  <a:pt x="554" y="603"/>
                </a:cubicBezTo>
                <a:cubicBezTo>
                  <a:pt x="565" y="608"/>
                  <a:pt x="583" y="616"/>
                  <a:pt x="583" y="616"/>
                </a:cubicBezTo>
                <a:lnTo>
                  <a:pt x="584" y="621"/>
                </a:lnTo>
                <a:lnTo>
                  <a:pt x="548" y="641"/>
                </a:lnTo>
                <a:close/>
              </a:path>
            </a:pathLst>
          </a:custGeom>
          <a:solidFill>
            <a:schemeClr val="bg1"/>
          </a:solidFill>
          <a:ln w="0">
            <a:noFill/>
            <a:prstDash val="solid"/>
            <a:round/>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83" name="Oval 82">
            <a:extLst>
              <a:ext uri="{FF2B5EF4-FFF2-40B4-BE49-F238E27FC236}">
                <a16:creationId xmlns:a16="http://schemas.microsoft.com/office/drawing/2014/main" id="{2A52C707-324D-4FD8-B052-303A9DDDA7A3}"/>
              </a:ext>
            </a:extLst>
          </p:cNvPr>
          <p:cNvSpPr>
            <a:spLocks noChangeAspect="1"/>
          </p:cNvSpPr>
          <p:nvPr/>
        </p:nvSpPr>
        <p:spPr>
          <a:xfrm>
            <a:off x="6831316" y="4544341"/>
            <a:ext cx="1085679" cy="1085679"/>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85" name="TextBox 84">
            <a:extLst>
              <a:ext uri="{FF2B5EF4-FFF2-40B4-BE49-F238E27FC236}">
                <a16:creationId xmlns:a16="http://schemas.microsoft.com/office/drawing/2014/main" id="{8233A5F6-96DC-407A-9CA2-3BB0E9ED6FA2}"/>
              </a:ext>
            </a:extLst>
          </p:cNvPr>
          <p:cNvSpPr txBox="1"/>
          <p:nvPr/>
        </p:nvSpPr>
        <p:spPr>
          <a:xfrm>
            <a:off x="7411122" y="5366794"/>
            <a:ext cx="1997064" cy="867930"/>
          </a:xfrm>
          <a:prstGeom prst="rect">
            <a:avLst/>
          </a:prstGeom>
          <a:noFill/>
        </p:spPr>
        <p:txBody>
          <a:bodyPr wrap="square" rtlCol="0">
            <a:spAutoFit/>
          </a:bodyPr>
          <a:lstStyle/>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200" b="1" i="0" u="none" strike="noStrike" kern="1200" cap="none" spc="0" normalizeH="0" baseline="0" noProof="0" dirty="0">
                <a:ln>
                  <a:noFill/>
                </a:ln>
                <a:solidFill>
                  <a:srgbClr val="0091DC"/>
                </a:solidFill>
                <a:effectLst/>
                <a:uLnTx/>
                <a:uFillTx/>
                <a:latin typeface="MetaPlusLF"/>
                <a:ea typeface="+mn-ea"/>
              </a:rPr>
              <a:t>2018</a:t>
            </a:r>
            <a:r>
              <a:rPr kumimoji="0" lang="en-GB" sz="1200" b="1" i="0" u="none" strike="noStrike" kern="1200" cap="none" spc="0" normalizeH="0" baseline="0" noProof="0" dirty="0">
                <a:ln>
                  <a:noFill/>
                </a:ln>
                <a:solidFill>
                  <a:srgbClr val="0091DC"/>
                </a:solidFill>
                <a:effectLst/>
                <a:uLnTx/>
                <a:uFillTx/>
                <a:latin typeface="MetaPlusLF"/>
                <a:ea typeface="+mn-ea"/>
              </a:rPr>
              <a:t> </a:t>
            </a:r>
          </a:p>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200" b="0" i="0" u="none" strike="noStrike" kern="1200" cap="none" spc="0" normalizeH="0" baseline="0" noProof="0" dirty="0">
                <a:ln>
                  <a:noFill/>
                </a:ln>
                <a:solidFill>
                  <a:srgbClr val="000000"/>
                </a:solidFill>
                <a:effectLst/>
                <a:uLnTx/>
                <a:uFillTx/>
                <a:latin typeface="MetaPlusLF"/>
                <a:ea typeface="+mn-ea"/>
              </a:rPr>
              <a:t>Persikeliam į naują pastatą Dr. W. Stoll, Dr. U.Stoll and Dr. Melzer</a:t>
            </a:r>
            <a:endParaRPr kumimoji="0" lang="en-GB" sz="1200" b="0" i="0" u="none" strike="noStrike" kern="1200" cap="none" spc="0" normalizeH="0" baseline="0" noProof="0" dirty="0">
              <a:ln>
                <a:noFill/>
              </a:ln>
              <a:solidFill>
                <a:srgbClr val="000000"/>
              </a:solidFill>
              <a:effectLst/>
              <a:uLnTx/>
              <a:uFillTx/>
              <a:latin typeface="MetaPlusLF"/>
              <a:ea typeface="+mn-ea"/>
            </a:endParaRPr>
          </a:p>
        </p:txBody>
      </p:sp>
      <p:sp>
        <p:nvSpPr>
          <p:cNvPr id="86" name="Construction2" descr="{&quot;Key&quot;:&quot;POWER_USER_SHAPE_ICON&quot;,&quot;Value&quot;:&quot;POWER_USER_SHAPE_ICON_STYLE_1&quot;}">
            <a:extLst>
              <a:ext uri="{FF2B5EF4-FFF2-40B4-BE49-F238E27FC236}">
                <a16:creationId xmlns:a16="http://schemas.microsoft.com/office/drawing/2014/main" id="{E489FA72-9625-415D-BE97-C3935CBC303F}"/>
              </a:ext>
            </a:extLst>
          </p:cNvPr>
          <p:cNvSpPr>
            <a:spLocks noChangeAspect="1" noEditPoints="1"/>
          </p:cNvSpPr>
          <p:nvPr>
            <p:custDataLst>
              <p:tags r:id="rId7"/>
            </p:custDataLst>
          </p:nvPr>
        </p:nvSpPr>
        <p:spPr bwMode="auto">
          <a:xfrm>
            <a:off x="7023628" y="4822640"/>
            <a:ext cx="721355" cy="484314"/>
          </a:xfrm>
          <a:custGeom>
            <a:avLst/>
            <a:gdLst>
              <a:gd name="T0" fmla="*/ 821 w 1127"/>
              <a:gd name="T1" fmla="*/ 408 h 753"/>
              <a:gd name="T2" fmla="*/ 740 w 1127"/>
              <a:gd name="T3" fmla="*/ 424 h 753"/>
              <a:gd name="T4" fmla="*/ 669 w 1127"/>
              <a:gd name="T5" fmla="*/ 526 h 753"/>
              <a:gd name="T6" fmla="*/ 617 w 1127"/>
              <a:gd name="T7" fmla="*/ 512 h 753"/>
              <a:gd name="T8" fmla="*/ 453 w 1127"/>
              <a:gd name="T9" fmla="*/ 482 h 753"/>
              <a:gd name="T10" fmla="*/ 394 w 1127"/>
              <a:gd name="T11" fmla="*/ 355 h 753"/>
              <a:gd name="T12" fmla="*/ 360 w 1127"/>
              <a:gd name="T13" fmla="*/ 169 h 753"/>
              <a:gd name="T14" fmla="*/ 366 w 1127"/>
              <a:gd name="T15" fmla="*/ 141 h 753"/>
              <a:gd name="T16" fmla="*/ 357 w 1127"/>
              <a:gd name="T17" fmla="*/ 0 h 753"/>
              <a:gd name="T18" fmla="*/ 298 w 1127"/>
              <a:gd name="T19" fmla="*/ 109 h 753"/>
              <a:gd name="T20" fmla="*/ 283 w 1127"/>
              <a:gd name="T21" fmla="*/ 138 h 753"/>
              <a:gd name="T22" fmla="*/ 229 w 1127"/>
              <a:gd name="T23" fmla="*/ 140 h 753"/>
              <a:gd name="T24" fmla="*/ 85 w 1127"/>
              <a:gd name="T25" fmla="*/ 223 h 753"/>
              <a:gd name="T26" fmla="*/ 67 w 1127"/>
              <a:gd name="T27" fmla="*/ 333 h 753"/>
              <a:gd name="T28" fmla="*/ 64 w 1127"/>
              <a:gd name="T29" fmla="*/ 355 h 753"/>
              <a:gd name="T30" fmla="*/ 89 w 1127"/>
              <a:gd name="T31" fmla="*/ 371 h 753"/>
              <a:gd name="T32" fmla="*/ 123 w 1127"/>
              <a:gd name="T33" fmla="*/ 363 h 753"/>
              <a:gd name="T34" fmla="*/ 144 w 1127"/>
              <a:gd name="T35" fmla="*/ 367 h 753"/>
              <a:gd name="T36" fmla="*/ 140 w 1127"/>
              <a:gd name="T37" fmla="*/ 528 h 753"/>
              <a:gd name="T38" fmla="*/ 43 w 1127"/>
              <a:gd name="T39" fmla="*/ 684 h 753"/>
              <a:gd name="T40" fmla="*/ 71 w 1127"/>
              <a:gd name="T41" fmla="*/ 708 h 753"/>
              <a:gd name="T42" fmla="*/ 0 w 1127"/>
              <a:gd name="T43" fmla="*/ 718 h 753"/>
              <a:gd name="T44" fmla="*/ 1127 w 1127"/>
              <a:gd name="T45" fmla="*/ 753 h 753"/>
              <a:gd name="T46" fmla="*/ 128 w 1127"/>
              <a:gd name="T47" fmla="*/ 328 h 753"/>
              <a:gd name="T48" fmla="*/ 198 w 1127"/>
              <a:gd name="T49" fmla="*/ 223 h 753"/>
              <a:gd name="T50" fmla="*/ 193 w 1127"/>
              <a:gd name="T51" fmla="*/ 272 h 753"/>
              <a:gd name="T52" fmla="*/ 128 w 1127"/>
              <a:gd name="T53" fmla="*/ 328 h 753"/>
              <a:gd name="T54" fmla="*/ 142 w 1127"/>
              <a:gd name="T55" fmla="*/ 685 h 753"/>
              <a:gd name="T56" fmla="*/ 143 w 1127"/>
              <a:gd name="T57" fmla="*/ 656 h 753"/>
              <a:gd name="T58" fmla="*/ 223 w 1127"/>
              <a:gd name="T59" fmla="*/ 531 h 753"/>
              <a:gd name="T60" fmla="*/ 235 w 1127"/>
              <a:gd name="T61" fmla="*/ 454 h 753"/>
              <a:gd name="T62" fmla="*/ 300 w 1127"/>
              <a:gd name="T63" fmla="*/ 549 h 753"/>
              <a:gd name="T64" fmla="*/ 160 w 1127"/>
              <a:gd name="T65" fmla="*/ 719 h 753"/>
              <a:gd name="T66" fmla="*/ 303 w 1127"/>
              <a:gd name="T67" fmla="*/ 343 h 753"/>
              <a:gd name="T68" fmla="*/ 335 w 1127"/>
              <a:gd name="T69" fmla="*/ 361 h 753"/>
              <a:gd name="T70" fmla="*/ 367 w 1127"/>
              <a:gd name="T71" fmla="*/ 438 h 753"/>
              <a:gd name="T72" fmla="*/ 297 w 1127"/>
              <a:gd name="T73" fmla="*/ 382 h 753"/>
              <a:gd name="T74" fmla="*/ 535 w 1127"/>
              <a:gd name="T75" fmla="*/ 646 h 753"/>
              <a:gd name="T76" fmla="*/ 495 w 1127"/>
              <a:gd name="T77" fmla="*/ 691 h 753"/>
              <a:gd name="T78" fmla="*/ 461 w 1127"/>
              <a:gd name="T79" fmla="*/ 718 h 753"/>
              <a:gd name="T80" fmla="*/ 382 w 1127"/>
              <a:gd name="T81" fmla="*/ 670 h 753"/>
              <a:gd name="T82" fmla="*/ 375 w 1127"/>
              <a:gd name="T83" fmla="*/ 527 h 753"/>
              <a:gd name="T84" fmla="*/ 342 w 1127"/>
              <a:gd name="T85" fmla="*/ 463 h 753"/>
              <a:gd name="T86" fmla="*/ 552 w 1127"/>
              <a:gd name="T87" fmla="*/ 586 h 753"/>
              <a:gd name="T88" fmla="*/ 583 w 1127"/>
              <a:gd name="T89" fmla="*/ 616 h 753"/>
              <a:gd name="T90" fmla="*/ 548 w 1127"/>
              <a:gd name="T91" fmla="*/ 641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7" h="753">
                <a:moveTo>
                  <a:pt x="871" y="399"/>
                </a:moveTo>
                <a:cubicBezTo>
                  <a:pt x="856" y="377"/>
                  <a:pt x="827" y="404"/>
                  <a:pt x="821" y="408"/>
                </a:cubicBezTo>
                <a:cubicBezTo>
                  <a:pt x="814" y="411"/>
                  <a:pt x="818" y="409"/>
                  <a:pt x="792" y="401"/>
                </a:cubicBezTo>
                <a:cubicBezTo>
                  <a:pt x="765" y="394"/>
                  <a:pt x="746" y="411"/>
                  <a:pt x="740" y="424"/>
                </a:cubicBezTo>
                <a:cubicBezTo>
                  <a:pt x="734" y="437"/>
                  <a:pt x="697" y="511"/>
                  <a:pt x="691" y="523"/>
                </a:cubicBezTo>
                <a:cubicBezTo>
                  <a:pt x="684" y="534"/>
                  <a:pt x="669" y="526"/>
                  <a:pt x="669" y="526"/>
                </a:cubicBezTo>
                <a:cubicBezTo>
                  <a:pt x="669" y="526"/>
                  <a:pt x="643" y="511"/>
                  <a:pt x="634" y="507"/>
                </a:cubicBezTo>
                <a:cubicBezTo>
                  <a:pt x="624" y="504"/>
                  <a:pt x="617" y="512"/>
                  <a:pt x="617" y="512"/>
                </a:cubicBezTo>
                <a:lnTo>
                  <a:pt x="586" y="545"/>
                </a:lnTo>
                <a:cubicBezTo>
                  <a:pt x="586" y="545"/>
                  <a:pt x="466" y="489"/>
                  <a:pt x="453" y="482"/>
                </a:cubicBezTo>
                <a:cubicBezTo>
                  <a:pt x="440" y="474"/>
                  <a:pt x="410" y="398"/>
                  <a:pt x="401" y="382"/>
                </a:cubicBezTo>
                <a:cubicBezTo>
                  <a:pt x="392" y="367"/>
                  <a:pt x="394" y="355"/>
                  <a:pt x="394" y="355"/>
                </a:cubicBezTo>
                <a:cubicBezTo>
                  <a:pt x="394" y="355"/>
                  <a:pt x="392" y="322"/>
                  <a:pt x="391" y="262"/>
                </a:cubicBezTo>
                <a:cubicBezTo>
                  <a:pt x="391" y="203"/>
                  <a:pt x="365" y="177"/>
                  <a:pt x="360" y="169"/>
                </a:cubicBezTo>
                <a:cubicBezTo>
                  <a:pt x="355" y="161"/>
                  <a:pt x="360" y="154"/>
                  <a:pt x="360" y="154"/>
                </a:cubicBezTo>
                <a:lnTo>
                  <a:pt x="366" y="141"/>
                </a:lnTo>
                <a:cubicBezTo>
                  <a:pt x="401" y="136"/>
                  <a:pt x="428" y="107"/>
                  <a:pt x="428" y="70"/>
                </a:cubicBezTo>
                <a:cubicBezTo>
                  <a:pt x="428" y="31"/>
                  <a:pt x="396" y="0"/>
                  <a:pt x="357" y="0"/>
                </a:cubicBezTo>
                <a:cubicBezTo>
                  <a:pt x="318" y="0"/>
                  <a:pt x="287" y="31"/>
                  <a:pt x="287" y="70"/>
                </a:cubicBezTo>
                <a:cubicBezTo>
                  <a:pt x="287" y="85"/>
                  <a:pt x="291" y="98"/>
                  <a:pt x="298" y="109"/>
                </a:cubicBezTo>
                <a:cubicBezTo>
                  <a:pt x="297" y="112"/>
                  <a:pt x="297" y="118"/>
                  <a:pt x="296" y="124"/>
                </a:cubicBezTo>
                <a:cubicBezTo>
                  <a:pt x="296" y="135"/>
                  <a:pt x="283" y="138"/>
                  <a:pt x="283" y="138"/>
                </a:cubicBezTo>
                <a:cubicBezTo>
                  <a:pt x="283" y="138"/>
                  <a:pt x="252" y="137"/>
                  <a:pt x="245" y="137"/>
                </a:cubicBezTo>
                <a:cubicBezTo>
                  <a:pt x="237" y="137"/>
                  <a:pt x="229" y="140"/>
                  <a:pt x="229" y="140"/>
                </a:cubicBezTo>
                <a:cubicBezTo>
                  <a:pt x="229" y="140"/>
                  <a:pt x="110" y="200"/>
                  <a:pt x="97" y="207"/>
                </a:cubicBezTo>
                <a:cubicBezTo>
                  <a:pt x="84" y="213"/>
                  <a:pt x="85" y="223"/>
                  <a:pt x="85" y="223"/>
                </a:cubicBezTo>
                <a:lnTo>
                  <a:pt x="76" y="327"/>
                </a:lnTo>
                <a:cubicBezTo>
                  <a:pt x="76" y="327"/>
                  <a:pt x="70" y="331"/>
                  <a:pt x="67" y="333"/>
                </a:cubicBezTo>
                <a:cubicBezTo>
                  <a:pt x="64" y="335"/>
                  <a:pt x="64" y="339"/>
                  <a:pt x="64" y="339"/>
                </a:cubicBezTo>
                <a:lnTo>
                  <a:pt x="64" y="355"/>
                </a:lnTo>
                <a:cubicBezTo>
                  <a:pt x="64" y="360"/>
                  <a:pt x="71" y="362"/>
                  <a:pt x="71" y="362"/>
                </a:cubicBezTo>
                <a:cubicBezTo>
                  <a:pt x="71" y="362"/>
                  <a:pt x="84" y="368"/>
                  <a:pt x="89" y="371"/>
                </a:cubicBezTo>
                <a:cubicBezTo>
                  <a:pt x="95" y="374"/>
                  <a:pt x="97" y="371"/>
                  <a:pt x="97" y="371"/>
                </a:cubicBezTo>
                <a:cubicBezTo>
                  <a:pt x="97" y="371"/>
                  <a:pt x="118" y="365"/>
                  <a:pt x="123" y="363"/>
                </a:cubicBezTo>
                <a:cubicBezTo>
                  <a:pt x="127" y="360"/>
                  <a:pt x="131" y="360"/>
                  <a:pt x="131" y="360"/>
                </a:cubicBezTo>
                <a:lnTo>
                  <a:pt x="144" y="367"/>
                </a:lnTo>
                <a:cubicBezTo>
                  <a:pt x="144" y="367"/>
                  <a:pt x="147" y="491"/>
                  <a:pt x="147" y="506"/>
                </a:cubicBezTo>
                <a:cubicBezTo>
                  <a:pt x="147" y="520"/>
                  <a:pt x="140" y="528"/>
                  <a:pt x="140" y="528"/>
                </a:cubicBezTo>
                <a:cubicBezTo>
                  <a:pt x="140" y="528"/>
                  <a:pt x="51" y="650"/>
                  <a:pt x="41" y="663"/>
                </a:cubicBezTo>
                <a:cubicBezTo>
                  <a:pt x="32" y="676"/>
                  <a:pt x="43" y="684"/>
                  <a:pt x="43" y="684"/>
                </a:cubicBezTo>
                <a:lnTo>
                  <a:pt x="59" y="694"/>
                </a:lnTo>
                <a:cubicBezTo>
                  <a:pt x="59" y="694"/>
                  <a:pt x="71" y="701"/>
                  <a:pt x="71" y="708"/>
                </a:cubicBezTo>
                <a:cubicBezTo>
                  <a:pt x="71" y="715"/>
                  <a:pt x="61" y="718"/>
                  <a:pt x="61" y="718"/>
                </a:cubicBezTo>
                <a:lnTo>
                  <a:pt x="0" y="718"/>
                </a:lnTo>
                <a:lnTo>
                  <a:pt x="0" y="751"/>
                </a:lnTo>
                <a:lnTo>
                  <a:pt x="1127" y="753"/>
                </a:lnTo>
                <a:lnTo>
                  <a:pt x="871" y="399"/>
                </a:lnTo>
                <a:close/>
                <a:moveTo>
                  <a:pt x="128" y="328"/>
                </a:moveTo>
                <a:cubicBezTo>
                  <a:pt x="127" y="324"/>
                  <a:pt x="134" y="255"/>
                  <a:pt x="134" y="255"/>
                </a:cubicBezTo>
                <a:lnTo>
                  <a:pt x="198" y="223"/>
                </a:lnTo>
                <a:cubicBezTo>
                  <a:pt x="198" y="223"/>
                  <a:pt x="205" y="218"/>
                  <a:pt x="204" y="227"/>
                </a:cubicBezTo>
                <a:cubicBezTo>
                  <a:pt x="204" y="236"/>
                  <a:pt x="193" y="272"/>
                  <a:pt x="193" y="272"/>
                </a:cubicBezTo>
                <a:lnTo>
                  <a:pt x="158" y="343"/>
                </a:lnTo>
                <a:cubicBezTo>
                  <a:pt x="158" y="343"/>
                  <a:pt x="130" y="332"/>
                  <a:pt x="128" y="328"/>
                </a:cubicBezTo>
                <a:close/>
                <a:moveTo>
                  <a:pt x="160" y="719"/>
                </a:moveTo>
                <a:lnTo>
                  <a:pt x="142" y="685"/>
                </a:lnTo>
                <a:cubicBezTo>
                  <a:pt x="142" y="685"/>
                  <a:pt x="139" y="676"/>
                  <a:pt x="139" y="670"/>
                </a:cubicBezTo>
                <a:cubicBezTo>
                  <a:pt x="139" y="665"/>
                  <a:pt x="143" y="656"/>
                  <a:pt x="143" y="656"/>
                </a:cubicBezTo>
                <a:lnTo>
                  <a:pt x="216" y="550"/>
                </a:lnTo>
                <a:cubicBezTo>
                  <a:pt x="216" y="550"/>
                  <a:pt x="221" y="541"/>
                  <a:pt x="223" y="531"/>
                </a:cubicBezTo>
                <a:cubicBezTo>
                  <a:pt x="224" y="521"/>
                  <a:pt x="231" y="453"/>
                  <a:pt x="231" y="453"/>
                </a:cubicBezTo>
                <a:cubicBezTo>
                  <a:pt x="231" y="453"/>
                  <a:pt x="233" y="452"/>
                  <a:pt x="235" y="454"/>
                </a:cubicBezTo>
                <a:cubicBezTo>
                  <a:pt x="238" y="457"/>
                  <a:pt x="295" y="533"/>
                  <a:pt x="295" y="533"/>
                </a:cubicBezTo>
                <a:cubicBezTo>
                  <a:pt x="295" y="533"/>
                  <a:pt x="300" y="543"/>
                  <a:pt x="300" y="549"/>
                </a:cubicBezTo>
                <a:cubicBezTo>
                  <a:pt x="300" y="554"/>
                  <a:pt x="302" y="718"/>
                  <a:pt x="302" y="718"/>
                </a:cubicBezTo>
                <a:lnTo>
                  <a:pt x="160" y="719"/>
                </a:lnTo>
                <a:close/>
                <a:moveTo>
                  <a:pt x="297" y="382"/>
                </a:moveTo>
                <a:cubicBezTo>
                  <a:pt x="297" y="368"/>
                  <a:pt x="296" y="353"/>
                  <a:pt x="303" y="343"/>
                </a:cubicBezTo>
                <a:cubicBezTo>
                  <a:pt x="311" y="333"/>
                  <a:pt x="333" y="308"/>
                  <a:pt x="333" y="308"/>
                </a:cubicBezTo>
                <a:lnTo>
                  <a:pt x="335" y="361"/>
                </a:lnTo>
                <a:cubicBezTo>
                  <a:pt x="335" y="361"/>
                  <a:pt x="335" y="375"/>
                  <a:pt x="340" y="386"/>
                </a:cubicBezTo>
                <a:cubicBezTo>
                  <a:pt x="345" y="396"/>
                  <a:pt x="367" y="438"/>
                  <a:pt x="367" y="438"/>
                </a:cubicBezTo>
                <a:lnTo>
                  <a:pt x="314" y="415"/>
                </a:lnTo>
                <a:cubicBezTo>
                  <a:pt x="314" y="415"/>
                  <a:pt x="297" y="396"/>
                  <a:pt x="297" y="382"/>
                </a:cubicBezTo>
                <a:close/>
                <a:moveTo>
                  <a:pt x="548" y="641"/>
                </a:moveTo>
                <a:cubicBezTo>
                  <a:pt x="548" y="641"/>
                  <a:pt x="540" y="644"/>
                  <a:pt x="535" y="646"/>
                </a:cubicBezTo>
                <a:cubicBezTo>
                  <a:pt x="530" y="648"/>
                  <a:pt x="518" y="650"/>
                  <a:pt x="513" y="665"/>
                </a:cubicBezTo>
                <a:cubicBezTo>
                  <a:pt x="509" y="679"/>
                  <a:pt x="506" y="689"/>
                  <a:pt x="495" y="691"/>
                </a:cubicBezTo>
                <a:cubicBezTo>
                  <a:pt x="485" y="693"/>
                  <a:pt x="483" y="695"/>
                  <a:pt x="476" y="702"/>
                </a:cubicBezTo>
                <a:cubicBezTo>
                  <a:pt x="469" y="709"/>
                  <a:pt x="467" y="717"/>
                  <a:pt x="461" y="718"/>
                </a:cubicBezTo>
                <a:cubicBezTo>
                  <a:pt x="455" y="719"/>
                  <a:pt x="413" y="719"/>
                  <a:pt x="413" y="719"/>
                </a:cubicBezTo>
                <a:lnTo>
                  <a:pt x="382" y="670"/>
                </a:lnTo>
                <a:cubicBezTo>
                  <a:pt x="382" y="670"/>
                  <a:pt x="379" y="663"/>
                  <a:pt x="379" y="656"/>
                </a:cubicBezTo>
                <a:cubicBezTo>
                  <a:pt x="379" y="649"/>
                  <a:pt x="375" y="527"/>
                  <a:pt x="375" y="527"/>
                </a:cubicBezTo>
                <a:cubicBezTo>
                  <a:pt x="375" y="527"/>
                  <a:pt x="374" y="517"/>
                  <a:pt x="369" y="509"/>
                </a:cubicBezTo>
                <a:cubicBezTo>
                  <a:pt x="365" y="502"/>
                  <a:pt x="342" y="463"/>
                  <a:pt x="342" y="463"/>
                </a:cubicBezTo>
                <a:lnTo>
                  <a:pt x="564" y="571"/>
                </a:lnTo>
                <a:lnTo>
                  <a:pt x="552" y="586"/>
                </a:lnTo>
                <a:cubicBezTo>
                  <a:pt x="552" y="586"/>
                  <a:pt x="542" y="598"/>
                  <a:pt x="554" y="603"/>
                </a:cubicBezTo>
                <a:cubicBezTo>
                  <a:pt x="565" y="608"/>
                  <a:pt x="583" y="616"/>
                  <a:pt x="583" y="616"/>
                </a:cubicBezTo>
                <a:lnTo>
                  <a:pt x="584" y="621"/>
                </a:lnTo>
                <a:lnTo>
                  <a:pt x="548" y="641"/>
                </a:lnTo>
                <a:close/>
              </a:path>
            </a:pathLst>
          </a:custGeom>
          <a:solidFill>
            <a:schemeClr val="bg1"/>
          </a:solidFill>
          <a:ln w="0">
            <a:noFill/>
            <a:prstDash val="solid"/>
            <a:round/>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02BED039-F935-48A7-AE63-C1C00B5A619F}"/>
              </a:ext>
            </a:extLst>
          </p:cNvPr>
          <p:cNvSpPr/>
          <p:nvPr/>
        </p:nvSpPr>
        <p:spPr>
          <a:xfrm>
            <a:off x="3048034" y="5380721"/>
            <a:ext cx="1914932" cy="498598"/>
          </a:xfrm>
          <a:prstGeom prst="rect">
            <a:avLst/>
          </a:prstGeom>
        </p:spPr>
        <p:txBody>
          <a:bodyPr wrap="square">
            <a:spAutoFit/>
          </a:bodyPr>
          <a:lstStyle/>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200" b="1" i="0" u="none" strike="noStrike" kern="1200" cap="none" spc="0" normalizeH="0" baseline="0" noProof="0" dirty="0">
                <a:ln>
                  <a:noFill/>
                </a:ln>
                <a:solidFill>
                  <a:srgbClr val="0091DC"/>
                </a:solidFill>
                <a:effectLst/>
                <a:uLnTx/>
                <a:uFillTx/>
                <a:latin typeface="MetaPlusLF"/>
                <a:ea typeface="+mn-ea"/>
              </a:rPr>
              <a:t>2008</a:t>
            </a:r>
            <a:r>
              <a:rPr kumimoji="0" lang="en-GB" sz="1200" b="1" i="0" u="none" strike="noStrike" kern="1200" cap="none" spc="0" normalizeH="0" baseline="0" noProof="0" dirty="0">
                <a:ln>
                  <a:noFill/>
                </a:ln>
                <a:solidFill>
                  <a:srgbClr val="0091DC"/>
                </a:solidFill>
                <a:effectLst/>
                <a:uLnTx/>
                <a:uFillTx/>
                <a:latin typeface="MetaPlusLF"/>
                <a:ea typeface="+mn-ea"/>
              </a:rPr>
              <a:t> </a:t>
            </a:r>
          </a:p>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200" b="0" i="0" u="none" strike="noStrike" kern="1200" cap="none" spc="0" normalizeH="0" baseline="0" noProof="0" dirty="0">
                <a:ln>
                  <a:noFill/>
                </a:ln>
                <a:solidFill>
                  <a:srgbClr val="000000"/>
                </a:solidFill>
                <a:effectLst/>
                <a:uLnTx/>
                <a:uFillTx/>
                <a:latin typeface="MetaPlusLF"/>
                <a:ea typeface="+mn-ea"/>
              </a:rPr>
              <a:t>FIT (Festo </a:t>
            </a:r>
            <a:r>
              <a:rPr kumimoji="0" lang="lt-LT" sz="1200" b="0" i="0" u="none" strike="noStrike" kern="1200" cap="none" spc="0" normalizeH="0" baseline="0" noProof="0" dirty="0" err="1">
                <a:ln>
                  <a:noFill/>
                </a:ln>
                <a:solidFill>
                  <a:srgbClr val="000000"/>
                </a:solidFill>
                <a:effectLst/>
                <a:uLnTx/>
                <a:uFillTx/>
                <a:latin typeface="MetaPlusLF"/>
                <a:ea typeface="+mn-ea"/>
              </a:rPr>
              <a:t>invoice</a:t>
            </a:r>
            <a:r>
              <a:rPr kumimoji="0" lang="lt-LT" sz="1200" b="0" i="0" u="none" strike="noStrike" kern="1200" cap="none" spc="0" normalizeH="0" baseline="0" noProof="0" dirty="0">
                <a:ln>
                  <a:noFill/>
                </a:ln>
                <a:solidFill>
                  <a:srgbClr val="000000"/>
                </a:solidFill>
                <a:effectLst/>
                <a:uLnTx/>
                <a:uFillTx/>
                <a:latin typeface="MetaPlusLF"/>
                <a:ea typeface="+mn-ea"/>
              </a:rPr>
              <a:t> </a:t>
            </a:r>
            <a:r>
              <a:rPr kumimoji="0" lang="lt-LT" sz="1200" b="0" i="0" u="none" strike="noStrike" kern="1200" cap="none" spc="0" normalizeH="0" baseline="0" noProof="0" dirty="0" err="1">
                <a:ln>
                  <a:noFill/>
                </a:ln>
                <a:solidFill>
                  <a:srgbClr val="000000"/>
                </a:solidFill>
                <a:effectLst/>
                <a:uLnTx/>
                <a:uFillTx/>
                <a:latin typeface="MetaPlusLF"/>
                <a:ea typeface="+mn-ea"/>
              </a:rPr>
              <a:t>tracking</a:t>
            </a:r>
            <a:endParaRPr kumimoji="0" lang="en-GB" sz="1200" b="0" i="0" u="none" strike="noStrike" kern="1200" cap="none" spc="0" normalizeH="0" baseline="0" noProof="0" dirty="0">
              <a:ln>
                <a:noFill/>
              </a:ln>
              <a:solidFill>
                <a:srgbClr val="000000"/>
              </a:solidFill>
              <a:effectLst/>
              <a:uLnTx/>
              <a:uFillTx/>
              <a:latin typeface="MetaPlusLF"/>
              <a:ea typeface="+mn-ea"/>
            </a:endParaRPr>
          </a:p>
        </p:txBody>
      </p:sp>
      <p:sp>
        <p:nvSpPr>
          <p:cNvPr id="88" name="Right Arrow 1">
            <a:extLst>
              <a:ext uri="{FF2B5EF4-FFF2-40B4-BE49-F238E27FC236}">
                <a16:creationId xmlns:a16="http://schemas.microsoft.com/office/drawing/2014/main" id="{DDE73DD7-FBE4-48BF-9FF5-C3D133209981}"/>
              </a:ext>
            </a:extLst>
          </p:cNvPr>
          <p:cNvSpPr/>
          <p:nvPr/>
        </p:nvSpPr>
        <p:spPr>
          <a:xfrm>
            <a:off x="528102" y="3768664"/>
            <a:ext cx="11184205" cy="683394"/>
          </a:xfrm>
          <a:prstGeom prst="rightArrow">
            <a:avLst/>
          </a:prstGeom>
          <a:ln w="127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89" name="Straight Connector 88">
            <a:extLst>
              <a:ext uri="{FF2B5EF4-FFF2-40B4-BE49-F238E27FC236}">
                <a16:creationId xmlns:a16="http://schemas.microsoft.com/office/drawing/2014/main" id="{C11526AB-69AA-4CB3-A4A2-DBBFFD539666}"/>
              </a:ext>
            </a:extLst>
          </p:cNvPr>
          <p:cNvCxnSpPr>
            <a:cxnSpLocks/>
          </p:cNvCxnSpPr>
          <p:nvPr/>
        </p:nvCxnSpPr>
        <p:spPr>
          <a:xfrm>
            <a:off x="1187763" y="4284617"/>
            <a:ext cx="0" cy="224574"/>
          </a:xfrm>
          <a:prstGeom prst="line">
            <a:avLst/>
          </a:prstGeom>
          <a:ln w="12700">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CD3A28F-2BE0-45CE-B59E-A3DA80866D61}"/>
              </a:ext>
            </a:extLst>
          </p:cNvPr>
          <p:cNvCxnSpPr>
            <a:cxnSpLocks/>
          </p:cNvCxnSpPr>
          <p:nvPr/>
        </p:nvCxnSpPr>
        <p:spPr>
          <a:xfrm>
            <a:off x="9408186" y="3676637"/>
            <a:ext cx="0" cy="267064"/>
          </a:xfrm>
          <a:prstGeom prst="line">
            <a:avLst/>
          </a:prstGeom>
          <a:ln w="12700">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sp>
        <p:nvSpPr>
          <p:cNvPr id="98" name="Oval 97">
            <a:extLst>
              <a:ext uri="{FF2B5EF4-FFF2-40B4-BE49-F238E27FC236}">
                <a16:creationId xmlns:a16="http://schemas.microsoft.com/office/drawing/2014/main" id="{E91417E6-23D5-4C78-A164-B16CB9A53489}"/>
              </a:ext>
            </a:extLst>
          </p:cNvPr>
          <p:cNvSpPr>
            <a:spLocks noChangeAspect="1"/>
          </p:cNvSpPr>
          <p:nvPr/>
        </p:nvSpPr>
        <p:spPr>
          <a:xfrm>
            <a:off x="732602" y="2672329"/>
            <a:ext cx="897255" cy="897255"/>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99" name="Workers" descr="{&quot;Key&quot;:&quot;POWER_USER_SHAPE_ICON&quot;,&quot;Value&quot;:&quot;POWER_USER_SHAPE_ICON_STYLE_1&quot;}">
            <a:extLst>
              <a:ext uri="{FF2B5EF4-FFF2-40B4-BE49-F238E27FC236}">
                <a16:creationId xmlns:a16="http://schemas.microsoft.com/office/drawing/2014/main" id="{DAEEBEE5-E9E4-49D4-90B6-CC86881519EE}"/>
              </a:ext>
            </a:extLst>
          </p:cNvPr>
          <p:cNvGrpSpPr>
            <a:grpSpLocks noChangeAspect="1"/>
          </p:cNvGrpSpPr>
          <p:nvPr>
            <p:custDataLst>
              <p:tags r:id="rId8"/>
            </p:custDataLst>
          </p:nvPr>
        </p:nvGrpSpPr>
        <p:grpSpPr>
          <a:xfrm>
            <a:off x="2841522" y="2886766"/>
            <a:ext cx="775437" cy="446369"/>
            <a:chOff x="9701101" y="5898356"/>
            <a:chExt cx="956965" cy="550863"/>
          </a:xfrm>
          <a:solidFill>
            <a:schemeClr val="bg2"/>
          </a:solidFill>
        </p:grpSpPr>
        <p:grpSp>
          <p:nvGrpSpPr>
            <p:cNvPr id="100" name="Group 99">
              <a:extLst>
                <a:ext uri="{FF2B5EF4-FFF2-40B4-BE49-F238E27FC236}">
                  <a16:creationId xmlns:a16="http://schemas.microsoft.com/office/drawing/2014/main" id="{DA8C2DB8-E348-413A-9611-1120EBF41F88}"/>
                </a:ext>
              </a:extLst>
            </p:cNvPr>
            <p:cNvGrpSpPr/>
            <p:nvPr/>
          </p:nvGrpSpPr>
          <p:grpSpPr>
            <a:xfrm>
              <a:off x="9701101" y="5898356"/>
              <a:ext cx="482600" cy="550863"/>
              <a:chOff x="9701101" y="5898356"/>
              <a:chExt cx="482600" cy="550863"/>
            </a:xfrm>
            <a:grpFill/>
          </p:grpSpPr>
          <p:sp>
            <p:nvSpPr>
              <p:cNvPr id="105" name="Oval 113">
                <a:extLst>
                  <a:ext uri="{FF2B5EF4-FFF2-40B4-BE49-F238E27FC236}">
                    <a16:creationId xmlns:a16="http://schemas.microsoft.com/office/drawing/2014/main" id="{76C68CA7-F179-4E2C-AB40-3852D1B64268}"/>
                  </a:ext>
                </a:extLst>
              </p:cNvPr>
              <p:cNvSpPr>
                <a:spLocks noChangeArrowheads="1"/>
              </p:cNvSpPr>
              <p:nvPr/>
            </p:nvSpPr>
            <p:spPr bwMode="auto">
              <a:xfrm>
                <a:off x="9918589" y="6314281"/>
                <a:ext cx="49213" cy="492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Freeform 114">
                <a:extLst>
                  <a:ext uri="{FF2B5EF4-FFF2-40B4-BE49-F238E27FC236}">
                    <a16:creationId xmlns:a16="http://schemas.microsoft.com/office/drawing/2014/main" id="{A1474671-451A-45C8-BF6A-0E316C24F087}"/>
                  </a:ext>
                </a:extLst>
              </p:cNvPr>
              <p:cNvSpPr>
                <a:spLocks noEditPoints="1"/>
              </p:cNvSpPr>
              <p:nvPr/>
            </p:nvSpPr>
            <p:spPr bwMode="auto">
              <a:xfrm>
                <a:off x="9701101" y="6130131"/>
                <a:ext cx="482600" cy="319088"/>
              </a:xfrm>
              <a:custGeom>
                <a:avLst/>
                <a:gdLst>
                  <a:gd name="T0" fmla="*/ 497 w 633"/>
                  <a:gd name="T1" fmla="*/ 388 h 419"/>
                  <a:gd name="T2" fmla="*/ 136 w 633"/>
                  <a:gd name="T3" fmla="*/ 388 h 419"/>
                  <a:gd name="T4" fmla="*/ 136 w 633"/>
                  <a:gd name="T5" fmla="*/ 165 h 419"/>
                  <a:gd name="T6" fmla="*/ 150 w 633"/>
                  <a:gd name="T7" fmla="*/ 151 h 419"/>
                  <a:gd name="T8" fmla="*/ 483 w 633"/>
                  <a:gd name="T9" fmla="*/ 151 h 419"/>
                  <a:gd name="T10" fmla="*/ 497 w 633"/>
                  <a:gd name="T11" fmla="*/ 165 h 419"/>
                  <a:gd name="T12" fmla="*/ 497 w 633"/>
                  <a:gd name="T13" fmla="*/ 388 h 419"/>
                  <a:gd name="T14" fmla="*/ 633 w 633"/>
                  <a:gd name="T15" fmla="*/ 274 h 419"/>
                  <a:gd name="T16" fmla="*/ 633 w 633"/>
                  <a:gd name="T17" fmla="*/ 233 h 419"/>
                  <a:gd name="T18" fmla="*/ 564 w 633"/>
                  <a:gd name="T19" fmla="*/ 233 h 419"/>
                  <a:gd name="T20" fmla="*/ 564 w 633"/>
                  <a:gd name="T21" fmla="*/ 175 h 419"/>
                  <a:gd name="T22" fmla="*/ 395 w 633"/>
                  <a:gd name="T23" fmla="*/ 1 h 419"/>
                  <a:gd name="T24" fmla="*/ 317 w 633"/>
                  <a:gd name="T25" fmla="*/ 62 h 419"/>
                  <a:gd name="T26" fmla="*/ 236 w 633"/>
                  <a:gd name="T27" fmla="*/ 0 h 419"/>
                  <a:gd name="T28" fmla="*/ 70 w 633"/>
                  <a:gd name="T29" fmla="*/ 175 h 419"/>
                  <a:gd name="T30" fmla="*/ 70 w 633"/>
                  <a:gd name="T31" fmla="*/ 233 h 419"/>
                  <a:gd name="T32" fmla="*/ 0 w 633"/>
                  <a:gd name="T33" fmla="*/ 233 h 419"/>
                  <a:gd name="T34" fmla="*/ 0 w 633"/>
                  <a:gd name="T35" fmla="*/ 274 h 419"/>
                  <a:gd name="T36" fmla="*/ 104 w 633"/>
                  <a:gd name="T37" fmla="*/ 274 h 419"/>
                  <a:gd name="T38" fmla="*/ 104 w 633"/>
                  <a:gd name="T39" fmla="*/ 312 h 419"/>
                  <a:gd name="T40" fmla="*/ 87 w 633"/>
                  <a:gd name="T41" fmla="*/ 312 h 419"/>
                  <a:gd name="T42" fmla="*/ 72 w 633"/>
                  <a:gd name="T43" fmla="*/ 319 h 419"/>
                  <a:gd name="T44" fmla="*/ 70 w 633"/>
                  <a:gd name="T45" fmla="*/ 336 h 419"/>
                  <a:gd name="T46" fmla="*/ 96 w 633"/>
                  <a:gd name="T47" fmla="*/ 407 h 419"/>
                  <a:gd name="T48" fmla="*/ 113 w 633"/>
                  <a:gd name="T49" fmla="*/ 419 h 419"/>
                  <a:gd name="T50" fmla="*/ 521 w 633"/>
                  <a:gd name="T51" fmla="*/ 419 h 419"/>
                  <a:gd name="T52" fmla="*/ 537 w 633"/>
                  <a:gd name="T53" fmla="*/ 407 h 419"/>
                  <a:gd name="T54" fmla="*/ 563 w 633"/>
                  <a:gd name="T55" fmla="*/ 336 h 419"/>
                  <a:gd name="T56" fmla="*/ 561 w 633"/>
                  <a:gd name="T57" fmla="*/ 319 h 419"/>
                  <a:gd name="T58" fmla="*/ 547 w 633"/>
                  <a:gd name="T59" fmla="*/ 312 h 419"/>
                  <a:gd name="T60" fmla="*/ 529 w 633"/>
                  <a:gd name="T61" fmla="*/ 312 h 419"/>
                  <a:gd name="T62" fmla="*/ 529 w 633"/>
                  <a:gd name="T63" fmla="*/ 274 h 419"/>
                  <a:gd name="T64" fmla="*/ 633 w 633"/>
                  <a:gd name="T65" fmla="*/ 274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33" h="419">
                    <a:moveTo>
                      <a:pt x="497" y="388"/>
                    </a:moveTo>
                    <a:lnTo>
                      <a:pt x="136" y="388"/>
                    </a:lnTo>
                    <a:lnTo>
                      <a:pt x="136" y="165"/>
                    </a:lnTo>
                    <a:cubicBezTo>
                      <a:pt x="136" y="157"/>
                      <a:pt x="143" y="151"/>
                      <a:pt x="150" y="151"/>
                    </a:cubicBezTo>
                    <a:lnTo>
                      <a:pt x="483" y="151"/>
                    </a:lnTo>
                    <a:cubicBezTo>
                      <a:pt x="491" y="151"/>
                      <a:pt x="497" y="157"/>
                      <a:pt x="497" y="165"/>
                    </a:cubicBezTo>
                    <a:lnTo>
                      <a:pt x="497" y="388"/>
                    </a:lnTo>
                    <a:close/>
                    <a:moveTo>
                      <a:pt x="633" y="274"/>
                    </a:moveTo>
                    <a:lnTo>
                      <a:pt x="633" y="233"/>
                    </a:lnTo>
                    <a:lnTo>
                      <a:pt x="564" y="233"/>
                    </a:lnTo>
                    <a:lnTo>
                      <a:pt x="564" y="175"/>
                    </a:lnTo>
                    <a:cubicBezTo>
                      <a:pt x="564" y="83"/>
                      <a:pt x="493" y="22"/>
                      <a:pt x="395" y="1"/>
                    </a:cubicBezTo>
                    <a:lnTo>
                      <a:pt x="317" y="62"/>
                    </a:lnTo>
                    <a:lnTo>
                      <a:pt x="236" y="0"/>
                    </a:lnTo>
                    <a:cubicBezTo>
                      <a:pt x="139" y="15"/>
                      <a:pt x="70" y="65"/>
                      <a:pt x="70" y="175"/>
                    </a:cubicBezTo>
                    <a:lnTo>
                      <a:pt x="70" y="233"/>
                    </a:lnTo>
                    <a:lnTo>
                      <a:pt x="0" y="233"/>
                    </a:lnTo>
                    <a:lnTo>
                      <a:pt x="0" y="274"/>
                    </a:lnTo>
                    <a:lnTo>
                      <a:pt x="104" y="274"/>
                    </a:lnTo>
                    <a:lnTo>
                      <a:pt x="104" y="312"/>
                    </a:lnTo>
                    <a:lnTo>
                      <a:pt x="87" y="312"/>
                    </a:lnTo>
                    <a:cubicBezTo>
                      <a:pt x="81" y="312"/>
                      <a:pt x="76" y="314"/>
                      <a:pt x="72" y="319"/>
                    </a:cubicBezTo>
                    <a:cubicBezTo>
                      <a:pt x="69" y="324"/>
                      <a:pt x="68" y="330"/>
                      <a:pt x="70" y="336"/>
                    </a:cubicBezTo>
                    <a:lnTo>
                      <a:pt x="96" y="407"/>
                    </a:lnTo>
                    <a:cubicBezTo>
                      <a:pt x="99" y="414"/>
                      <a:pt x="106" y="419"/>
                      <a:pt x="113" y="419"/>
                    </a:cubicBezTo>
                    <a:lnTo>
                      <a:pt x="521" y="419"/>
                    </a:lnTo>
                    <a:cubicBezTo>
                      <a:pt x="528" y="419"/>
                      <a:pt x="535" y="414"/>
                      <a:pt x="537" y="407"/>
                    </a:cubicBezTo>
                    <a:lnTo>
                      <a:pt x="563" y="336"/>
                    </a:lnTo>
                    <a:cubicBezTo>
                      <a:pt x="565" y="330"/>
                      <a:pt x="565" y="324"/>
                      <a:pt x="561" y="319"/>
                    </a:cubicBezTo>
                    <a:cubicBezTo>
                      <a:pt x="558" y="314"/>
                      <a:pt x="552" y="312"/>
                      <a:pt x="547" y="312"/>
                    </a:cubicBezTo>
                    <a:lnTo>
                      <a:pt x="529" y="312"/>
                    </a:lnTo>
                    <a:lnTo>
                      <a:pt x="529" y="274"/>
                    </a:lnTo>
                    <a:lnTo>
                      <a:pt x="633" y="27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Oval 115">
                <a:extLst>
                  <a:ext uri="{FF2B5EF4-FFF2-40B4-BE49-F238E27FC236}">
                    <a16:creationId xmlns:a16="http://schemas.microsoft.com/office/drawing/2014/main" id="{676A47C5-A5A2-4A18-A77F-BB82687BE990}"/>
                  </a:ext>
                </a:extLst>
              </p:cNvPr>
              <p:cNvSpPr>
                <a:spLocks noChangeArrowheads="1"/>
              </p:cNvSpPr>
              <p:nvPr/>
            </p:nvSpPr>
            <p:spPr bwMode="auto">
              <a:xfrm>
                <a:off x="9836039" y="5898356"/>
                <a:ext cx="214313" cy="2143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1" name="Group 100">
              <a:extLst>
                <a:ext uri="{FF2B5EF4-FFF2-40B4-BE49-F238E27FC236}">
                  <a16:creationId xmlns:a16="http://schemas.microsoft.com/office/drawing/2014/main" id="{DBD4CFE4-DA57-497A-8C24-49687BC82AA3}"/>
                </a:ext>
              </a:extLst>
            </p:cNvPr>
            <p:cNvGrpSpPr/>
            <p:nvPr/>
          </p:nvGrpSpPr>
          <p:grpSpPr>
            <a:xfrm>
              <a:off x="10175466" y="5898356"/>
              <a:ext cx="482600" cy="550863"/>
              <a:chOff x="10239264" y="5922962"/>
              <a:chExt cx="482600" cy="550863"/>
            </a:xfrm>
            <a:grpFill/>
          </p:grpSpPr>
          <p:sp>
            <p:nvSpPr>
              <p:cNvPr id="102" name="Oval 113">
                <a:extLst>
                  <a:ext uri="{FF2B5EF4-FFF2-40B4-BE49-F238E27FC236}">
                    <a16:creationId xmlns:a16="http://schemas.microsoft.com/office/drawing/2014/main" id="{8B141193-ED18-4A62-B24E-7823E5D2A5B7}"/>
                  </a:ext>
                </a:extLst>
              </p:cNvPr>
              <p:cNvSpPr>
                <a:spLocks noChangeArrowheads="1"/>
              </p:cNvSpPr>
              <p:nvPr/>
            </p:nvSpPr>
            <p:spPr bwMode="auto">
              <a:xfrm>
                <a:off x="10456752" y="6338887"/>
                <a:ext cx="49213" cy="492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Freeform 114">
                <a:extLst>
                  <a:ext uri="{FF2B5EF4-FFF2-40B4-BE49-F238E27FC236}">
                    <a16:creationId xmlns:a16="http://schemas.microsoft.com/office/drawing/2014/main" id="{BBA5D40B-0661-4E8F-800C-7899F0C0F461}"/>
                  </a:ext>
                </a:extLst>
              </p:cNvPr>
              <p:cNvSpPr>
                <a:spLocks noEditPoints="1"/>
              </p:cNvSpPr>
              <p:nvPr/>
            </p:nvSpPr>
            <p:spPr bwMode="auto">
              <a:xfrm>
                <a:off x="10239264" y="6154737"/>
                <a:ext cx="482600" cy="319088"/>
              </a:xfrm>
              <a:custGeom>
                <a:avLst/>
                <a:gdLst>
                  <a:gd name="T0" fmla="*/ 497 w 633"/>
                  <a:gd name="T1" fmla="*/ 388 h 419"/>
                  <a:gd name="T2" fmla="*/ 136 w 633"/>
                  <a:gd name="T3" fmla="*/ 388 h 419"/>
                  <a:gd name="T4" fmla="*/ 136 w 633"/>
                  <a:gd name="T5" fmla="*/ 165 h 419"/>
                  <a:gd name="T6" fmla="*/ 150 w 633"/>
                  <a:gd name="T7" fmla="*/ 151 h 419"/>
                  <a:gd name="T8" fmla="*/ 483 w 633"/>
                  <a:gd name="T9" fmla="*/ 151 h 419"/>
                  <a:gd name="T10" fmla="*/ 497 w 633"/>
                  <a:gd name="T11" fmla="*/ 165 h 419"/>
                  <a:gd name="T12" fmla="*/ 497 w 633"/>
                  <a:gd name="T13" fmla="*/ 388 h 419"/>
                  <a:gd name="T14" fmla="*/ 633 w 633"/>
                  <a:gd name="T15" fmla="*/ 274 h 419"/>
                  <a:gd name="T16" fmla="*/ 633 w 633"/>
                  <a:gd name="T17" fmla="*/ 233 h 419"/>
                  <a:gd name="T18" fmla="*/ 564 w 633"/>
                  <a:gd name="T19" fmla="*/ 233 h 419"/>
                  <a:gd name="T20" fmla="*/ 564 w 633"/>
                  <a:gd name="T21" fmla="*/ 175 h 419"/>
                  <a:gd name="T22" fmla="*/ 395 w 633"/>
                  <a:gd name="T23" fmla="*/ 1 h 419"/>
                  <a:gd name="T24" fmla="*/ 317 w 633"/>
                  <a:gd name="T25" fmla="*/ 62 h 419"/>
                  <a:gd name="T26" fmla="*/ 236 w 633"/>
                  <a:gd name="T27" fmla="*/ 0 h 419"/>
                  <a:gd name="T28" fmla="*/ 70 w 633"/>
                  <a:gd name="T29" fmla="*/ 175 h 419"/>
                  <a:gd name="T30" fmla="*/ 70 w 633"/>
                  <a:gd name="T31" fmla="*/ 233 h 419"/>
                  <a:gd name="T32" fmla="*/ 0 w 633"/>
                  <a:gd name="T33" fmla="*/ 233 h 419"/>
                  <a:gd name="T34" fmla="*/ 0 w 633"/>
                  <a:gd name="T35" fmla="*/ 274 h 419"/>
                  <a:gd name="T36" fmla="*/ 104 w 633"/>
                  <a:gd name="T37" fmla="*/ 274 h 419"/>
                  <a:gd name="T38" fmla="*/ 104 w 633"/>
                  <a:gd name="T39" fmla="*/ 312 h 419"/>
                  <a:gd name="T40" fmla="*/ 87 w 633"/>
                  <a:gd name="T41" fmla="*/ 312 h 419"/>
                  <a:gd name="T42" fmla="*/ 72 w 633"/>
                  <a:gd name="T43" fmla="*/ 319 h 419"/>
                  <a:gd name="T44" fmla="*/ 70 w 633"/>
                  <a:gd name="T45" fmla="*/ 336 h 419"/>
                  <a:gd name="T46" fmla="*/ 96 w 633"/>
                  <a:gd name="T47" fmla="*/ 407 h 419"/>
                  <a:gd name="T48" fmla="*/ 113 w 633"/>
                  <a:gd name="T49" fmla="*/ 419 h 419"/>
                  <a:gd name="T50" fmla="*/ 521 w 633"/>
                  <a:gd name="T51" fmla="*/ 419 h 419"/>
                  <a:gd name="T52" fmla="*/ 537 w 633"/>
                  <a:gd name="T53" fmla="*/ 407 h 419"/>
                  <a:gd name="T54" fmla="*/ 563 w 633"/>
                  <a:gd name="T55" fmla="*/ 336 h 419"/>
                  <a:gd name="T56" fmla="*/ 561 w 633"/>
                  <a:gd name="T57" fmla="*/ 319 h 419"/>
                  <a:gd name="T58" fmla="*/ 547 w 633"/>
                  <a:gd name="T59" fmla="*/ 312 h 419"/>
                  <a:gd name="T60" fmla="*/ 529 w 633"/>
                  <a:gd name="T61" fmla="*/ 312 h 419"/>
                  <a:gd name="T62" fmla="*/ 529 w 633"/>
                  <a:gd name="T63" fmla="*/ 274 h 419"/>
                  <a:gd name="T64" fmla="*/ 633 w 633"/>
                  <a:gd name="T65" fmla="*/ 274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33" h="419">
                    <a:moveTo>
                      <a:pt x="497" y="388"/>
                    </a:moveTo>
                    <a:lnTo>
                      <a:pt x="136" y="388"/>
                    </a:lnTo>
                    <a:lnTo>
                      <a:pt x="136" y="165"/>
                    </a:lnTo>
                    <a:cubicBezTo>
                      <a:pt x="136" y="157"/>
                      <a:pt x="143" y="151"/>
                      <a:pt x="150" y="151"/>
                    </a:cubicBezTo>
                    <a:lnTo>
                      <a:pt x="483" y="151"/>
                    </a:lnTo>
                    <a:cubicBezTo>
                      <a:pt x="491" y="151"/>
                      <a:pt x="497" y="157"/>
                      <a:pt x="497" y="165"/>
                    </a:cubicBezTo>
                    <a:lnTo>
                      <a:pt x="497" y="388"/>
                    </a:lnTo>
                    <a:close/>
                    <a:moveTo>
                      <a:pt x="633" y="274"/>
                    </a:moveTo>
                    <a:lnTo>
                      <a:pt x="633" y="233"/>
                    </a:lnTo>
                    <a:lnTo>
                      <a:pt x="564" y="233"/>
                    </a:lnTo>
                    <a:lnTo>
                      <a:pt x="564" y="175"/>
                    </a:lnTo>
                    <a:cubicBezTo>
                      <a:pt x="564" y="83"/>
                      <a:pt x="493" y="22"/>
                      <a:pt x="395" y="1"/>
                    </a:cubicBezTo>
                    <a:lnTo>
                      <a:pt x="317" y="62"/>
                    </a:lnTo>
                    <a:lnTo>
                      <a:pt x="236" y="0"/>
                    </a:lnTo>
                    <a:cubicBezTo>
                      <a:pt x="139" y="15"/>
                      <a:pt x="70" y="65"/>
                      <a:pt x="70" y="175"/>
                    </a:cubicBezTo>
                    <a:lnTo>
                      <a:pt x="70" y="233"/>
                    </a:lnTo>
                    <a:lnTo>
                      <a:pt x="0" y="233"/>
                    </a:lnTo>
                    <a:lnTo>
                      <a:pt x="0" y="274"/>
                    </a:lnTo>
                    <a:lnTo>
                      <a:pt x="104" y="274"/>
                    </a:lnTo>
                    <a:lnTo>
                      <a:pt x="104" y="312"/>
                    </a:lnTo>
                    <a:lnTo>
                      <a:pt x="87" y="312"/>
                    </a:lnTo>
                    <a:cubicBezTo>
                      <a:pt x="81" y="312"/>
                      <a:pt x="76" y="314"/>
                      <a:pt x="72" y="319"/>
                    </a:cubicBezTo>
                    <a:cubicBezTo>
                      <a:pt x="69" y="324"/>
                      <a:pt x="68" y="330"/>
                      <a:pt x="70" y="336"/>
                    </a:cubicBezTo>
                    <a:lnTo>
                      <a:pt x="96" y="407"/>
                    </a:lnTo>
                    <a:cubicBezTo>
                      <a:pt x="99" y="414"/>
                      <a:pt x="106" y="419"/>
                      <a:pt x="113" y="419"/>
                    </a:cubicBezTo>
                    <a:lnTo>
                      <a:pt x="521" y="419"/>
                    </a:lnTo>
                    <a:cubicBezTo>
                      <a:pt x="528" y="419"/>
                      <a:pt x="535" y="414"/>
                      <a:pt x="537" y="407"/>
                    </a:cubicBezTo>
                    <a:lnTo>
                      <a:pt x="563" y="336"/>
                    </a:lnTo>
                    <a:cubicBezTo>
                      <a:pt x="565" y="330"/>
                      <a:pt x="565" y="324"/>
                      <a:pt x="561" y="319"/>
                    </a:cubicBezTo>
                    <a:cubicBezTo>
                      <a:pt x="558" y="314"/>
                      <a:pt x="552" y="312"/>
                      <a:pt x="547" y="312"/>
                    </a:cubicBezTo>
                    <a:lnTo>
                      <a:pt x="529" y="312"/>
                    </a:lnTo>
                    <a:lnTo>
                      <a:pt x="529" y="274"/>
                    </a:lnTo>
                    <a:lnTo>
                      <a:pt x="633" y="27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Oval 115">
                <a:extLst>
                  <a:ext uri="{FF2B5EF4-FFF2-40B4-BE49-F238E27FC236}">
                    <a16:creationId xmlns:a16="http://schemas.microsoft.com/office/drawing/2014/main" id="{07C8EFFF-6A55-410F-8343-9C4356F18A68}"/>
                  </a:ext>
                </a:extLst>
              </p:cNvPr>
              <p:cNvSpPr>
                <a:spLocks noChangeArrowheads="1"/>
              </p:cNvSpPr>
              <p:nvPr/>
            </p:nvSpPr>
            <p:spPr bwMode="auto">
              <a:xfrm>
                <a:off x="10374202" y="5922962"/>
                <a:ext cx="214313" cy="2143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11" name="Climbing2" descr="{&quot;Key&quot;:&quot;POWER_USER_SHAPE_ICON&quot;,&quot;Value&quot;:&quot;POWER_USER_SHAPE_ICON_STYLE_1&quot;}">
            <a:extLst>
              <a:ext uri="{FF2B5EF4-FFF2-40B4-BE49-F238E27FC236}">
                <a16:creationId xmlns:a16="http://schemas.microsoft.com/office/drawing/2014/main" id="{B9242C15-80EA-4F5E-9586-ED8A18EB528C}"/>
              </a:ext>
            </a:extLst>
          </p:cNvPr>
          <p:cNvGrpSpPr>
            <a:grpSpLocks noChangeAspect="1"/>
          </p:cNvGrpSpPr>
          <p:nvPr>
            <p:custDataLst>
              <p:tags r:id="rId9"/>
            </p:custDataLst>
          </p:nvPr>
        </p:nvGrpSpPr>
        <p:grpSpPr>
          <a:xfrm>
            <a:off x="5083277" y="2837605"/>
            <a:ext cx="440892" cy="542925"/>
            <a:chOff x="5856288" y="-142875"/>
            <a:chExt cx="1303337" cy="1604963"/>
          </a:xfrm>
          <a:solidFill>
            <a:schemeClr val="bg1"/>
          </a:solidFill>
        </p:grpSpPr>
        <p:sp>
          <p:nvSpPr>
            <p:cNvPr id="112" name="Freeform 342">
              <a:extLst>
                <a:ext uri="{FF2B5EF4-FFF2-40B4-BE49-F238E27FC236}">
                  <a16:creationId xmlns:a16="http://schemas.microsoft.com/office/drawing/2014/main" id="{40A48C76-9DFD-4758-BBB3-FBC59AD1197E}"/>
                </a:ext>
              </a:extLst>
            </p:cNvPr>
            <p:cNvSpPr>
              <a:spLocks/>
            </p:cNvSpPr>
            <p:nvPr/>
          </p:nvSpPr>
          <p:spPr bwMode="auto">
            <a:xfrm>
              <a:off x="6743700" y="550863"/>
              <a:ext cx="415925" cy="331788"/>
            </a:xfrm>
            <a:custGeom>
              <a:avLst/>
              <a:gdLst>
                <a:gd name="T0" fmla="*/ 89 w 547"/>
                <a:gd name="T1" fmla="*/ 401 h 435"/>
                <a:gd name="T2" fmla="*/ 0 w 547"/>
                <a:gd name="T3" fmla="*/ 230 h 435"/>
                <a:gd name="T4" fmla="*/ 224 w 547"/>
                <a:gd name="T5" fmla="*/ 251 h 435"/>
                <a:gd name="T6" fmla="*/ 333 w 547"/>
                <a:gd name="T7" fmla="*/ 195 h 435"/>
                <a:gd name="T8" fmla="*/ 446 w 547"/>
                <a:gd name="T9" fmla="*/ 0 h 435"/>
                <a:gd name="T10" fmla="*/ 534 w 547"/>
                <a:gd name="T11" fmla="*/ 170 h 435"/>
                <a:gd name="T12" fmla="*/ 513 w 547"/>
                <a:gd name="T13" fmla="*/ 238 h 435"/>
                <a:gd name="T14" fmla="*/ 156 w 547"/>
                <a:gd name="T15" fmla="*/ 422 h 435"/>
                <a:gd name="T16" fmla="*/ 89 w 547"/>
                <a:gd name="T17" fmla="*/ 401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435">
                  <a:moveTo>
                    <a:pt x="89" y="401"/>
                  </a:moveTo>
                  <a:cubicBezTo>
                    <a:pt x="67" y="358"/>
                    <a:pt x="33" y="294"/>
                    <a:pt x="0" y="230"/>
                  </a:cubicBezTo>
                  <a:cubicBezTo>
                    <a:pt x="86" y="238"/>
                    <a:pt x="165" y="246"/>
                    <a:pt x="224" y="251"/>
                  </a:cubicBezTo>
                  <a:cubicBezTo>
                    <a:pt x="264" y="255"/>
                    <a:pt x="313" y="229"/>
                    <a:pt x="333" y="195"/>
                  </a:cubicBezTo>
                  <a:cubicBezTo>
                    <a:pt x="363" y="143"/>
                    <a:pt x="403" y="74"/>
                    <a:pt x="446" y="0"/>
                  </a:cubicBezTo>
                  <a:cubicBezTo>
                    <a:pt x="479" y="64"/>
                    <a:pt x="512" y="128"/>
                    <a:pt x="534" y="170"/>
                  </a:cubicBezTo>
                  <a:cubicBezTo>
                    <a:pt x="547" y="195"/>
                    <a:pt x="537" y="225"/>
                    <a:pt x="513" y="238"/>
                  </a:cubicBezTo>
                  <a:cubicBezTo>
                    <a:pt x="430" y="280"/>
                    <a:pt x="239" y="379"/>
                    <a:pt x="156" y="422"/>
                  </a:cubicBezTo>
                  <a:cubicBezTo>
                    <a:pt x="131" y="435"/>
                    <a:pt x="101" y="425"/>
                    <a:pt x="89" y="401"/>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Freeform 343">
              <a:extLst>
                <a:ext uri="{FF2B5EF4-FFF2-40B4-BE49-F238E27FC236}">
                  <a16:creationId xmlns:a16="http://schemas.microsoft.com/office/drawing/2014/main" id="{C0CCF65B-D335-496A-8DD0-65642443E647}"/>
                </a:ext>
              </a:extLst>
            </p:cNvPr>
            <p:cNvSpPr>
              <a:spLocks noEditPoints="1"/>
            </p:cNvSpPr>
            <p:nvPr/>
          </p:nvSpPr>
          <p:spPr bwMode="auto">
            <a:xfrm>
              <a:off x="6702425" y="471488"/>
              <a:ext cx="374650" cy="249238"/>
            </a:xfrm>
            <a:custGeom>
              <a:avLst/>
              <a:gdLst>
                <a:gd name="T0" fmla="*/ 163 w 491"/>
                <a:gd name="T1" fmla="*/ 142 h 327"/>
                <a:gd name="T2" fmla="*/ 204 w 491"/>
                <a:gd name="T3" fmla="*/ 79 h 327"/>
                <a:gd name="T4" fmla="*/ 280 w 491"/>
                <a:gd name="T5" fmla="*/ 82 h 327"/>
                <a:gd name="T6" fmla="*/ 163 w 491"/>
                <a:gd name="T7" fmla="*/ 142 h 327"/>
                <a:gd name="T8" fmla="*/ 12 w 491"/>
                <a:gd name="T9" fmla="*/ 278 h 327"/>
                <a:gd name="T10" fmla="*/ 25 w 491"/>
                <a:gd name="T11" fmla="*/ 303 h 327"/>
                <a:gd name="T12" fmla="*/ 271 w 491"/>
                <a:gd name="T13" fmla="*/ 326 h 327"/>
                <a:gd name="T14" fmla="*/ 325 w 491"/>
                <a:gd name="T15" fmla="*/ 314 h 327"/>
                <a:gd name="T16" fmla="*/ 367 w 491"/>
                <a:gd name="T17" fmla="*/ 276 h 327"/>
                <a:gd name="T18" fmla="*/ 491 w 491"/>
                <a:gd name="T19" fmla="*/ 62 h 327"/>
                <a:gd name="T20" fmla="*/ 478 w 491"/>
                <a:gd name="T21" fmla="*/ 37 h 327"/>
                <a:gd name="T22" fmla="*/ 409 w 491"/>
                <a:gd name="T23" fmla="*/ 15 h 327"/>
                <a:gd name="T24" fmla="*/ 323 w 491"/>
                <a:gd name="T25" fmla="*/ 59 h 327"/>
                <a:gd name="T26" fmla="*/ 308 w 491"/>
                <a:gd name="T27" fmla="*/ 53 h 327"/>
                <a:gd name="T28" fmla="*/ 186 w 491"/>
                <a:gd name="T29" fmla="*/ 43 h 327"/>
                <a:gd name="T30" fmla="*/ 123 w 491"/>
                <a:gd name="T31" fmla="*/ 148 h 327"/>
                <a:gd name="T32" fmla="*/ 119 w 491"/>
                <a:gd name="T33" fmla="*/ 165 h 327"/>
                <a:gd name="T34" fmla="*/ 33 w 491"/>
                <a:gd name="T35" fmla="*/ 209 h 327"/>
                <a:gd name="T36" fmla="*/ 12 w 491"/>
                <a:gd name="T37" fmla="*/ 278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1" h="327">
                  <a:moveTo>
                    <a:pt x="163" y="142"/>
                  </a:moveTo>
                  <a:cubicBezTo>
                    <a:pt x="164" y="120"/>
                    <a:pt x="169" y="97"/>
                    <a:pt x="204" y="79"/>
                  </a:cubicBezTo>
                  <a:cubicBezTo>
                    <a:pt x="240" y="60"/>
                    <a:pt x="261" y="70"/>
                    <a:pt x="280" y="82"/>
                  </a:cubicBezTo>
                  <a:cubicBezTo>
                    <a:pt x="242" y="101"/>
                    <a:pt x="201" y="122"/>
                    <a:pt x="163" y="142"/>
                  </a:cubicBezTo>
                  <a:close/>
                  <a:moveTo>
                    <a:pt x="12" y="278"/>
                  </a:moveTo>
                  <a:cubicBezTo>
                    <a:pt x="17" y="288"/>
                    <a:pt x="25" y="303"/>
                    <a:pt x="25" y="303"/>
                  </a:cubicBezTo>
                  <a:lnTo>
                    <a:pt x="271" y="326"/>
                  </a:lnTo>
                  <a:cubicBezTo>
                    <a:pt x="288" y="327"/>
                    <a:pt x="307" y="323"/>
                    <a:pt x="325" y="314"/>
                  </a:cubicBezTo>
                  <a:cubicBezTo>
                    <a:pt x="343" y="304"/>
                    <a:pt x="359" y="291"/>
                    <a:pt x="367" y="276"/>
                  </a:cubicBezTo>
                  <a:lnTo>
                    <a:pt x="491" y="62"/>
                  </a:lnTo>
                  <a:cubicBezTo>
                    <a:pt x="491" y="62"/>
                    <a:pt x="483" y="47"/>
                    <a:pt x="478" y="37"/>
                  </a:cubicBezTo>
                  <a:cubicBezTo>
                    <a:pt x="466" y="15"/>
                    <a:pt x="438" y="0"/>
                    <a:pt x="409" y="15"/>
                  </a:cubicBezTo>
                  <a:cubicBezTo>
                    <a:pt x="397" y="21"/>
                    <a:pt x="354" y="43"/>
                    <a:pt x="323" y="59"/>
                  </a:cubicBezTo>
                  <a:cubicBezTo>
                    <a:pt x="319" y="61"/>
                    <a:pt x="312" y="55"/>
                    <a:pt x="308" y="53"/>
                  </a:cubicBezTo>
                  <a:cubicBezTo>
                    <a:pt x="286" y="38"/>
                    <a:pt x="246" y="12"/>
                    <a:pt x="186" y="43"/>
                  </a:cubicBezTo>
                  <a:cubicBezTo>
                    <a:pt x="125" y="75"/>
                    <a:pt x="124" y="123"/>
                    <a:pt x="123" y="148"/>
                  </a:cubicBezTo>
                  <a:cubicBezTo>
                    <a:pt x="122" y="153"/>
                    <a:pt x="123" y="163"/>
                    <a:pt x="119" y="165"/>
                  </a:cubicBezTo>
                  <a:cubicBezTo>
                    <a:pt x="81" y="184"/>
                    <a:pt x="45" y="203"/>
                    <a:pt x="33" y="209"/>
                  </a:cubicBezTo>
                  <a:cubicBezTo>
                    <a:pt x="5" y="224"/>
                    <a:pt x="0" y="256"/>
                    <a:pt x="12" y="278"/>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 name="Freeform 344">
              <a:extLst>
                <a:ext uri="{FF2B5EF4-FFF2-40B4-BE49-F238E27FC236}">
                  <a16:creationId xmlns:a16="http://schemas.microsoft.com/office/drawing/2014/main" id="{CF614CB5-1DBC-4350-B6DA-A662FC1F263B}"/>
                </a:ext>
              </a:extLst>
            </p:cNvPr>
            <p:cNvSpPr>
              <a:spLocks noEditPoints="1"/>
            </p:cNvSpPr>
            <p:nvPr/>
          </p:nvSpPr>
          <p:spPr bwMode="auto">
            <a:xfrm>
              <a:off x="6015038" y="138113"/>
              <a:ext cx="846138" cy="1042988"/>
            </a:xfrm>
            <a:custGeom>
              <a:avLst/>
              <a:gdLst>
                <a:gd name="T0" fmla="*/ 491 w 1111"/>
                <a:gd name="T1" fmla="*/ 131 h 1370"/>
                <a:gd name="T2" fmla="*/ 504 w 1111"/>
                <a:gd name="T3" fmla="*/ 92 h 1370"/>
                <a:gd name="T4" fmla="*/ 525 w 1111"/>
                <a:gd name="T5" fmla="*/ 80 h 1370"/>
                <a:gd name="T6" fmla="*/ 550 w 1111"/>
                <a:gd name="T7" fmla="*/ 83 h 1370"/>
                <a:gd name="T8" fmla="*/ 577 w 1111"/>
                <a:gd name="T9" fmla="*/ 113 h 1370"/>
                <a:gd name="T10" fmla="*/ 576 w 1111"/>
                <a:gd name="T11" fmla="*/ 140 h 1370"/>
                <a:gd name="T12" fmla="*/ 565 w 1111"/>
                <a:gd name="T13" fmla="*/ 182 h 1370"/>
                <a:gd name="T14" fmla="*/ 673 w 1111"/>
                <a:gd name="T15" fmla="*/ 415 h 1370"/>
                <a:gd name="T16" fmla="*/ 617 w 1111"/>
                <a:gd name="T17" fmla="*/ 515 h 1370"/>
                <a:gd name="T18" fmla="*/ 525 w 1111"/>
                <a:gd name="T19" fmla="*/ 446 h 1370"/>
                <a:gd name="T20" fmla="*/ 531 w 1111"/>
                <a:gd name="T21" fmla="*/ 190 h 1370"/>
                <a:gd name="T22" fmla="*/ 503 w 1111"/>
                <a:gd name="T23" fmla="*/ 155 h 1370"/>
                <a:gd name="T24" fmla="*/ 491 w 1111"/>
                <a:gd name="T25" fmla="*/ 131 h 1370"/>
                <a:gd name="T26" fmla="*/ 374 w 1111"/>
                <a:gd name="T27" fmla="*/ 302 h 1370"/>
                <a:gd name="T28" fmla="*/ 442 w 1111"/>
                <a:gd name="T29" fmla="*/ 621 h 1370"/>
                <a:gd name="T30" fmla="*/ 303 w 1111"/>
                <a:gd name="T31" fmla="*/ 656 h 1370"/>
                <a:gd name="T32" fmla="*/ 266 w 1111"/>
                <a:gd name="T33" fmla="*/ 764 h 1370"/>
                <a:gd name="T34" fmla="*/ 357 w 1111"/>
                <a:gd name="T35" fmla="*/ 1000 h 1370"/>
                <a:gd name="T36" fmla="*/ 305 w 1111"/>
                <a:gd name="T37" fmla="*/ 1023 h 1370"/>
                <a:gd name="T38" fmla="*/ 315 w 1111"/>
                <a:gd name="T39" fmla="*/ 1080 h 1370"/>
                <a:gd name="T40" fmla="*/ 458 w 1111"/>
                <a:gd name="T41" fmla="*/ 1080 h 1370"/>
                <a:gd name="T42" fmla="*/ 495 w 1111"/>
                <a:gd name="T43" fmla="*/ 1020 h 1370"/>
                <a:gd name="T44" fmla="*/ 442 w 1111"/>
                <a:gd name="T45" fmla="*/ 800 h 1370"/>
                <a:gd name="T46" fmla="*/ 674 w 1111"/>
                <a:gd name="T47" fmla="*/ 787 h 1370"/>
                <a:gd name="T48" fmla="*/ 788 w 1111"/>
                <a:gd name="T49" fmla="*/ 1283 h 1370"/>
                <a:gd name="T50" fmla="*/ 739 w 1111"/>
                <a:gd name="T51" fmla="*/ 1311 h 1370"/>
                <a:gd name="T52" fmla="*/ 751 w 1111"/>
                <a:gd name="T53" fmla="*/ 1370 h 1370"/>
                <a:gd name="T54" fmla="*/ 894 w 1111"/>
                <a:gd name="T55" fmla="*/ 1370 h 1370"/>
                <a:gd name="T56" fmla="*/ 930 w 1111"/>
                <a:gd name="T57" fmla="*/ 1314 h 1370"/>
                <a:gd name="T58" fmla="*/ 753 w 1111"/>
                <a:gd name="T59" fmla="*/ 222 h 1370"/>
                <a:gd name="T60" fmla="*/ 903 w 1111"/>
                <a:gd name="T61" fmla="*/ 286 h 1370"/>
                <a:gd name="T62" fmla="*/ 992 w 1111"/>
                <a:gd name="T63" fmla="*/ 436 h 1370"/>
                <a:gd name="T64" fmla="*/ 1046 w 1111"/>
                <a:gd name="T65" fmla="*/ 458 h 1370"/>
                <a:gd name="T66" fmla="*/ 1093 w 1111"/>
                <a:gd name="T67" fmla="*/ 433 h 1370"/>
                <a:gd name="T68" fmla="*/ 1094 w 1111"/>
                <a:gd name="T69" fmla="*/ 371 h 1370"/>
                <a:gd name="T70" fmla="*/ 1027 w 1111"/>
                <a:gd name="T71" fmla="*/ 236 h 1370"/>
                <a:gd name="T72" fmla="*/ 941 w 1111"/>
                <a:gd name="T73" fmla="*/ 142 h 1370"/>
                <a:gd name="T74" fmla="*/ 793 w 1111"/>
                <a:gd name="T75" fmla="*/ 48 h 1370"/>
                <a:gd name="T76" fmla="*/ 669 w 1111"/>
                <a:gd name="T77" fmla="*/ 9 h 1370"/>
                <a:gd name="T78" fmla="*/ 517 w 1111"/>
                <a:gd name="T79" fmla="*/ 40 h 1370"/>
                <a:gd name="T80" fmla="*/ 365 w 1111"/>
                <a:gd name="T81" fmla="*/ 72 h 1370"/>
                <a:gd name="T82" fmla="*/ 259 w 1111"/>
                <a:gd name="T83" fmla="*/ 175 h 1370"/>
                <a:gd name="T84" fmla="*/ 204 w 1111"/>
                <a:gd name="T85" fmla="*/ 272 h 1370"/>
                <a:gd name="T86" fmla="*/ 117 w 1111"/>
                <a:gd name="T87" fmla="*/ 177 h 1370"/>
                <a:gd name="T88" fmla="*/ 59 w 1111"/>
                <a:gd name="T89" fmla="*/ 154 h 1370"/>
                <a:gd name="T90" fmla="*/ 18 w 1111"/>
                <a:gd name="T91" fmla="*/ 189 h 1370"/>
                <a:gd name="T92" fmla="*/ 19 w 1111"/>
                <a:gd name="T93" fmla="*/ 247 h 1370"/>
                <a:gd name="T94" fmla="*/ 158 w 1111"/>
                <a:gd name="T95" fmla="*/ 420 h 1370"/>
                <a:gd name="T96" fmla="*/ 286 w 1111"/>
                <a:gd name="T97" fmla="*/ 414 h 1370"/>
                <a:gd name="T98" fmla="*/ 374 w 1111"/>
                <a:gd name="T99" fmla="*/ 302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11" h="1370">
                  <a:moveTo>
                    <a:pt x="491" y="131"/>
                  </a:moveTo>
                  <a:cubicBezTo>
                    <a:pt x="495" y="121"/>
                    <a:pt x="499" y="107"/>
                    <a:pt x="504" y="92"/>
                  </a:cubicBezTo>
                  <a:cubicBezTo>
                    <a:pt x="506" y="86"/>
                    <a:pt x="515" y="82"/>
                    <a:pt x="525" y="80"/>
                  </a:cubicBezTo>
                  <a:cubicBezTo>
                    <a:pt x="536" y="78"/>
                    <a:pt x="545" y="78"/>
                    <a:pt x="550" y="83"/>
                  </a:cubicBezTo>
                  <a:cubicBezTo>
                    <a:pt x="561" y="94"/>
                    <a:pt x="570" y="105"/>
                    <a:pt x="577" y="113"/>
                  </a:cubicBezTo>
                  <a:cubicBezTo>
                    <a:pt x="586" y="123"/>
                    <a:pt x="583" y="131"/>
                    <a:pt x="576" y="140"/>
                  </a:cubicBezTo>
                  <a:cubicBezTo>
                    <a:pt x="563" y="157"/>
                    <a:pt x="557" y="165"/>
                    <a:pt x="565" y="182"/>
                  </a:cubicBezTo>
                  <a:cubicBezTo>
                    <a:pt x="578" y="214"/>
                    <a:pt x="662" y="390"/>
                    <a:pt x="673" y="415"/>
                  </a:cubicBezTo>
                  <a:cubicBezTo>
                    <a:pt x="666" y="440"/>
                    <a:pt x="628" y="512"/>
                    <a:pt x="617" y="515"/>
                  </a:cubicBezTo>
                  <a:cubicBezTo>
                    <a:pt x="605" y="517"/>
                    <a:pt x="542" y="466"/>
                    <a:pt x="525" y="446"/>
                  </a:cubicBezTo>
                  <a:cubicBezTo>
                    <a:pt x="525" y="419"/>
                    <a:pt x="532" y="224"/>
                    <a:pt x="531" y="190"/>
                  </a:cubicBezTo>
                  <a:cubicBezTo>
                    <a:pt x="530" y="170"/>
                    <a:pt x="522" y="165"/>
                    <a:pt x="503" y="155"/>
                  </a:cubicBezTo>
                  <a:cubicBezTo>
                    <a:pt x="494" y="150"/>
                    <a:pt x="487" y="143"/>
                    <a:pt x="491" y="131"/>
                  </a:cubicBezTo>
                  <a:close/>
                  <a:moveTo>
                    <a:pt x="374" y="302"/>
                  </a:moveTo>
                  <a:cubicBezTo>
                    <a:pt x="381" y="337"/>
                    <a:pt x="411" y="476"/>
                    <a:pt x="442" y="621"/>
                  </a:cubicBezTo>
                  <a:cubicBezTo>
                    <a:pt x="395" y="633"/>
                    <a:pt x="336" y="648"/>
                    <a:pt x="303" y="656"/>
                  </a:cubicBezTo>
                  <a:cubicBezTo>
                    <a:pt x="262" y="667"/>
                    <a:pt x="250" y="722"/>
                    <a:pt x="266" y="764"/>
                  </a:cubicBezTo>
                  <a:cubicBezTo>
                    <a:pt x="315" y="895"/>
                    <a:pt x="335" y="944"/>
                    <a:pt x="357" y="1000"/>
                  </a:cubicBezTo>
                  <a:cubicBezTo>
                    <a:pt x="357" y="1010"/>
                    <a:pt x="333" y="1014"/>
                    <a:pt x="305" y="1023"/>
                  </a:cubicBezTo>
                  <a:cubicBezTo>
                    <a:pt x="277" y="1032"/>
                    <a:pt x="295" y="1080"/>
                    <a:pt x="315" y="1080"/>
                  </a:cubicBezTo>
                  <a:lnTo>
                    <a:pt x="458" y="1080"/>
                  </a:lnTo>
                  <a:cubicBezTo>
                    <a:pt x="476" y="1080"/>
                    <a:pt x="499" y="1064"/>
                    <a:pt x="495" y="1020"/>
                  </a:cubicBezTo>
                  <a:cubicBezTo>
                    <a:pt x="492" y="974"/>
                    <a:pt x="472" y="900"/>
                    <a:pt x="442" y="800"/>
                  </a:cubicBezTo>
                  <a:cubicBezTo>
                    <a:pt x="474" y="797"/>
                    <a:pt x="595" y="795"/>
                    <a:pt x="674" y="787"/>
                  </a:cubicBezTo>
                  <a:cubicBezTo>
                    <a:pt x="722" y="979"/>
                    <a:pt x="776" y="1201"/>
                    <a:pt x="788" y="1283"/>
                  </a:cubicBezTo>
                  <a:cubicBezTo>
                    <a:pt x="789" y="1293"/>
                    <a:pt x="764" y="1301"/>
                    <a:pt x="739" y="1311"/>
                  </a:cubicBezTo>
                  <a:cubicBezTo>
                    <a:pt x="699" y="1327"/>
                    <a:pt x="733" y="1370"/>
                    <a:pt x="751" y="1370"/>
                  </a:cubicBezTo>
                  <a:lnTo>
                    <a:pt x="894" y="1370"/>
                  </a:lnTo>
                  <a:cubicBezTo>
                    <a:pt x="913" y="1370"/>
                    <a:pt x="930" y="1362"/>
                    <a:pt x="930" y="1314"/>
                  </a:cubicBezTo>
                  <a:cubicBezTo>
                    <a:pt x="930" y="1212"/>
                    <a:pt x="775" y="323"/>
                    <a:pt x="753" y="222"/>
                  </a:cubicBezTo>
                  <a:cubicBezTo>
                    <a:pt x="808" y="244"/>
                    <a:pt x="849" y="259"/>
                    <a:pt x="903" y="286"/>
                  </a:cubicBezTo>
                  <a:cubicBezTo>
                    <a:pt x="935" y="338"/>
                    <a:pt x="965" y="390"/>
                    <a:pt x="992" y="436"/>
                  </a:cubicBezTo>
                  <a:cubicBezTo>
                    <a:pt x="1007" y="461"/>
                    <a:pt x="1024" y="469"/>
                    <a:pt x="1046" y="458"/>
                  </a:cubicBezTo>
                  <a:cubicBezTo>
                    <a:pt x="1064" y="450"/>
                    <a:pt x="1076" y="443"/>
                    <a:pt x="1093" y="433"/>
                  </a:cubicBezTo>
                  <a:cubicBezTo>
                    <a:pt x="1105" y="427"/>
                    <a:pt x="1111" y="406"/>
                    <a:pt x="1094" y="371"/>
                  </a:cubicBezTo>
                  <a:cubicBezTo>
                    <a:pt x="1070" y="323"/>
                    <a:pt x="1048" y="279"/>
                    <a:pt x="1027" y="236"/>
                  </a:cubicBezTo>
                  <a:cubicBezTo>
                    <a:pt x="1001" y="182"/>
                    <a:pt x="968" y="160"/>
                    <a:pt x="941" y="142"/>
                  </a:cubicBezTo>
                  <a:cubicBezTo>
                    <a:pt x="893" y="111"/>
                    <a:pt x="845" y="80"/>
                    <a:pt x="793" y="48"/>
                  </a:cubicBezTo>
                  <a:cubicBezTo>
                    <a:pt x="733" y="11"/>
                    <a:pt x="714" y="0"/>
                    <a:pt x="669" y="9"/>
                  </a:cubicBezTo>
                  <a:cubicBezTo>
                    <a:pt x="643" y="13"/>
                    <a:pt x="583" y="27"/>
                    <a:pt x="517" y="40"/>
                  </a:cubicBezTo>
                  <a:cubicBezTo>
                    <a:pt x="452" y="54"/>
                    <a:pt x="391" y="67"/>
                    <a:pt x="365" y="72"/>
                  </a:cubicBezTo>
                  <a:cubicBezTo>
                    <a:pt x="315" y="83"/>
                    <a:pt x="294" y="114"/>
                    <a:pt x="259" y="175"/>
                  </a:cubicBezTo>
                  <a:cubicBezTo>
                    <a:pt x="240" y="208"/>
                    <a:pt x="222" y="241"/>
                    <a:pt x="204" y="272"/>
                  </a:cubicBezTo>
                  <a:cubicBezTo>
                    <a:pt x="179" y="247"/>
                    <a:pt x="193" y="262"/>
                    <a:pt x="117" y="177"/>
                  </a:cubicBezTo>
                  <a:cubicBezTo>
                    <a:pt x="91" y="147"/>
                    <a:pt x="69" y="145"/>
                    <a:pt x="59" y="154"/>
                  </a:cubicBezTo>
                  <a:cubicBezTo>
                    <a:pt x="44" y="167"/>
                    <a:pt x="33" y="175"/>
                    <a:pt x="18" y="189"/>
                  </a:cubicBezTo>
                  <a:cubicBezTo>
                    <a:pt x="0" y="205"/>
                    <a:pt x="1" y="224"/>
                    <a:pt x="19" y="247"/>
                  </a:cubicBezTo>
                  <a:cubicBezTo>
                    <a:pt x="42" y="276"/>
                    <a:pt x="131" y="389"/>
                    <a:pt x="158" y="420"/>
                  </a:cubicBezTo>
                  <a:cubicBezTo>
                    <a:pt x="189" y="455"/>
                    <a:pt x="245" y="460"/>
                    <a:pt x="286" y="414"/>
                  </a:cubicBezTo>
                  <a:cubicBezTo>
                    <a:pt x="305" y="392"/>
                    <a:pt x="350" y="334"/>
                    <a:pt x="374" y="302"/>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Freeform 345">
              <a:extLst>
                <a:ext uri="{FF2B5EF4-FFF2-40B4-BE49-F238E27FC236}">
                  <a16:creationId xmlns:a16="http://schemas.microsoft.com/office/drawing/2014/main" id="{F544FB60-2675-4C29-A137-6F1C9DEDCB70}"/>
                </a:ext>
              </a:extLst>
            </p:cNvPr>
            <p:cNvSpPr>
              <a:spLocks/>
            </p:cNvSpPr>
            <p:nvPr/>
          </p:nvSpPr>
          <p:spPr bwMode="auto">
            <a:xfrm>
              <a:off x="6253163" y="-142875"/>
              <a:ext cx="239713" cy="282575"/>
            </a:xfrm>
            <a:custGeom>
              <a:avLst/>
              <a:gdLst>
                <a:gd name="T0" fmla="*/ 193 w 314"/>
                <a:gd name="T1" fmla="*/ 355 h 371"/>
                <a:gd name="T2" fmla="*/ 20 w 314"/>
                <a:gd name="T3" fmla="*/ 214 h 371"/>
                <a:gd name="T4" fmla="*/ 121 w 314"/>
                <a:gd name="T5" fmla="*/ 16 h 371"/>
                <a:gd name="T6" fmla="*/ 294 w 314"/>
                <a:gd name="T7" fmla="*/ 156 h 371"/>
                <a:gd name="T8" fmla="*/ 193 w 314"/>
                <a:gd name="T9" fmla="*/ 355 h 371"/>
              </a:gdLst>
              <a:ahLst/>
              <a:cxnLst>
                <a:cxn ang="0">
                  <a:pos x="T0" y="T1"/>
                </a:cxn>
                <a:cxn ang="0">
                  <a:pos x="T2" y="T3"/>
                </a:cxn>
                <a:cxn ang="0">
                  <a:pos x="T4" y="T5"/>
                </a:cxn>
                <a:cxn ang="0">
                  <a:pos x="T6" y="T7"/>
                </a:cxn>
                <a:cxn ang="0">
                  <a:pos x="T8" y="T9"/>
                </a:cxn>
              </a:cxnLst>
              <a:rect l="0" t="0" r="r" b="b"/>
              <a:pathLst>
                <a:path w="314" h="371">
                  <a:moveTo>
                    <a:pt x="193" y="355"/>
                  </a:moveTo>
                  <a:cubicBezTo>
                    <a:pt x="117" y="371"/>
                    <a:pt x="39" y="308"/>
                    <a:pt x="20" y="214"/>
                  </a:cubicBezTo>
                  <a:cubicBezTo>
                    <a:pt x="0" y="121"/>
                    <a:pt x="46" y="32"/>
                    <a:pt x="121" y="16"/>
                  </a:cubicBezTo>
                  <a:cubicBezTo>
                    <a:pt x="197" y="0"/>
                    <a:pt x="275" y="63"/>
                    <a:pt x="294" y="156"/>
                  </a:cubicBezTo>
                  <a:cubicBezTo>
                    <a:pt x="314" y="250"/>
                    <a:pt x="269" y="339"/>
                    <a:pt x="193" y="355"/>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Freeform 346">
              <a:extLst>
                <a:ext uri="{FF2B5EF4-FFF2-40B4-BE49-F238E27FC236}">
                  <a16:creationId xmlns:a16="http://schemas.microsoft.com/office/drawing/2014/main" id="{D022E2B9-55AC-4892-AEF7-2220EE4882DF}"/>
                </a:ext>
              </a:extLst>
            </p:cNvPr>
            <p:cNvSpPr>
              <a:spLocks/>
            </p:cNvSpPr>
            <p:nvPr/>
          </p:nvSpPr>
          <p:spPr bwMode="auto">
            <a:xfrm>
              <a:off x="5856288" y="765175"/>
              <a:ext cx="1203325" cy="696913"/>
            </a:xfrm>
            <a:custGeom>
              <a:avLst/>
              <a:gdLst>
                <a:gd name="T0" fmla="*/ 1131 w 1580"/>
                <a:gd name="T1" fmla="*/ 883 h 914"/>
                <a:gd name="T2" fmla="*/ 1131 w 1580"/>
                <a:gd name="T3" fmla="*/ 629 h 914"/>
                <a:gd name="T4" fmla="*/ 774 w 1580"/>
                <a:gd name="T5" fmla="*/ 629 h 914"/>
                <a:gd name="T6" fmla="*/ 743 w 1580"/>
                <a:gd name="T7" fmla="*/ 599 h 914"/>
                <a:gd name="T8" fmla="*/ 743 w 1580"/>
                <a:gd name="T9" fmla="*/ 345 h 914"/>
                <a:gd name="T10" fmla="*/ 386 w 1580"/>
                <a:gd name="T11" fmla="*/ 345 h 914"/>
                <a:gd name="T12" fmla="*/ 386 w 1580"/>
                <a:gd name="T13" fmla="*/ 345 h 914"/>
                <a:gd name="T14" fmla="*/ 355 w 1580"/>
                <a:gd name="T15" fmla="*/ 315 h 914"/>
                <a:gd name="T16" fmla="*/ 355 w 1580"/>
                <a:gd name="T17" fmla="*/ 61 h 914"/>
                <a:gd name="T18" fmla="*/ 31 w 1580"/>
                <a:gd name="T19" fmla="*/ 61 h 914"/>
                <a:gd name="T20" fmla="*/ 0 w 1580"/>
                <a:gd name="T21" fmla="*/ 30 h 914"/>
                <a:gd name="T22" fmla="*/ 31 w 1580"/>
                <a:gd name="T23" fmla="*/ 0 h 914"/>
                <a:gd name="T24" fmla="*/ 386 w 1580"/>
                <a:gd name="T25" fmla="*/ 0 h 914"/>
                <a:gd name="T26" fmla="*/ 416 w 1580"/>
                <a:gd name="T27" fmla="*/ 30 h 914"/>
                <a:gd name="T28" fmla="*/ 416 w 1580"/>
                <a:gd name="T29" fmla="*/ 284 h 914"/>
                <a:gd name="T30" fmla="*/ 774 w 1580"/>
                <a:gd name="T31" fmla="*/ 284 h 914"/>
                <a:gd name="T32" fmla="*/ 804 w 1580"/>
                <a:gd name="T33" fmla="*/ 315 h 914"/>
                <a:gd name="T34" fmla="*/ 804 w 1580"/>
                <a:gd name="T35" fmla="*/ 568 h 914"/>
                <a:gd name="T36" fmla="*/ 1162 w 1580"/>
                <a:gd name="T37" fmla="*/ 568 h 914"/>
                <a:gd name="T38" fmla="*/ 1192 w 1580"/>
                <a:gd name="T39" fmla="*/ 599 h 914"/>
                <a:gd name="T40" fmla="*/ 1192 w 1580"/>
                <a:gd name="T41" fmla="*/ 853 h 914"/>
                <a:gd name="T42" fmla="*/ 1550 w 1580"/>
                <a:gd name="T43" fmla="*/ 853 h 914"/>
                <a:gd name="T44" fmla="*/ 1580 w 1580"/>
                <a:gd name="T45" fmla="*/ 883 h 914"/>
                <a:gd name="T46" fmla="*/ 1544 w 1580"/>
                <a:gd name="T47" fmla="*/ 914 h 914"/>
                <a:gd name="T48" fmla="*/ 1162 w 1580"/>
                <a:gd name="T49" fmla="*/ 914 h 914"/>
                <a:gd name="T50" fmla="*/ 1131 w 1580"/>
                <a:gd name="T51" fmla="*/ 883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0" h="914">
                  <a:moveTo>
                    <a:pt x="1131" y="883"/>
                  </a:moveTo>
                  <a:lnTo>
                    <a:pt x="1131" y="629"/>
                  </a:lnTo>
                  <a:lnTo>
                    <a:pt x="774" y="629"/>
                  </a:lnTo>
                  <a:cubicBezTo>
                    <a:pt x="757" y="629"/>
                    <a:pt x="743" y="616"/>
                    <a:pt x="743" y="599"/>
                  </a:cubicBezTo>
                  <a:lnTo>
                    <a:pt x="743" y="345"/>
                  </a:lnTo>
                  <a:lnTo>
                    <a:pt x="386" y="345"/>
                  </a:lnTo>
                  <a:lnTo>
                    <a:pt x="386" y="345"/>
                  </a:lnTo>
                  <a:cubicBezTo>
                    <a:pt x="369" y="345"/>
                    <a:pt x="355" y="331"/>
                    <a:pt x="355" y="315"/>
                  </a:cubicBezTo>
                  <a:lnTo>
                    <a:pt x="355" y="61"/>
                  </a:lnTo>
                  <a:lnTo>
                    <a:pt x="31" y="61"/>
                  </a:lnTo>
                  <a:cubicBezTo>
                    <a:pt x="14" y="61"/>
                    <a:pt x="0" y="47"/>
                    <a:pt x="0" y="30"/>
                  </a:cubicBezTo>
                  <a:cubicBezTo>
                    <a:pt x="0" y="13"/>
                    <a:pt x="14" y="0"/>
                    <a:pt x="31" y="0"/>
                  </a:cubicBezTo>
                  <a:lnTo>
                    <a:pt x="386" y="0"/>
                  </a:lnTo>
                  <a:cubicBezTo>
                    <a:pt x="402" y="0"/>
                    <a:pt x="416" y="13"/>
                    <a:pt x="416" y="30"/>
                  </a:cubicBezTo>
                  <a:lnTo>
                    <a:pt x="416" y="284"/>
                  </a:lnTo>
                  <a:lnTo>
                    <a:pt x="774" y="284"/>
                  </a:lnTo>
                  <a:cubicBezTo>
                    <a:pt x="790" y="284"/>
                    <a:pt x="804" y="298"/>
                    <a:pt x="804" y="315"/>
                  </a:cubicBezTo>
                  <a:lnTo>
                    <a:pt x="804" y="568"/>
                  </a:lnTo>
                  <a:lnTo>
                    <a:pt x="1162" y="568"/>
                  </a:lnTo>
                  <a:cubicBezTo>
                    <a:pt x="1179" y="568"/>
                    <a:pt x="1192" y="582"/>
                    <a:pt x="1192" y="599"/>
                  </a:cubicBezTo>
                  <a:lnTo>
                    <a:pt x="1192" y="853"/>
                  </a:lnTo>
                  <a:lnTo>
                    <a:pt x="1550" y="853"/>
                  </a:lnTo>
                  <a:cubicBezTo>
                    <a:pt x="1567" y="853"/>
                    <a:pt x="1580" y="866"/>
                    <a:pt x="1580" y="883"/>
                  </a:cubicBezTo>
                  <a:cubicBezTo>
                    <a:pt x="1580" y="899"/>
                    <a:pt x="1568" y="914"/>
                    <a:pt x="1544" y="914"/>
                  </a:cubicBezTo>
                  <a:lnTo>
                    <a:pt x="1162" y="914"/>
                  </a:lnTo>
                  <a:cubicBezTo>
                    <a:pt x="1145" y="914"/>
                    <a:pt x="1131" y="900"/>
                    <a:pt x="1131" y="883"/>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17" name="Making_money" descr="{&quot;Key&quot;:&quot;POWER_USER_SHAPE_ICON&quot;,&quot;Value&quot;:&quot;POWER_USER_SHAPE_ICON_STYLE_1&quot;}">
            <a:extLst>
              <a:ext uri="{FF2B5EF4-FFF2-40B4-BE49-F238E27FC236}">
                <a16:creationId xmlns:a16="http://schemas.microsoft.com/office/drawing/2014/main" id="{E118A964-A7C1-4AE6-890A-7BDA3C0CABCF}"/>
              </a:ext>
            </a:extLst>
          </p:cNvPr>
          <p:cNvGrpSpPr>
            <a:grpSpLocks noChangeAspect="1"/>
          </p:cNvGrpSpPr>
          <p:nvPr>
            <p:custDataLst>
              <p:tags r:id="rId10"/>
            </p:custDataLst>
          </p:nvPr>
        </p:nvGrpSpPr>
        <p:grpSpPr>
          <a:xfrm>
            <a:off x="7000568" y="2857270"/>
            <a:ext cx="642101" cy="542925"/>
            <a:chOff x="7386638" y="2532063"/>
            <a:chExt cx="801688" cy="677863"/>
          </a:xfrm>
          <a:solidFill>
            <a:schemeClr val="bg2"/>
          </a:solidFill>
        </p:grpSpPr>
        <p:sp>
          <p:nvSpPr>
            <p:cNvPr id="118" name="Freeform 241">
              <a:extLst>
                <a:ext uri="{FF2B5EF4-FFF2-40B4-BE49-F238E27FC236}">
                  <a16:creationId xmlns:a16="http://schemas.microsoft.com/office/drawing/2014/main" id="{E77A851C-BA76-44AE-ACED-CF1780EEF1E0}"/>
                </a:ext>
              </a:extLst>
            </p:cNvPr>
            <p:cNvSpPr>
              <a:spLocks noEditPoints="1"/>
            </p:cNvSpPr>
            <p:nvPr/>
          </p:nvSpPr>
          <p:spPr bwMode="auto">
            <a:xfrm>
              <a:off x="7812088" y="2833688"/>
              <a:ext cx="376238" cy="376238"/>
            </a:xfrm>
            <a:custGeom>
              <a:avLst/>
              <a:gdLst>
                <a:gd name="T0" fmla="*/ 247 w 494"/>
                <a:gd name="T1" fmla="*/ 333 h 494"/>
                <a:gd name="T2" fmla="*/ 160 w 494"/>
                <a:gd name="T3" fmla="*/ 247 h 494"/>
                <a:gd name="T4" fmla="*/ 247 w 494"/>
                <a:gd name="T5" fmla="*/ 160 h 494"/>
                <a:gd name="T6" fmla="*/ 333 w 494"/>
                <a:gd name="T7" fmla="*/ 247 h 494"/>
                <a:gd name="T8" fmla="*/ 247 w 494"/>
                <a:gd name="T9" fmla="*/ 333 h 494"/>
                <a:gd name="T10" fmla="*/ 492 w 494"/>
                <a:gd name="T11" fmla="*/ 272 h 494"/>
                <a:gd name="T12" fmla="*/ 494 w 494"/>
                <a:gd name="T13" fmla="*/ 247 h 494"/>
                <a:gd name="T14" fmla="*/ 492 w 494"/>
                <a:gd name="T15" fmla="*/ 221 h 494"/>
                <a:gd name="T16" fmla="*/ 427 w 494"/>
                <a:gd name="T17" fmla="*/ 198 h 494"/>
                <a:gd name="T18" fmla="*/ 408 w 494"/>
                <a:gd name="T19" fmla="*/ 153 h 494"/>
                <a:gd name="T20" fmla="*/ 438 w 494"/>
                <a:gd name="T21" fmla="*/ 91 h 494"/>
                <a:gd name="T22" fmla="*/ 402 w 494"/>
                <a:gd name="T23" fmla="*/ 55 h 494"/>
                <a:gd name="T24" fmla="*/ 340 w 494"/>
                <a:gd name="T25" fmla="*/ 85 h 494"/>
                <a:gd name="T26" fmla="*/ 295 w 494"/>
                <a:gd name="T27" fmla="*/ 66 h 494"/>
                <a:gd name="T28" fmla="*/ 272 w 494"/>
                <a:gd name="T29" fmla="*/ 1 h 494"/>
                <a:gd name="T30" fmla="*/ 247 w 494"/>
                <a:gd name="T31" fmla="*/ 0 h 494"/>
                <a:gd name="T32" fmla="*/ 222 w 494"/>
                <a:gd name="T33" fmla="*/ 1 h 494"/>
                <a:gd name="T34" fmla="*/ 198 w 494"/>
                <a:gd name="T35" fmla="*/ 66 h 494"/>
                <a:gd name="T36" fmla="*/ 154 w 494"/>
                <a:gd name="T37" fmla="*/ 85 h 494"/>
                <a:gd name="T38" fmla="*/ 91 w 494"/>
                <a:gd name="T39" fmla="*/ 55 h 494"/>
                <a:gd name="T40" fmla="*/ 55 w 494"/>
                <a:gd name="T41" fmla="*/ 91 h 494"/>
                <a:gd name="T42" fmla="*/ 85 w 494"/>
                <a:gd name="T43" fmla="*/ 153 h 494"/>
                <a:gd name="T44" fmla="*/ 66 w 494"/>
                <a:gd name="T45" fmla="*/ 198 h 494"/>
                <a:gd name="T46" fmla="*/ 1 w 494"/>
                <a:gd name="T47" fmla="*/ 221 h 494"/>
                <a:gd name="T48" fmla="*/ 0 w 494"/>
                <a:gd name="T49" fmla="*/ 247 h 494"/>
                <a:gd name="T50" fmla="*/ 1 w 494"/>
                <a:gd name="T51" fmla="*/ 272 h 494"/>
                <a:gd name="T52" fmla="*/ 66 w 494"/>
                <a:gd name="T53" fmla="*/ 295 h 494"/>
                <a:gd name="T54" fmla="*/ 85 w 494"/>
                <a:gd name="T55" fmla="*/ 340 h 494"/>
                <a:gd name="T56" fmla="*/ 55 w 494"/>
                <a:gd name="T57" fmla="*/ 403 h 494"/>
                <a:gd name="T58" fmla="*/ 91 w 494"/>
                <a:gd name="T59" fmla="*/ 439 h 494"/>
                <a:gd name="T60" fmla="*/ 154 w 494"/>
                <a:gd name="T61" fmla="*/ 409 h 494"/>
                <a:gd name="T62" fmla="*/ 198 w 494"/>
                <a:gd name="T63" fmla="*/ 427 h 494"/>
                <a:gd name="T64" fmla="*/ 222 w 494"/>
                <a:gd name="T65" fmla="*/ 492 h 494"/>
                <a:gd name="T66" fmla="*/ 247 w 494"/>
                <a:gd name="T67" fmla="*/ 494 h 494"/>
                <a:gd name="T68" fmla="*/ 272 w 494"/>
                <a:gd name="T69" fmla="*/ 492 h 494"/>
                <a:gd name="T70" fmla="*/ 295 w 494"/>
                <a:gd name="T71" fmla="*/ 427 h 494"/>
                <a:gd name="T72" fmla="*/ 340 w 494"/>
                <a:gd name="T73" fmla="*/ 409 h 494"/>
                <a:gd name="T74" fmla="*/ 402 w 494"/>
                <a:gd name="T75" fmla="*/ 439 h 494"/>
                <a:gd name="T76" fmla="*/ 438 w 494"/>
                <a:gd name="T77" fmla="*/ 403 h 494"/>
                <a:gd name="T78" fmla="*/ 408 w 494"/>
                <a:gd name="T79" fmla="*/ 340 h 494"/>
                <a:gd name="T80" fmla="*/ 427 w 494"/>
                <a:gd name="T81" fmla="*/ 295 h 494"/>
                <a:gd name="T82" fmla="*/ 492 w 494"/>
                <a:gd name="T83" fmla="*/ 27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4" h="494">
                  <a:moveTo>
                    <a:pt x="247" y="333"/>
                  </a:moveTo>
                  <a:cubicBezTo>
                    <a:pt x="199" y="333"/>
                    <a:pt x="160" y="294"/>
                    <a:pt x="160" y="247"/>
                  </a:cubicBezTo>
                  <a:cubicBezTo>
                    <a:pt x="160" y="199"/>
                    <a:pt x="199" y="160"/>
                    <a:pt x="247" y="160"/>
                  </a:cubicBezTo>
                  <a:cubicBezTo>
                    <a:pt x="294" y="160"/>
                    <a:pt x="333" y="199"/>
                    <a:pt x="333" y="247"/>
                  </a:cubicBezTo>
                  <a:cubicBezTo>
                    <a:pt x="333" y="294"/>
                    <a:pt x="294" y="333"/>
                    <a:pt x="247" y="333"/>
                  </a:cubicBezTo>
                  <a:close/>
                  <a:moveTo>
                    <a:pt x="492" y="272"/>
                  </a:moveTo>
                  <a:cubicBezTo>
                    <a:pt x="493" y="264"/>
                    <a:pt x="494" y="255"/>
                    <a:pt x="494" y="247"/>
                  </a:cubicBezTo>
                  <a:cubicBezTo>
                    <a:pt x="494" y="238"/>
                    <a:pt x="493" y="230"/>
                    <a:pt x="492" y="221"/>
                  </a:cubicBezTo>
                  <a:lnTo>
                    <a:pt x="427" y="198"/>
                  </a:lnTo>
                  <a:cubicBezTo>
                    <a:pt x="423" y="182"/>
                    <a:pt x="416" y="167"/>
                    <a:pt x="408" y="153"/>
                  </a:cubicBezTo>
                  <a:lnTo>
                    <a:pt x="438" y="91"/>
                  </a:lnTo>
                  <a:cubicBezTo>
                    <a:pt x="427" y="77"/>
                    <a:pt x="415" y="65"/>
                    <a:pt x="402" y="55"/>
                  </a:cubicBezTo>
                  <a:lnTo>
                    <a:pt x="340" y="85"/>
                  </a:lnTo>
                  <a:cubicBezTo>
                    <a:pt x="326" y="77"/>
                    <a:pt x="311" y="70"/>
                    <a:pt x="295" y="66"/>
                  </a:cubicBezTo>
                  <a:lnTo>
                    <a:pt x="272" y="1"/>
                  </a:lnTo>
                  <a:cubicBezTo>
                    <a:pt x="263" y="0"/>
                    <a:pt x="255" y="0"/>
                    <a:pt x="247" y="0"/>
                  </a:cubicBezTo>
                  <a:cubicBezTo>
                    <a:pt x="238" y="0"/>
                    <a:pt x="230" y="0"/>
                    <a:pt x="222" y="1"/>
                  </a:cubicBezTo>
                  <a:lnTo>
                    <a:pt x="198" y="66"/>
                  </a:lnTo>
                  <a:cubicBezTo>
                    <a:pt x="183" y="70"/>
                    <a:pt x="168" y="77"/>
                    <a:pt x="154" y="85"/>
                  </a:cubicBezTo>
                  <a:lnTo>
                    <a:pt x="91" y="55"/>
                  </a:lnTo>
                  <a:cubicBezTo>
                    <a:pt x="78" y="65"/>
                    <a:pt x="66" y="77"/>
                    <a:pt x="55" y="91"/>
                  </a:cubicBezTo>
                  <a:lnTo>
                    <a:pt x="85" y="153"/>
                  </a:lnTo>
                  <a:cubicBezTo>
                    <a:pt x="77" y="167"/>
                    <a:pt x="71" y="182"/>
                    <a:pt x="66" y="198"/>
                  </a:cubicBezTo>
                  <a:lnTo>
                    <a:pt x="1" y="221"/>
                  </a:lnTo>
                  <a:cubicBezTo>
                    <a:pt x="0" y="230"/>
                    <a:pt x="0" y="238"/>
                    <a:pt x="0" y="247"/>
                  </a:cubicBezTo>
                  <a:cubicBezTo>
                    <a:pt x="0" y="255"/>
                    <a:pt x="0" y="264"/>
                    <a:pt x="1" y="272"/>
                  </a:cubicBezTo>
                  <a:lnTo>
                    <a:pt x="66" y="295"/>
                  </a:lnTo>
                  <a:cubicBezTo>
                    <a:pt x="71" y="311"/>
                    <a:pt x="77" y="326"/>
                    <a:pt x="85" y="340"/>
                  </a:cubicBezTo>
                  <a:lnTo>
                    <a:pt x="55" y="403"/>
                  </a:lnTo>
                  <a:cubicBezTo>
                    <a:pt x="66" y="416"/>
                    <a:pt x="78" y="428"/>
                    <a:pt x="91" y="439"/>
                  </a:cubicBezTo>
                  <a:lnTo>
                    <a:pt x="154" y="409"/>
                  </a:lnTo>
                  <a:cubicBezTo>
                    <a:pt x="168" y="417"/>
                    <a:pt x="183" y="423"/>
                    <a:pt x="198" y="427"/>
                  </a:cubicBezTo>
                  <a:lnTo>
                    <a:pt x="222" y="492"/>
                  </a:lnTo>
                  <a:cubicBezTo>
                    <a:pt x="230" y="493"/>
                    <a:pt x="238" y="494"/>
                    <a:pt x="247" y="494"/>
                  </a:cubicBezTo>
                  <a:cubicBezTo>
                    <a:pt x="255" y="494"/>
                    <a:pt x="263" y="493"/>
                    <a:pt x="272" y="492"/>
                  </a:cubicBezTo>
                  <a:lnTo>
                    <a:pt x="295" y="427"/>
                  </a:lnTo>
                  <a:cubicBezTo>
                    <a:pt x="311" y="423"/>
                    <a:pt x="326" y="417"/>
                    <a:pt x="340" y="409"/>
                  </a:cubicBezTo>
                  <a:lnTo>
                    <a:pt x="402" y="439"/>
                  </a:lnTo>
                  <a:cubicBezTo>
                    <a:pt x="415" y="428"/>
                    <a:pt x="427" y="416"/>
                    <a:pt x="438" y="403"/>
                  </a:cubicBezTo>
                  <a:lnTo>
                    <a:pt x="408" y="340"/>
                  </a:lnTo>
                  <a:cubicBezTo>
                    <a:pt x="416" y="326"/>
                    <a:pt x="423" y="311"/>
                    <a:pt x="427" y="295"/>
                  </a:cubicBezTo>
                  <a:lnTo>
                    <a:pt x="492" y="2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Freeform 242">
              <a:extLst>
                <a:ext uri="{FF2B5EF4-FFF2-40B4-BE49-F238E27FC236}">
                  <a16:creationId xmlns:a16="http://schemas.microsoft.com/office/drawing/2014/main" id="{66451B6A-0D6B-4882-B003-377C6D555E04}"/>
                </a:ext>
              </a:extLst>
            </p:cNvPr>
            <p:cNvSpPr>
              <a:spLocks/>
            </p:cNvSpPr>
            <p:nvPr/>
          </p:nvSpPr>
          <p:spPr bwMode="auto">
            <a:xfrm>
              <a:off x="7585075" y="2689225"/>
              <a:ext cx="101600" cy="182563"/>
            </a:xfrm>
            <a:custGeom>
              <a:avLst/>
              <a:gdLst>
                <a:gd name="T0" fmla="*/ 67 w 134"/>
                <a:gd name="T1" fmla="*/ 103 h 240"/>
                <a:gd name="T2" fmla="*/ 35 w 134"/>
                <a:gd name="T3" fmla="*/ 79 h 240"/>
                <a:gd name="T4" fmla="*/ 67 w 134"/>
                <a:gd name="T5" fmla="*/ 54 h 240"/>
                <a:gd name="T6" fmla="*/ 99 w 134"/>
                <a:gd name="T7" fmla="*/ 79 h 240"/>
                <a:gd name="T8" fmla="*/ 134 w 134"/>
                <a:gd name="T9" fmla="*/ 79 h 240"/>
                <a:gd name="T10" fmla="*/ 84 w 134"/>
                <a:gd name="T11" fmla="*/ 22 h 240"/>
                <a:gd name="T12" fmla="*/ 84 w 134"/>
                <a:gd name="T13" fmla="*/ 0 h 240"/>
                <a:gd name="T14" fmla="*/ 50 w 134"/>
                <a:gd name="T15" fmla="*/ 0 h 240"/>
                <a:gd name="T16" fmla="*/ 50 w 134"/>
                <a:gd name="T17" fmla="*/ 22 h 240"/>
                <a:gd name="T18" fmla="*/ 0 w 134"/>
                <a:gd name="T19" fmla="*/ 79 h 240"/>
                <a:gd name="T20" fmla="*/ 67 w 134"/>
                <a:gd name="T21" fmla="*/ 137 h 240"/>
                <a:gd name="T22" fmla="*/ 99 w 134"/>
                <a:gd name="T23" fmla="*/ 162 h 240"/>
                <a:gd name="T24" fmla="*/ 67 w 134"/>
                <a:gd name="T25" fmla="*/ 186 h 240"/>
                <a:gd name="T26" fmla="*/ 35 w 134"/>
                <a:gd name="T27" fmla="*/ 162 h 240"/>
                <a:gd name="T28" fmla="*/ 0 w 134"/>
                <a:gd name="T29" fmla="*/ 162 h 240"/>
                <a:gd name="T30" fmla="*/ 50 w 134"/>
                <a:gd name="T31" fmla="*/ 218 h 240"/>
                <a:gd name="T32" fmla="*/ 50 w 134"/>
                <a:gd name="T33" fmla="*/ 240 h 240"/>
                <a:gd name="T34" fmla="*/ 84 w 134"/>
                <a:gd name="T35" fmla="*/ 240 h 240"/>
                <a:gd name="T36" fmla="*/ 84 w 134"/>
                <a:gd name="T37" fmla="*/ 218 h 240"/>
                <a:gd name="T38" fmla="*/ 134 w 134"/>
                <a:gd name="T39" fmla="*/ 162 h 240"/>
                <a:gd name="T40" fmla="*/ 67 w 134"/>
                <a:gd name="T41" fmla="*/ 10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4" h="240">
                  <a:moveTo>
                    <a:pt x="67" y="103"/>
                  </a:moveTo>
                  <a:cubicBezTo>
                    <a:pt x="55" y="103"/>
                    <a:pt x="35" y="100"/>
                    <a:pt x="35" y="79"/>
                  </a:cubicBezTo>
                  <a:cubicBezTo>
                    <a:pt x="35" y="65"/>
                    <a:pt x="49" y="54"/>
                    <a:pt x="67" y="54"/>
                  </a:cubicBezTo>
                  <a:cubicBezTo>
                    <a:pt x="84" y="54"/>
                    <a:pt x="99" y="65"/>
                    <a:pt x="99" y="79"/>
                  </a:cubicBezTo>
                  <a:lnTo>
                    <a:pt x="134" y="79"/>
                  </a:lnTo>
                  <a:cubicBezTo>
                    <a:pt x="134" y="51"/>
                    <a:pt x="113" y="29"/>
                    <a:pt x="84" y="22"/>
                  </a:cubicBezTo>
                  <a:lnTo>
                    <a:pt x="84" y="0"/>
                  </a:lnTo>
                  <a:lnTo>
                    <a:pt x="50" y="0"/>
                  </a:lnTo>
                  <a:lnTo>
                    <a:pt x="50" y="22"/>
                  </a:lnTo>
                  <a:cubicBezTo>
                    <a:pt x="21" y="29"/>
                    <a:pt x="0" y="51"/>
                    <a:pt x="0" y="79"/>
                  </a:cubicBezTo>
                  <a:cubicBezTo>
                    <a:pt x="0" y="108"/>
                    <a:pt x="21" y="137"/>
                    <a:pt x="67" y="137"/>
                  </a:cubicBezTo>
                  <a:cubicBezTo>
                    <a:pt x="87" y="137"/>
                    <a:pt x="99" y="146"/>
                    <a:pt x="99" y="162"/>
                  </a:cubicBezTo>
                  <a:cubicBezTo>
                    <a:pt x="99" y="175"/>
                    <a:pt x="84" y="186"/>
                    <a:pt x="67" y="186"/>
                  </a:cubicBezTo>
                  <a:cubicBezTo>
                    <a:pt x="49" y="186"/>
                    <a:pt x="35" y="175"/>
                    <a:pt x="35" y="162"/>
                  </a:cubicBezTo>
                  <a:lnTo>
                    <a:pt x="0" y="162"/>
                  </a:lnTo>
                  <a:cubicBezTo>
                    <a:pt x="0" y="189"/>
                    <a:pt x="21" y="211"/>
                    <a:pt x="50" y="218"/>
                  </a:cubicBezTo>
                  <a:lnTo>
                    <a:pt x="50" y="240"/>
                  </a:lnTo>
                  <a:lnTo>
                    <a:pt x="84" y="240"/>
                  </a:lnTo>
                  <a:lnTo>
                    <a:pt x="84" y="218"/>
                  </a:lnTo>
                  <a:cubicBezTo>
                    <a:pt x="113" y="211"/>
                    <a:pt x="134" y="189"/>
                    <a:pt x="134" y="162"/>
                  </a:cubicBezTo>
                  <a:cubicBezTo>
                    <a:pt x="134" y="127"/>
                    <a:pt x="106" y="103"/>
                    <a:pt x="67" y="10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 name="Freeform 243">
              <a:extLst>
                <a:ext uri="{FF2B5EF4-FFF2-40B4-BE49-F238E27FC236}">
                  <a16:creationId xmlns:a16="http://schemas.microsoft.com/office/drawing/2014/main" id="{895C62BB-D489-449D-9B06-ABD4BE1DB314}"/>
                </a:ext>
              </a:extLst>
            </p:cNvPr>
            <p:cNvSpPr>
              <a:spLocks noEditPoints="1"/>
            </p:cNvSpPr>
            <p:nvPr/>
          </p:nvSpPr>
          <p:spPr bwMode="auto">
            <a:xfrm>
              <a:off x="7386638" y="2532063"/>
              <a:ext cx="498475" cy="498475"/>
            </a:xfrm>
            <a:custGeom>
              <a:avLst/>
              <a:gdLst>
                <a:gd name="T0" fmla="*/ 327 w 654"/>
                <a:gd name="T1" fmla="*/ 483 h 654"/>
                <a:gd name="T2" fmla="*/ 171 w 654"/>
                <a:gd name="T3" fmla="*/ 327 h 654"/>
                <a:gd name="T4" fmla="*/ 327 w 654"/>
                <a:gd name="T5" fmla="*/ 171 h 654"/>
                <a:gd name="T6" fmla="*/ 483 w 654"/>
                <a:gd name="T7" fmla="*/ 327 h 654"/>
                <a:gd name="T8" fmla="*/ 327 w 654"/>
                <a:gd name="T9" fmla="*/ 483 h 654"/>
                <a:gd name="T10" fmla="*/ 652 w 654"/>
                <a:gd name="T11" fmla="*/ 361 h 654"/>
                <a:gd name="T12" fmla="*/ 654 w 654"/>
                <a:gd name="T13" fmla="*/ 327 h 654"/>
                <a:gd name="T14" fmla="*/ 652 w 654"/>
                <a:gd name="T15" fmla="*/ 294 h 654"/>
                <a:gd name="T16" fmla="*/ 565 w 654"/>
                <a:gd name="T17" fmla="*/ 263 h 654"/>
                <a:gd name="T18" fmla="*/ 541 w 654"/>
                <a:gd name="T19" fmla="*/ 203 h 654"/>
                <a:gd name="T20" fmla="*/ 580 w 654"/>
                <a:gd name="T21" fmla="*/ 121 h 654"/>
                <a:gd name="T22" fmla="*/ 533 w 654"/>
                <a:gd name="T23" fmla="*/ 73 h 654"/>
                <a:gd name="T24" fmla="*/ 450 w 654"/>
                <a:gd name="T25" fmla="*/ 113 h 654"/>
                <a:gd name="T26" fmla="*/ 391 w 654"/>
                <a:gd name="T27" fmla="*/ 88 h 654"/>
                <a:gd name="T28" fmla="*/ 360 w 654"/>
                <a:gd name="T29" fmla="*/ 2 h 654"/>
                <a:gd name="T30" fmla="*/ 327 w 654"/>
                <a:gd name="T31" fmla="*/ 0 h 654"/>
                <a:gd name="T32" fmla="*/ 294 w 654"/>
                <a:gd name="T33" fmla="*/ 2 h 654"/>
                <a:gd name="T34" fmla="*/ 263 w 654"/>
                <a:gd name="T35" fmla="*/ 88 h 654"/>
                <a:gd name="T36" fmla="*/ 204 w 654"/>
                <a:gd name="T37" fmla="*/ 113 h 654"/>
                <a:gd name="T38" fmla="*/ 121 w 654"/>
                <a:gd name="T39" fmla="*/ 73 h 654"/>
                <a:gd name="T40" fmla="*/ 74 w 654"/>
                <a:gd name="T41" fmla="*/ 121 h 654"/>
                <a:gd name="T42" fmla="*/ 113 w 654"/>
                <a:gd name="T43" fmla="*/ 203 h 654"/>
                <a:gd name="T44" fmla="*/ 88 w 654"/>
                <a:gd name="T45" fmla="*/ 263 h 654"/>
                <a:gd name="T46" fmla="*/ 2 w 654"/>
                <a:gd name="T47" fmla="*/ 294 h 654"/>
                <a:gd name="T48" fmla="*/ 0 w 654"/>
                <a:gd name="T49" fmla="*/ 327 h 654"/>
                <a:gd name="T50" fmla="*/ 2 w 654"/>
                <a:gd name="T51" fmla="*/ 361 h 654"/>
                <a:gd name="T52" fmla="*/ 88 w 654"/>
                <a:gd name="T53" fmla="*/ 391 h 654"/>
                <a:gd name="T54" fmla="*/ 113 w 654"/>
                <a:gd name="T55" fmla="*/ 451 h 654"/>
                <a:gd name="T56" fmla="*/ 74 w 654"/>
                <a:gd name="T57" fmla="*/ 533 h 654"/>
                <a:gd name="T58" fmla="*/ 121 w 654"/>
                <a:gd name="T59" fmla="*/ 581 h 654"/>
                <a:gd name="T60" fmla="*/ 204 w 654"/>
                <a:gd name="T61" fmla="*/ 541 h 654"/>
                <a:gd name="T62" fmla="*/ 263 w 654"/>
                <a:gd name="T63" fmla="*/ 566 h 654"/>
                <a:gd name="T64" fmla="*/ 294 w 654"/>
                <a:gd name="T65" fmla="*/ 652 h 654"/>
                <a:gd name="T66" fmla="*/ 327 w 654"/>
                <a:gd name="T67" fmla="*/ 654 h 654"/>
                <a:gd name="T68" fmla="*/ 360 w 654"/>
                <a:gd name="T69" fmla="*/ 652 h 654"/>
                <a:gd name="T70" fmla="*/ 391 w 654"/>
                <a:gd name="T71" fmla="*/ 566 h 654"/>
                <a:gd name="T72" fmla="*/ 450 w 654"/>
                <a:gd name="T73" fmla="*/ 541 h 654"/>
                <a:gd name="T74" fmla="*/ 533 w 654"/>
                <a:gd name="T75" fmla="*/ 581 h 654"/>
                <a:gd name="T76" fmla="*/ 580 w 654"/>
                <a:gd name="T77" fmla="*/ 533 h 654"/>
                <a:gd name="T78" fmla="*/ 541 w 654"/>
                <a:gd name="T79" fmla="*/ 451 h 654"/>
                <a:gd name="T80" fmla="*/ 565 w 654"/>
                <a:gd name="T81" fmla="*/ 391 h 654"/>
                <a:gd name="T82" fmla="*/ 652 w 654"/>
                <a:gd name="T83" fmla="*/ 361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54" h="654">
                  <a:moveTo>
                    <a:pt x="327" y="483"/>
                  </a:moveTo>
                  <a:cubicBezTo>
                    <a:pt x="241" y="483"/>
                    <a:pt x="171" y="413"/>
                    <a:pt x="171" y="327"/>
                  </a:cubicBezTo>
                  <a:cubicBezTo>
                    <a:pt x="171" y="241"/>
                    <a:pt x="241" y="171"/>
                    <a:pt x="327" y="171"/>
                  </a:cubicBezTo>
                  <a:cubicBezTo>
                    <a:pt x="413" y="171"/>
                    <a:pt x="483" y="241"/>
                    <a:pt x="483" y="327"/>
                  </a:cubicBezTo>
                  <a:cubicBezTo>
                    <a:pt x="483" y="413"/>
                    <a:pt x="413" y="483"/>
                    <a:pt x="327" y="483"/>
                  </a:cubicBezTo>
                  <a:close/>
                  <a:moveTo>
                    <a:pt x="652" y="361"/>
                  </a:moveTo>
                  <a:cubicBezTo>
                    <a:pt x="653" y="350"/>
                    <a:pt x="654" y="338"/>
                    <a:pt x="654" y="327"/>
                  </a:cubicBezTo>
                  <a:cubicBezTo>
                    <a:pt x="654" y="316"/>
                    <a:pt x="653" y="305"/>
                    <a:pt x="652" y="294"/>
                  </a:cubicBezTo>
                  <a:lnTo>
                    <a:pt x="565" y="263"/>
                  </a:lnTo>
                  <a:cubicBezTo>
                    <a:pt x="560" y="242"/>
                    <a:pt x="551" y="222"/>
                    <a:pt x="541" y="203"/>
                  </a:cubicBezTo>
                  <a:lnTo>
                    <a:pt x="580" y="121"/>
                  </a:lnTo>
                  <a:cubicBezTo>
                    <a:pt x="566" y="103"/>
                    <a:pt x="550" y="87"/>
                    <a:pt x="533" y="73"/>
                  </a:cubicBezTo>
                  <a:lnTo>
                    <a:pt x="450" y="113"/>
                  </a:lnTo>
                  <a:cubicBezTo>
                    <a:pt x="431" y="102"/>
                    <a:pt x="412" y="94"/>
                    <a:pt x="391" y="88"/>
                  </a:cubicBezTo>
                  <a:lnTo>
                    <a:pt x="360" y="2"/>
                  </a:lnTo>
                  <a:cubicBezTo>
                    <a:pt x="349" y="1"/>
                    <a:pt x="338" y="0"/>
                    <a:pt x="327" y="0"/>
                  </a:cubicBezTo>
                  <a:cubicBezTo>
                    <a:pt x="316" y="0"/>
                    <a:pt x="305" y="1"/>
                    <a:pt x="294" y="2"/>
                  </a:cubicBezTo>
                  <a:lnTo>
                    <a:pt x="263" y="88"/>
                  </a:lnTo>
                  <a:cubicBezTo>
                    <a:pt x="242" y="94"/>
                    <a:pt x="222" y="102"/>
                    <a:pt x="204" y="113"/>
                  </a:cubicBezTo>
                  <a:lnTo>
                    <a:pt x="121" y="73"/>
                  </a:lnTo>
                  <a:cubicBezTo>
                    <a:pt x="104" y="87"/>
                    <a:pt x="88" y="103"/>
                    <a:pt x="74" y="121"/>
                  </a:cubicBezTo>
                  <a:lnTo>
                    <a:pt x="113" y="203"/>
                  </a:lnTo>
                  <a:cubicBezTo>
                    <a:pt x="102" y="222"/>
                    <a:pt x="94" y="242"/>
                    <a:pt x="88" y="263"/>
                  </a:cubicBezTo>
                  <a:lnTo>
                    <a:pt x="2" y="294"/>
                  </a:lnTo>
                  <a:cubicBezTo>
                    <a:pt x="1" y="305"/>
                    <a:pt x="0" y="316"/>
                    <a:pt x="0" y="327"/>
                  </a:cubicBezTo>
                  <a:cubicBezTo>
                    <a:pt x="0" y="338"/>
                    <a:pt x="1" y="350"/>
                    <a:pt x="2" y="361"/>
                  </a:cubicBezTo>
                  <a:lnTo>
                    <a:pt x="88" y="391"/>
                  </a:lnTo>
                  <a:cubicBezTo>
                    <a:pt x="94" y="412"/>
                    <a:pt x="102" y="432"/>
                    <a:pt x="113" y="451"/>
                  </a:cubicBezTo>
                  <a:lnTo>
                    <a:pt x="74" y="533"/>
                  </a:lnTo>
                  <a:cubicBezTo>
                    <a:pt x="88" y="551"/>
                    <a:pt x="104" y="567"/>
                    <a:pt x="121" y="581"/>
                  </a:cubicBezTo>
                  <a:lnTo>
                    <a:pt x="204" y="541"/>
                  </a:lnTo>
                  <a:cubicBezTo>
                    <a:pt x="222" y="552"/>
                    <a:pt x="242" y="560"/>
                    <a:pt x="263" y="566"/>
                  </a:cubicBezTo>
                  <a:lnTo>
                    <a:pt x="294" y="652"/>
                  </a:lnTo>
                  <a:cubicBezTo>
                    <a:pt x="305" y="653"/>
                    <a:pt x="316" y="654"/>
                    <a:pt x="327" y="654"/>
                  </a:cubicBezTo>
                  <a:cubicBezTo>
                    <a:pt x="338" y="654"/>
                    <a:pt x="349" y="653"/>
                    <a:pt x="360" y="652"/>
                  </a:cubicBezTo>
                  <a:lnTo>
                    <a:pt x="391" y="566"/>
                  </a:lnTo>
                  <a:cubicBezTo>
                    <a:pt x="412" y="560"/>
                    <a:pt x="431" y="552"/>
                    <a:pt x="450" y="541"/>
                  </a:cubicBezTo>
                  <a:lnTo>
                    <a:pt x="533" y="581"/>
                  </a:lnTo>
                  <a:cubicBezTo>
                    <a:pt x="550" y="567"/>
                    <a:pt x="566" y="551"/>
                    <a:pt x="580" y="533"/>
                  </a:cubicBezTo>
                  <a:lnTo>
                    <a:pt x="541" y="451"/>
                  </a:lnTo>
                  <a:cubicBezTo>
                    <a:pt x="551" y="432"/>
                    <a:pt x="560" y="412"/>
                    <a:pt x="565" y="391"/>
                  </a:cubicBezTo>
                  <a:lnTo>
                    <a:pt x="652" y="36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1" name="Freeform 244">
              <a:extLst>
                <a:ext uri="{FF2B5EF4-FFF2-40B4-BE49-F238E27FC236}">
                  <a16:creationId xmlns:a16="http://schemas.microsoft.com/office/drawing/2014/main" id="{6ACE5F79-8F01-4AE5-B93E-3DF282077716}"/>
                </a:ext>
              </a:extLst>
            </p:cNvPr>
            <p:cNvSpPr>
              <a:spLocks/>
            </p:cNvSpPr>
            <p:nvPr/>
          </p:nvSpPr>
          <p:spPr bwMode="auto">
            <a:xfrm>
              <a:off x="7853363" y="2541588"/>
              <a:ext cx="257175" cy="269875"/>
            </a:xfrm>
            <a:custGeom>
              <a:avLst/>
              <a:gdLst>
                <a:gd name="T0" fmla="*/ 337 w 338"/>
                <a:gd name="T1" fmla="*/ 231 h 353"/>
                <a:gd name="T2" fmla="*/ 268 w 338"/>
                <a:gd name="T3" fmla="*/ 207 h 353"/>
                <a:gd name="T4" fmla="*/ 249 w 338"/>
                <a:gd name="T5" fmla="*/ 160 h 353"/>
                <a:gd name="T6" fmla="*/ 280 w 338"/>
                <a:gd name="T7" fmla="*/ 95 h 353"/>
                <a:gd name="T8" fmla="*/ 243 w 338"/>
                <a:gd name="T9" fmla="*/ 58 h 353"/>
                <a:gd name="T10" fmla="*/ 177 w 338"/>
                <a:gd name="T11" fmla="*/ 89 h 353"/>
                <a:gd name="T12" fmla="*/ 131 w 338"/>
                <a:gd name="T13" fmla="*/ 70 h 353"/>
                <a:gd name="T14" fmla="*/ 107 w 338"/>
                <a:gd name="T15" fmla="*/ 2 h 353"/>
                <a:gd name="T16" fmla="*/ 81 w 338"/>
                <a:gd name="T17" fmla="*/ 0 h 353"/>
                <a:gd name="T18" fmla="*/ 55 w 338"/>
                <a:gd name="T19" fmla="*/ 2 h 353"/>
                <a:gd name="T20" fmla="*/ 31 w 338"/>
                <a:gd name="T21" fmla="*/ 70 h 353"/>
                <a:gd name="T22" fmla="*/ 0 w 338"/>
                <a:gd name="T23" fmla="*/ 81 h 353"/>
                <a:gd name="T24" fmla="*/ 40 w 338"/>
                <a:gd name="T25" fmla="*/ 177 h 353"/>
                <a:gd name="T26" fmla="*/ 81 w 338"/>
                <a:gd name="T27" fmla="*/ 168 h 353"/>
                <a:gd name="T28" fmla="*/ 170 w 338"/>
                <a:gd name="T29" fmla="*/ 257 h 353"/>
                <a:gd name="T30" fmla="*/ 157 w 338"/>
                <a:gd name="T31" fmla="*/ 304 h 353"/>
                <a:gd name="T32" fmla="*/ 250 w 338"/>
                <a:gd name="T33" fmla="*/ 353 h 353"/>
                <a:gd name="T34" fmla="*/ 268 w 338"/>
                <a:gd name="T35" fmla="*/ 308 h 353"/>
                <a:gd name="T36" fmla="*/ 337 w 338"/>
                <a:gd name="T37" fmla="*/ 284 h 353"/>
                <a:gd name="T38" fmla="*/ 338 w 338"/>
                <a:gd name="T39" fmla="*/ 257 h 353"/>
                <a:gd name="T40" fmla="*/ 337 w 338"/>
                <a:gd name="T41" fmla="*/ 231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8" h="353">
                  <a:moveTo>
                    <a:pt x="337" y="231"/>
                  </a:moveTo>
                  <a:lnTo>
                    <a:pt x="268" y="207"/>
                  </a:lnTo>
                  <a:cubicBezTo>
                    <a:pt x="264" y="190"/>
                    <a:pt x="257" y="175"/>
                    <a:pt x="249" y="160"/>
                  </a:cubicBezTo>
                  <a:lnTo>
                    <a:pt x="280" y="95"/>
                  </a:lnTo>
                  <a:cubicBezTo>
                    <a:pt x="269" y="81"/>
                    <a:pt x="256" y="69"/>
                    <a:pt x="243" y="58"/>
                  </a:cubicBezTo>
                  <a:lnTo>
                    <a:pt x="177" y="89"/>
                  </a:lnTo>
                  <a:cubicBezTo>
                    <a:pt x="163" y="81"/>
                    <a:pt x="147" y="74"/>
                    <a:pt x="131" y="70"/>
                  </a:cubicBezTo>
                  <a:lnTo>
                    <a:pt x="107" y="2"/>
                  </a:lnTo>
                  <a:cubicBezTo>
                    <a:pt x="98" y="1"/>
                    <a:pt x="90" y="0"/>
                    <a:pt x="81" y="0"/>
                  </a:cubicBezTo>
                  <a:cubicBezTo>
                    <a:pt x="72" y="0"/>
                    <a:pt x="63" y="1"/>
                    <a:pt x="55" y="2"/>
                  </a:cubicBezTo>
                  <a:lnTo>
                    <a:pt x="31" y="70"/>
                  </a:lnTo>
                  <a:cubicBezTo>
                    <a:pt x="20" y="73"/>
                    <a:pt x="10" y="77"/>
                    <a:pt x="0" y="81"/>
                  </a:cubicBezTo>
                  <a:lnTo>
                    <a:pt x="40" y="177"/>
                  </a:lnTo>
                  <a:cubicBezTo>
                    <a:pt x="52" y="171"/>
                    <a:pt x="66" y="168"/>
                    <a:pt x="81" y="168"/>
                  </a:cubicBezTo>
                  <a:cubicBezTo>
                    <a:pt x="130" y="168"/>
                    <a:pt x="170" y="208"/>
                    <a:pt x="170" y="257"/>
                  </a:cubicBezTo>
                  <a:cubicBezTo>
                    <a:pt x="170" y="275"/>
                    <a:pt x="165" y="291"/>
                    <a:pt x="157" y="304"/>
                  </a:cubicBezTo>
                  <a:lnTo>
                    <a:pt x="250" y="353"/>
                  </a:lnTo>
                  <a:cubicBezTo>
                    <a:pt x="258" y="339"/>
                    <a:pt x="264" y="324"/>
                    <a:pt x="268" y="308"/>
                  </a:cubicBezTo>
                  <a:lnTo>
                    <a:pt x="337" y="284"/>
                  </a:lnTo>
                  <a:cubicBezTo>
                    <a:pt x="337" y="275"/>
                    <a:pt x="338" y="266"/>
                    <a:pt x="338" y="257"/>
                  </a:cubicBezTo>
                  <a:cubicBezTo>
                    <a:pt x="338" y="249"/>
                    <a:pt x="337" y="240"/>
                    <a:pt x="337" y="23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25" name="Team5" descr="{&quot;Key&quot;:&quot;POWER_USER_SHAPE_ICON&quot;,&quot;Value&quot;:&quot;POWER_USER_SHAPE_ICON_STYLE_1&quot;}">
            <a:extLst>
              <a:ext uri="{FF2B5EF4-FFF2-40B4-BE49-F238E27FC236}">
                <a16:creationId xmlns:a16="http://schemas.microsoft.com/office/drawing/2014/main" id="{1A53CBDC-00CD-45D1-81D9-EAD5B3F672EE}"/>
              </a:ext>
            </a:extLst>
          </p:cNvPr>
          <p:cNvGrpSpPr>
            <a:grpSpLocks noChangeAspect="1"/>
          </p:cNvGrpSpPr>
          <p:nvPr>
            <p:custDataLst>
              <p:tags r:id="rId11"/>
            </p:custDataLst>
          </p:nvPr>
        </p:nvGrpSpPr>
        <p:grpSpPr>
          <a:xfrm>
            <a:off x="9114503" y="2827773"/>
            <a:ext cx="596992" cy="542925"/>
            <a:chOff x="2362200" y="2994025"/>
            <a:chExt cx="841375" cy="765175"/>
          </a:xfrm>
          <a:solidFill>
            <a:schemeClr val="bg1"/>
          </a:solidFill>
        </p:grpSpPr>
        <p:sp>
          <p:nvSpPr>
            <p:cNvPr id="126" name="Oval 43">
              <a:extLst>
                <a:ext uri="{FF2B5EF4-FFF2-40B4-BE49-F238E27FC236}">
                  <a16:creationId xmlns:a16="http://schemas.microsoft.com/office/drawing/2014/main" id="{D3832457-09B6-4A90-991F-7017161E4CB8}"/>
                </a:ext>
              </a:extLst>
            </p:cNvPr>
            <p:cNvSpPr>
              <a:spLocks noChangeArrowheads="1"/>
            </p:cNvSpPr>
            <p:nvPr/>
          </p:nvSpPr>
          <p:spPr bwMode="auto">
            <a:xfrm>
              <a:off x="2828925" y="2994025"/>
              <a:ext cx="168275" cy="1682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Freeform 44">
              <a:extLst>
                <a:ext uri="{FF2B5EF4-FFF2-40B4-BE49-F238E27FC236}">
                  <a16:creationId xmlns:a16="http://schemas.microsoft.com/office/drawing/2014/main" id="{24125967-3303-4974-BF72-E77044118395}"/>
                </a:ext>
              </a:extLst>
            </p:cNvPr>
            <p:cNvSpPr>
              <a:spLocks/>
            </p:cNvSpPr>
            <p:nvPr/>
          </p:nvSpPr>
          <p:spPr bwMode="auto">
            <a:xfrm>
              <a:off x="2865438" y="3187700"/>
              <a:ext cx="92075" cy="165100"/>
            </a:xfrm>
            <a:custGeom>
              <a:avLst/>
              <a:gdLst>
                <a:gd name="T0" fmla="*/ 89 w 121"/>
                <a:gd name="T1" fmla="*/ 217 h 217"/>
                <a:gd name="T2" fmla="*/ 121 w 121"/>
                <a:gd name="T3" fmla="*/ 207 h 217"/>
                <a:gd name="T4" fmla="*/ 79 w 121"/>
                <a:gd name="T5" fmla="*/ 103 h 217"/>
                <a:gd name="T6" fmla="*/ 120 w 121"/>
                <a:gd name="T7" fmla="*/ 0 h 217"/>
                <a:gd name="T8" fmla="*/ 18 w 121"/>
                <a:gd name="T9" fmla="*/ 0 h 217"/>
                <a:gd name="T10" fmla="*/ 40 w 121"/>
                <a:gd name="T11" fmla="*/ 77 h 217"/>
                <a:gd name="T12" fmla="*/ 0 w 121"/>
                <a:gd name="T13" fmla="*/ 179 h 217"/>
                <a:gd name="T14" fmla="*/ 83 w 121"/>
                <a:gd name="T15" fmla="*/ 212 h 217"/>
                <a:gd name="T16" fmla="*/ 89 w 121"/>
                <a:gd name="T17" fmla="*/ 21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217">
                  <a:moveTo>
                    <a:pt x="89" y="217"/>
                  </a:moveTo>
                  <a:cubicBezTo>
                    <a:pt x="99" y="213"/>
                    <a:pt x="110" y="210"/>
                    <a:pt x="121" y="207"/>
                  </a:cubicBezTo>
                  <a:cubicBezTo>
                    <a:pt x="95" y="180"/>
                    <a:pt x="79" y="144"/>
                    <a:pt x="79" y="103"/>
                  </a:cubicBezTo>
                  <a:cubicBezTo>
                    <a:pt x="79" y="64"/>
                    <a:pt x="94" y="27"/>
                    <a:pt x="120" y="0"/>
                  </a:cubicBezTo>
                  <a:lnTo>
                    <a:pt x="18" y="0"/>
                  </a:lnTo>
                  <a:cubicBezTo>
                    <a:pt x="32" y="23"/>
                    <a:pt x="40" y="49"/>
                    <a:pt x="40" y="77"/>
                  </a:cubicBezTo>
                  <a:cubicBezTo>
                    <a:pt x="40" y="117"/>
                    <a:pt x="24" y="152"/>
                    <a:pt x="0" y="179"/>
                  </a:cubicBezTo>
                  <a:cubicBezTo>
                    <a:pt x="30" y="183"/>
                    <a:pt x="59" y="192"/>
                    <a:pt x="83" y="212"/>
                  </a:cubicBezTo>
                  <a:lnTo>
                    <a:pt x="89" y="21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Oval 45">
              <a:extLst>
                <a:ext uri="{FF2B5EF4-FFF2-40B4-BE49-F238E27FC236}">
                  <a16:creationId xmlns:a16="http://schemas.microsoft.com/office/drawing/2014/main" id="{60ED02E6-8120-4668-B5E8-5442B6937BC4}"/>
                </a:ext>
              </a:extLst>
            </p:cNvPr>
            <p:cNvSpPr>
              <a:spLocks noChangeArrowheads="1"/>
            </p:cNvSpPr>
            <p:nvPr/>
          </p:nvSpPr>
          <p:spPr bwMode="auto">
            <a:xfrm>
              <a:off x="2560638" y="2994025"/>
              <a:ext cx="168275" cy="1682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Freeform 46">
              <a:extLst>
                <a:ext uri="{FF2B5EF4-FFF2-40B4-BE49-F238E27FC236}">
                  <a16:creationId xmlns:a16="http://schemas.microsoft.com/office/drawing/2014/main" id="{DA772FDD-0A5A-4C40-8134-56360C9F70C2}"/>
                </a:ext>
              </a:extLst>
            </p:cNvPr>
            <p:cNvSpPr>
              <a:spLocks/>
            </p:cNvSpPr>
            <p:nvPr/>
          </p:nvSpPr>
          <p:spPr bwMode="auto">
            <a:xfrm>
              <a:off x="2606675" y="3187700"/>
              <a:ext cx="92075" cy="165100"/>
            </a:xfrm>
            <a:custGeom>
              <a:avLst/>
              <a:gdLst>
                <a:gd name="T0" fmla="*/ 3 w 120"/>
                <a:gd name="T1" fmla="*/ 0 h 217"/>
                <a:gd name="T2" fmla="*/ 1 w 120"/>
                <a:gd name="T3" fmla="*/ 0 h 217"/>
                <a:gd name="T4" fmla="*/ 42 w 120"/>
                <a:gd name="T5" fmla="*/ 103 h 217"/>
                <a:gd name="T6" fmla="*/ 0 w 120"/>
                <a:gd name="T7" fmla="*/ 207 h 217"/>
                <a:gd name="T8" fmla="*/ 31 w 120"/>
                <a:gd name="T9" fmla="*/ 217 h 217"/>
                <a:gd name="T10" fmla="*/ 36 w 120"/>
                <a:gd name="T11" fmla="*/ 212 h 217"/>
                <a:gd name="T12" fmla="*/ 120 w 120"/>
                <a:gd name="T13" fmla="*/ 179 h 217"/>
                <a:gd name="T14" fmla="*/ 80 w 120"/>
                <a:gd name="T15" fmla="*/ 77 h 217"/>
                <a:gd name="T16" fmla="*/ 101 w 120"/>
                <a:gd name="T17" fmla="*/ 0 h 217"/>
                <a:gd name="T18" fmla="*/ 3 w 120"/>
                <a:gd name="T1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217">
                  <a:moveTo>
                    <a:pt x="3" y="0"/>
                  </a:moveTo>
                  <a:cubicBezTo>
                    <a:pt x="2" y="0"/>
                    <a:pt x="2" y="0"/>
                    <a:pt x="1" y="0"/>
                  </a:cubicBezTo>
                  <a:cubicBezTo>
                    <a:pt x="27" y="27"/>
                    <a:pt x="42" y="64"/>
                    <a:pt x="42" y="103"/>
                  </a:cubicBezTo>
                  <a:cubicBezTo>
                    <a:pt x="42" y="144"/>
                    <a:pt x="26" y="180"/>
                    <a:pt x="0" y="207"/>
                  </a:cubicBezTo>
                  <a:cubicBezTo>
                    <a:pt x="11" y="210"/>
                    <a:pt x="21" y="212"/>
                    <a:pt x="31" y="217"/>
                  </a:cubicBezTo>
                  <a:lnTo>
                    <a:pt x="36" y="212"/>
                  </a:lnTo>
                  <a:cubicBezTo>
                    <a:pt x="60" y="192"/>
                    <a:pt x="90" y="183"/>
                    <a:pt x="120" y="179"/>
                  </a:cubicBezTo>
                  <a:cubicBezTo>
                    <a:pt x="95" y="152"/>
                    <a:pt x="80" y="117"/>
                    <a:pt x="80" y="77"/>
                  </a:cubicBezTo>
                  <a:cubicBezTo>
                    <a:pt x="80" y="49"/>
                    <a:pt x="88" y="23"/>
                    <a:pt x="101" y="0"/>
                  </a:cubicBezTo>
                  <a:lnTo>
                    <a:pt x="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Freeform 47">
              <a:extLst>
                <a:ext uri="{FF2B5EF4-FFF2-40B4-BE49-F238E27FC236}">
                  <a16:creationId xmlns:a16="http://schemas.microsoft.com/office/drawing/2014/main" id="{85B46DB4-9158-4817-873D-8444545ED249}"/>
                </a:ext>
              </a:extLst>
            </p:cNvPr>
            <p:cNvSpPr>
              <a:spLocks/>
            </p:cNvSpPr>
            <p:nvPr/>
          </p:nvSpPr>
          <p:spPr bwMode="auto">
            <a:xfrm>
              <a:off x="3108325" y="3346450"/>
              <a:ext cx="95250" cy="84138"/>
            </a:xfrm>
            <a:custGeom>
              <a:avLst/>
              <a:gdLst>
                <a:gd name="T0" fmla="*/ 78 w 126"/>
                <a:gd name="T1" fmla="*/ 14 h 110"/>
                <a:gd name="T2" fmla="*/ 36 w 126"/>
                <a:gd name="T3" fmla="*/ 0 h 110"/>
                <a:gd name="T4" fmla="*/ 9 w 126"/>
                <a:gd name="T5" fmla="*/ 28 h 110"/>
                <a:gd name="T6" fmla="*/ 36 w 126"/>
                <a:gd name="T7" fmla="*/ 105 h 110"/>
                <a:gd name="T8" fmla="*/ 62 w 126"/>
                <a:gd name="T9" fmla="*/ 110 h 110"/>
                <a:gd name="T10" fmla="*/ 107 w 126"/>
                <a:gd name="T11" fmla="*/ 88 h 110"/>
                <a:gd name="T12" fmla="*/ 116 w 126"/>
                <a:gd name="T13" fmla="*/ 69 h 110"/>
                <a:gd name="T14" fmla="*/ 78 w 126"/>
                <a:gd name="T15" fmla="*/ 14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110">
                  <a:moveTo>
                    <a:pt x="78" y="14"/>
                  </a:moveTo>
                  <a:cubicBezTo>
                    <a:pt x="63" y="6"/>
                    <a:pt x="48" y="0"/>
                    <a:pt x="36" y="0"/>
                  </a:cubicBezTo>
                  <a:cubicBezTo>
                    <a:pt x="21" y="0"/>
                    <a:pt x="15" y="9"/>
                    <a:pt x="9" y="28"/>
                  </a:cubicBezTo>
                  <a:cubicBezTo>
                    <a:pt x="0" y="58"/>
                    <a:pt x="7" y="92"/>
                    <a:pt x="36" y="105"/>
                  </a:cubicBezTo>
                  <a:cubicBezTo>
                    <a:pt x="45" y="109"/>
                    <a:pt x="54" y="110"/>
                    <a:pt x="62" y="110"/>
                  </a:cubicBezTo>
                  <a:cubicBezTo>
                    <a:pt x="80" y="110"/>
                    <a:pt x="97" y="102"/>
                    <a:pt x="107" y="88"/>
                  </a:cubicBezTo>
                  <a:cubicBezTo>
                    <a:pt x="113" y="81"/>
                    <a:pt x="114" y="73"/>
                    <a:pt x="116" y="69"/>
                  </a:cubicBezTo>
                  <a:cubicBezTo>
                    <a:pt x="126" y="35"/>
                    <a:pt x="107" y="27"/>
                    <a:pt x="78" y="1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Freeform 48">
              <a:extLst>
                <a:ext uri="{FF2B5EF4-FFF2-40B4-BE49-F238E27FC236}">
                  <a16:creationId xmlns:a16="http://schemas.microsoft.com/office/drawing/2014/main" id="{E5A5C1F2-AE15-4B1A-96BF-D17BE199549B}"/>
                </a:ext>
              </a:extLst>
            </p:cNvPr>
            <p:cNvSpPr>
              <a:spLocks/>
            </p:cNvSpPr>
            <p:nvPr/>
          </p:nvSpPr>
          <p:spPr bwMode="auto">
            <a:xfrm>
              <a:off x="2362200" y="3346450"/>
              <a:ext cx="95250" cy="84138"/>
            </a:xfrm>
            <a:custGeom>
              <a:avLst/>
              <a:gdLst>
                <a:gd name="T0" fmla="*/ 10 w 126"/>
                <a:gd name="T1" fmla="*/ 69 h 110"/>
                <a:gd name="T2" fmla="*/ 19 w 126"/>
                <a:gd name="T3" fmla="*/ 88 h 110"/>
                <a:gd name="T4" fmla="*/ 64 w 126"/>
                <a:gd name="T5" fmla="*/ 110 h 110"/>
                <a:gd name="T6" fmla="*/ 90 w 126"/>
                <a:gd name="T7" fmla="*/ 105 h 110"/>
                <a:gd name="T8" fmla="*/ 117 w 126"/>
                <a:gd name="T9" fmla="*/ 28 h 110"/>
                <a:gd name="T10" fmla="*/ 90 w 126"/>
                <a:gd name="T11" fmla="*/ 0 h 110"/>
                <a:gd name="T12" fmla="*/ 48 w 126"/>
                <a:gd name="T13" fmla="*/ 14 h 110"/>
                <a:gd name="T14" fmla="*/ 10 w 126"/>
                <a:gd name="T15" fmla="*/ 69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110">
                  <a:moveTo>
                    <a:pt x="10" y="69"/>
                  </a:moveTo>
                  <a:cubicBezTo>
                    <a:pt x="12" y="73"/>
                    <a:pt x="13" y="81"/>
                    <a:pt x="19" y="88"/>
                  </a:cubicBezTo>
                  <a:cubicBezTo>
                    <a:pt x="29" y="102"/>
                    <a:pt x="46" y="110"/>
                    <a:pt x="64" y="110"/>
                  </a:cubicBezTo>
                  <a:cubicBezTo>
                    <a:pt x="72" y="110"/>
                    <a:pt x="81" y="109"/>
                    <a:pt x="90" y="105"/>
                  </a:cubicBezTo>
                  <a:cubicBezTo>
                    <a:pt x="119" y="92"/>
                    <a:pt x="126" y="58"/>
                    <a:pt x="117" y="28"/>
                  </a:cubicBezTo>
                  <a:cubicBezTo>
                    <a:pt x="111" y="9"/>
                    <a:pt x="105" y="0"/>
                    <a:pt x="90" y="0"/>
                  </a:cubicBezTo>
                  <a:cubicBezTo>
                    <a:pt x="78" y="0"/>
                    <a:pt x="63" y="6"/>
                    <a:pt x="48" y="14"/>
                  </a:cubicBezTo>
                  <a:cubicBezTo>
                    <a:pt x="19" y="27"/>
                    <a:pt x="0" y="35"/>
                    <a:pt x="10" y="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Freeform 49">
              <a:extLst>
                <a:ext uri="{FF2B5EF4-FFF2-40B4-BE49-F238E27FC236}">
                  <a16:creationId xmlns:a16="http://schemas.microsoft.com/office/drawing/2014/main" id="{B3AD6F28-C132-42D8-AB28-267901C01EDD}"/>
                </a:ext>
              </a:extLst>
            </p:cNvPr>
            <p:cNvSpPr>
              <a:spLocks/>
            </p:cNvSpPr>
            <p:nvPr/>
          </p:nvSpPr>
          <p:spPr bwMode="auto">
            <a:xfrm>
              <a:off x="2905125" y="3371850"/>
              <a:ext cx="284163" cy="387350"/>
            </a:xfrm>
            <a:custGeom>
              <a:avLst/>
              <a:gdLst>
                <a:gd name="T0" fmla="*/ 308 w 374"/>
                <a:gd name="T1" fmla="*/ 417 h 508"/>
                <a:gd name="T2" fmla="*/ 373 w 374"/>
                <a:gd name="T3" fmla="*/ 359 h 508"/>
                <a:gd name="T4" fmla="*/ 374 w 374"/>
                <a:gd name="T5" fmla="*/ 145 h 508"/>
                <a:gd name="T6" fmla="*/ 368 w 374"/>
                <a:gd name="T7" fmla="*/ 97 h 508"/>
                <a:gd name="T8" fmla="*/ 328 w 374"/>
                <a:gd name="T9" fmla="*/ 106 h 508"/>
                <a:gd name="T10" fmla="*/ 291 w 374"/>
                <a:gd name="T11" fmla="*/ 98 h 508"/>
                <a:gd name="T12" fmla="*/ 243 w 374"/>
                <a:gd name="T13" fmla="*/ 0 h 508"/>
                <a:gd name="T14" fmla="*/ 239 w 374"/>
                <a:gd name="T15" fmla="*/ 0 h 508"/>
                <a:gd name="T16" fmla="*/ 178 w 374"/>
                <a:gd name="T17" fmla="*/ 61 h 508"/>
                <a:gd name="T18" fmla="*/ 117 w 374"/>
                <a:gd name="T19" fmla="*/ 0 h 508"/>
                <a:gd name="T20" fmla="*/ 36 w 374"/>
                <a:gd name="T21" fmla="*/ 22 h 508"/>
                <a:gd name="T22" fmla="*/ 0 w 374"/>
                <a:gd name="T23" fmla="*/ 116 h 508"/>
                <a:gd name="T24" fmla="*/ 0 w 374"/>
                <a:gd name="T25" fmla="*/ 195 h 508"/>
                <a:gd name="T26" fmla="*/ 57 w 374"/>
                <a:gd name="T27" fmla="*/ 179 h 508"/>
                <a:gd name="T28" fmla="*/ 58 w 374"/>
                <a:gd name="T29" fmla="*/ 508 h 508"/>
                <a:gd name="T30" fmla="*/ 308 w 374"/>
                <a:gd name="T31" fmla="*/ 508 h 508"/>
                <a:gd name="T32" fmla="*/ 308 w 374"/>
                <a:gd name="T33" fmla="*/ 417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 h="508">
                  <a:moveTo>
                    <a:pt x="308" y="417"/>
                  </a:moveTo>
                  <a:cubicBezTo>
                    <a:pt x="349" y="417"/>
                    <a:pt x="373" y="392"/>
                    <a:pt x="373" y="359"/>
                  </a:cubicBezTo>
                  <a:cubicBezTo>
                    <a:pt x="373" y="359"/>
                    <a:pt x="374" y="145"/>
                    <a:pt x="374" y="145"/>
                  </a:cubicBezTo>
                  <a:cubicBezTo>
                    <a:pt x="374" y="127"/>
                    <a:pt x="372" y="111"/>
                    <a:pt x="368" y="97"/>
                  </a:cubicBezTo>
                  <a:cubicBezTo>
                    <a:pt x="356" y="103"/>
                    <a:pt x="342" y="106"/>
                    <a:pt x="328" y="106"/>
                  </a:cubicBezTo>
                  <a:cubicBezTo>
                    <a:pt x="315" y="106"/>
                    <a:pt x="303" y="103"/>
                    <a:pt x="291" y="98"/>
                  </a:cubicBezTo>
                  <a:cubicBezTo>
                    <a:pt x="254" y="82"/>
                    <a:pt x="236" y="43"/>
                    <a:pt x="243" y="0"/>
                  </a:cubicBezTo>
                  <a:cubicBezTo>
                    <a:pt x="242" y="0"/>
                    <a:pt x="240" y="0"/>
                    <a:pt x="239" y="0"/>
                  </a:cubicBezTo>
                  <a:lnTo>
                    <a:pt x="178" y="61"/>
                  </a:lnTo>
                  <a:lnTo>
                    <a:pt x="117" y="0"/>
                  </a:lnTo>
                  <a:cubicBezTo>
                    <a:pt x="84" y="1"/>
                    <a:pt x="56" y="6"/>
                    <a:pt x="36" y="22"/>
                  </a:cubicBezTo>
                  <a:cubicBezTo>
                    <a:pt x="6" y="45"/>
                    <a:pt x="0" y="96"/>
                    <a:pt x="0" y="116"/>
                  </a:cubicBezTo>
                  <a:cubicBezTo>
                    <a:pt x="0" y="137"/>
                    <a:pt x="0" y="164"/>
                    <a:pt x="0" y="195"/>
                  </a:cubicBezTo>
                  <a:cubicBezTo>
                    <a:pt x="18" y="190"/>
                    <a:pt x="38" y="185"/>
                    <a:pt x="57" y="179"/>
                  </a:cubicBezTo>
                  <a:lnTo>
                    <a:pt x="58" y="508"/>
                  </a:lnTo>
                  <a:lnTo>
                    <a:pt x="308" y="508"/>
                  </a:lnTo>
                  <a:lnTo>
                    <a:pt x="308" y="41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Oval 50">
              <a:extLst>
                <a:ext uri="{FF2B5EF4-FFF2-40B4-BE49-F238E27FC236}">
                  <a16:creationId xmlns:a16="http://schemas.microsoft.com/office/drawing/2014/main" id="{9D36D3A1-EB80-4EFD-9567-647370E430DF}"/>
                </a:ext>
              </a:extLst>
            </p:cNvPr>
            <p:cNvSpPr>
              <a:spLocks noChangeArrowheads="1"/>
            </p:cNvSpPr>
            <p:nvPr/>
          </p:nvSpPr>
          <p:spPr bwMode="auto">
            <a:xfrm>
              <a:off x="2441575" y="3182938"/>
              <a:ext cx="168275" cy="1682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Oval 51">
              <a:extLst>
                <a:ext uri="{FF2B5EF4-FFF2-40B4-BE49-F238E27FC236}">
                  <a16:creationId xmlns:a16="http://schemas.microsoft.com/office/drawing/2014/main" id="{1B6E144F-EC8E-44A9-B443-2DBC12720858}"/>
                </a:ext>
              </a:extLst>
            </p:cNvPr>
            <p:cNvSpPr>
              <a:spLocks noChangeArrowheads="1"/>
            </p:cNvSpPr>
            <p:nvPr/>
          </p:nvSpPr>
          <p:spPr bwMode="auto">
            <a:xfrm>
              <a:off x="2955925" y="3182938"/>
              <a:ext cx="168275" cy="1682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52">
              <a:extLst>
                <a:ext uri="{FF2B5EF4-FFF2-40B4-BE49-F238E27FC236}">
                  <a16:creationId xmlns:a16="http://schemas.microsoft.com/office/drawing/2014/main" id="{50D5AFDB-C874-4AEC-AD84-F554806C7B0C}"/>
                </a:ext>
              </a:extLst>
            </p:cNvPr>
            <p:cNvSpPr>
              <a:spLocks/>
            </p:cNvSpPr>
            <p:nvPr/>
          </p:nvSpPr>
          <p:spPr bwMode="auto">
            <a:xfrm>
              <a:off x="2654300" y="3352800"/>
              <a:ext cx="255588" cy="406400"/>
            </a:xfrm>
            <a:custGeom>
              <a:avLst/>
              <a:gdLst>
                <a:gd name="T0" fmla="*/ 229 w 335"/>
                <a:gd name="T1" fmla="*/ 0 h 534"/>
                <a:gd name="T2" fmla="*/ 168 w 335"/>
                <a:gd name="T3" fmla="*/ 61 h 534"/>
                <a:gd name="T4" fmla="*/ 107 w 335"/>
                <a:gd name="T5" fmla="*/ 0 h 534"/>
                <a:gd name="T6" fmla="*/ 0 w 335"/>
                <a:gd name="T7" fmla="*/ 26 h 534"/>
                <a:gd name="T8" fmla="*/ 42 w 335"/>
                <a:gd name="T9" fmla="*/ 142 h 534"/>
                <a:gd name="T10" fmla="*/ 42 w 335"/>
                <a:gd name="T11" fmla="*/ 534 h 534"/>
                <a:gd name="T12" fmla="*/ 293 w 335"/>
                <a:gd name="T13" fmla="*/ 534 h 534"/>
                <a:gd name="T14" fmla="*/ 293 w 335"/>
                <a:gd name="T15" fmla="*/ 142 h 534"/>
                <a:gd name="T16" fmla="*/ 335 w 335"/>
                <a:gd name="T17" fmla="*/ 26 h 534"/>
                <a:gd name="T18" fmla="*/ 229 w 335"/>
                <a:gd name="T19" fmla="*/ 0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5" h="534">
                  <a:moveTo>
                    <a:pt x="229" y="0"/>
                  </a:moveTo>
                  <a:lnTo>
                    <a:pt x="168" y="61"/>
                  </a:lnTo>
                  <a:lnTo>
                    <a:pt x="107" y="0"/>
                  </a:lnTo>
                  <a:cubicBezTo>
                    <a:pt x="60" y="1"/>
                    <a:pt x="25" y="5"/>
                    <a:pt x="0" y="26"/>
                  </a:cubicBezTo>
                  <a:cubicBezTo>
                    <a:pt x="0" y="26"/>
                    <a:pt x="42" y="70"/>
                    <a:pt x="42" y="142"/>
                  </a:cubicBezTo>
                  <a:cubicBezTo>
                    <a:pt x="42" y="224"/>
                    <a:pt x="42" y="397"/>
                    <a:pt x="42" y="534"/>
                  </a:cubicBezTo>
                  <a:lnTo>
                    <a:pt x="293" y="534"/>
                  </a:lnTo>
                  <a:lnTo>
                    <a:pt x="293" y="142"/>
                  </a:lnTo>
                  <a:cubicBezTo>
                    <a:pt x="293" y="82"/>
                    <a:pt x="320" y="47"/>
                    <a:pt x="335" y="26"/>
                  </a:cubicBezTo>
                  <a:cubicBezTo>
                    <a:pt x="311" y="5"/>
                    <a:pt x="275" y="1"/>
                    <a:pt x="229"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Oval 53">
              <a:extLst>
                <a:ext uri="{FF2B5EF4-FFF2-40B4-BE49-F238E27FC236}">
                  <a16:creationId xmlns:a16="http://schemas.microsoft.com/office/drawing/2014/main" id="{CEFE17A5-E43B-4A11-B3EB-25BE7116BD6E}"/>
                </a:ext>
              </a:extLst>
            </p:cNvPr>
            <p:cNvSpPr>
              <a:spLocks noChangeArrowheads="1"/>
            </p:cNvSpPr>
            <p:nvPr/>
          </p:nvSpPr>
          <p:spPr bwMode="auto">
            <a:xfrm>
              <a:off x="2697163" y="3162300"/>
              <a:ext cx="168275" cy="1682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54">
              <a:extLst>
                <a:ext uri="{FF2B5EF4-FFF2-40B4-BE49-F238E27FC236}">
                  <a16:creationId xmlns:a16="http://schemas.microsoft.com/office/drawing/2014/main" id="{908FCDCE-E571-4B96-A395-B925EB07839A}"/>
                </a:ext>
              </a:extLst>
            </p:cNvPr>
            <p:cNvSpPr>
              <a:spLocks/>
            </p:cNvSpPr>
            <p:nvPr/>
          </p:nvSpPr>
          <p:spPr bwMode="auto">
            <a:xfrm>
              <a:off x="2374900" y="3371850"/>
              <a:ext cx="285750" cy="387350"/>
            </a:xfrm>
            <a:custGeom>
              <a:avLst/>
              <a:gdLst>
                <a:gd name="T0" fmla="*/ 317 w 374"/>
                <a:gd name="T1" fmla="*/ 508 h 508"/>
                <a:gd name="T2" fmla="*/ 317 w 374"/>
                <a:gd name="T3" fmla="*/ 179 h 508"/>
                <a:gd name="T4" fmla="*/ 374 w 374"/>
                <a:gd name="T5" fmla="*/ 195 h 508"/>
                <a:gd name="T6" fmla="*/ 374 w 374"/>
                <a:gd name="T7" fmla="*/ 116 h 508"/>
                <a:gd name="T8" fmla="*/ 338 w 374"/>
                <a:gd name="T9" fmla="*/ 22 h 508"/>
                <a:gd name="T10" fmla="*/ 257 w 374"/>
                <a:gd name="T11" fmla="*/ 0 h 508"/>
                <a:gd name="T12" fmla="*/ 196 w 374"/>
                <a:gd name="T13" fmla="*/ 61 h 508"/>
                <a:gd name="T14" fmla="*/ 136 w 374"/>
                <a:gd name="T15" fmla="*/ 0 h 508"/>
                <a:gd name="T16" fmla="*/ 131 w 374"/>
                <a:gd name="T17" fmla="*/ 0 h 508"/>
                <a:gd name="T18" fmla="*/ 83 w 374"/>
                <a:gd name="T19" fmla="*/ 98 h 508"/>
                <a:gd name="T20" fmla="*/ 46 w 374"/>
                <a:gd name="T21" fmla="*/ 106 h 508"/>
                <a:gd name="T22" fmla="*/ 6 w 374"/>
                <a:gd name="T23" fmla="*/ 97 h 508"/>
                <a:gd name="T24" fmla="*/ 0 w 374"/>
                <a:gd name="T25" fmla="*/ 145 h 508"/>
                <a:gd name="T26" fmla="*/ 1 w 374"/>
                <a:gd name="T27" fmla="*/ 359 h 508"/>
                <a:gd name="T28" fmla="*/ 66 w 374"/>
                <a:gd name="T29" fmla="*/ 417 h 508"/>
                <a:gd name="T30" fmla="*/ 66 w 374"/>
                <a:gd name="T31" fmla="*/ 508 h 508"/>
                <a:gd name="T32" fmla="*/ 317 w 374"/>
                <a:gd name="T33" fmla="*/ 50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 h="508">
                  <a:moveTo>
                    <a:pt x="317" y="508"/>
                  </a:moveTo>
                  <a:lnTo>
                    <a:pt x="317" y="179"/>
                  </a:lnTo>
                  <a:cubicBezTo>
                    <a:pt x="336" y="185"/>
                    <a:pt x="356" y="190"/>
                    <a:pt x="374" y="195"/>
                  </a:cubicBezTo>
                  <a:cubicBezTo>
                    <a:pt x="374" y="164"/>
                    <a:pt x="374" y="137"/>
                    <a:pt x="374" y="116"/>
                  </a:cubicBezTo>
                  <a:cubicBezTo>
                    <a:pt x="374" y="96"/>
                    <a:pt x="368" y="45"/>
                    <a:pt x="338" y="22"/>
                  </a:cubicBezTo>
                  <a:cubicBezTo>
                    <a:pt x="319" y="6"/>
                    <a:pt x="290" y="1"/>
                    <a:pt x="257" y="0"/>
                  </a:cubicBezTo>
                  <a:lnTo>
                    <a:pt x="196" y="61"/>
                  </a:lnTo>
                  <a:lnTo>
                    <a:pt x="136" y="0"/>
                  </a:lnTo>
                  <a:cubicBezTo>
                    <a:pt x="134" y="0"/>
                    <a:pt x="132" y="0"/>
                    <a:pt x="131" y="0"/>
                  </a:cubicBezTo>
                  <a:cubicBezTo>
                    <a:pt x="138" y="43"/>
                    <a:pt x="120" y="82"/>
                    <a:pt x="83" y="98"/>
                  </a:cubicBezTo>
                  <a:cubicBezTo>
                    <a:pt x="71" y="103"/>
                    <a:pt x="59" y="106"/>
                    <a:pt x="46" y="106"/>
                  </a:cubicBezTo>
                  <a:cubicBezTo>
                    <a:pt x="32" y="106"/>
                    <a:pt x="18" y="103"/>
                    <a:pt x="6" y="97"/>
                  </a:cubicBezTo>
                  <a:cubicBezTo>
                    <a:pt x="2" y="111"/>
                    <a:pt x="0" y="127"/>
                    <a:pt x="0" y="145"/>
                  </a:cubicBezTo>
                  <a:cubicBezTo>
                    <a:pt x="0" y="145"/>
                    <a:pt x="1" y="359"/>
                    <a:pt x="1" y="359"/>
                  </a:cubicBezTo>
                  <a:cubicBezTo>
                    <a:pt x="1" y="392"/>
                    <a:pt x="25" y="417"/>
                    <a:pt x="66" y="417"/>
                  </a:cubicBezTo>
                  <a:lnTo>
                    <a:pt x="66" y="508"/>
                  </a:lnTo>
                  <a:lnTo>
                    <a:pt x="317" y="508"/>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38" name="Oval 137">
            <a:extLst>
              <a:ext uri="{FF2B5EF4-FFF2-40B4-BE49-F238E27FC236}">
                <a16:creationId xmlns:a16="http://schemas.microsoft.com/office/drawing/2014/main" id="{C582B1F0-33A4-454D-9333-9D3C52F5902F}"/>
              </a:ext>
            </a:extLst>
          </p:cNvPr>
          <p:cNvSpPr>
            <a:spLocks noChangeAspect="1"/>
          </p:cNvSpPr>
          <p:nvPr/>
        </p:nvSpPr>
        <p:spPr>
          <a:xfrm>
            <a:off x="737519" y="4633865"/>
            <a:ext cx="897255" cy="897255"/>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150" name="Oval 149">
            <a:extLst>
              <a:ext uri="{FF2B5EF4-FFF2-40B4-BE49-F238E27FC236}">
                <a16:creationId xmlns:a16="http://schemas.microsoft.com/office/drawing/2014/main" id="{1B578E69-130F-4082-BED8-28F71B2D9B1B}"/>
              </a:ext>
            </a:extLst>
          </p:cNvPr>
          <p:cNvSpPr>
            <a:spLocks noChangeAspect="1"/>
          </p:cNvSpPr>
          <p:nvPr/>
        </p:nvSpPr>
        <p:spPr>
          <a:xfrm>
            <a:off x="2797376" y="4638781"/>
            <a:ext cx="897255" cy="897255"/>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39" name="Money_management" descr="{&quot;Key&quot;:&quot;POWER_USER_SHAPE_ICON&quot;,&quot;Value&quot;:&quot;POWER_USER_SHAPE_ICON_STYLE_1&quot;}">
            <a:extLst>
              <a:ext uri="{FF2B5EF4-FFF2-40B4-BE49-F238E27FC236}">
                <a16:creationId xmlns:a16="http://schemas.microsoft.com/office/drawing/2014/main" id="{8FACA75D-9224-4275-A3BE-D320CC72C7E4}"/>
              </a:ext>
            </a:extLst>
          </p:cNvPr>
          <p:cNvGrpSpPr>
            <a:grpSpLocks noChangeAspect="1"/>
          </p:cNvGrpSpPr>
          <p:nvPr>
            <p:custDataLst>
              <p:tags r:id="rId12"/>
            </p:custDataLst>
          </p:nvPr>
        </p:nvGrpSpPr>
        <p:grpSpPr>
          <a:xfrm>
            <a:off x="2812025" y="4823722"/>
            <a:ext cx="856054" cy="534860"/>
            <a:chOff x="5040313" y="4830763"/>
            <a:chExt cx="973137" cy="608013"/>
          </a:xfrm>
          <a:solidFill>
            <a:schemeClr val="bg2"/>
          </a:solidFill>
        </p:grpSpPr>
        <p:sp>
          <p:nvSpPr>
            <p:cNvPr id="140" name="Rectangle 267">
              <a:extLst>
                <a:ext uri="{FF2B5EF4-FFF2-40B4-BE49-F238E27FC236}">
                  <a16:creationId xmlns:a16="http://schemas.microsoft.com/office/drawing/2014/main" id="{8FA118D9-408E-4DF9-81AA-26C4DDD5B1B8}"/>
                </a:ext>
              </a:extLst>
            </p:cNvPr>
            <p:cNvSpPr>
              <a:spLocks noChangeArrowheads="1"/>
            </p:cNvSpPr>
            <p:nvPr/>
          </p:nvSpPr>
          <p:spPr bwMode="auto">
            <a:xfrm>
              <a:off x="5832475" y="4979988"/>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68">
              <a:extLst>
                <a:ext uri="{FF2B5EF4-FFF2-40B4-BE49-F238E27FC236}">
                  <a16:creationId xmlns:a16="http://schemas.microsoft.com/office/drawing/2014/main" id="{AACDAFCF-6642-4D80-BA04-2DF8A2C631B0}"/>
                </a:ext>
              </a:extLst>
            </p:cNvPr>
            <p:cNvSpPr>
              <a:spLocks/>
            </p:cNvSpPr>
            <p:nvPr/>
          </p:nvSpPr>
          <p:spPr bwMode="auto">
            <a:xfrm>
              <a:off x="5886450" y="4937125"/>
              <a:ext cx="127000" cy="111125"/>
            </a:xfrm>
            <a:custGeom>
              <a:avLst/>
              <a:gdLst>
                <a:gd name="T0" fmla="*/ 45 w 80"/>
                <a:gd name="T1" fmla="*/ 0 h 70"/>
                <a:gd name="T2" fmla="*/ 33 w 80"/>
                <a:gd name="T3" fmla="*/ 11 h 70"/>
                <a:gd name="T4" fmla="*/ 49 w 80"/>
                <a:gd name="T5" fmla="*/ 27 h 70"/>
                <a:gd name="T6" fmla="*/ 0 w 80"/>
                <a:gd name="T7" fmla="*/ 27 h 70"/>
                <a:gd name="T8" fmla="*/ 0 w 80"/>
                <a:gd name="T9" fmla="*/ 43 h 70"/>
                <a:gd name="T10" fmla="*/ 49 w 80"/>
                <a:gd name="T11" fmla="*/ 43 h 70"/>
                <a:gd name="T12" fmla="*/ 33 w 80"/>
                <a:gd name="T13" fmla="*/ 59 h 70"/>
                <a:gd name="T14" fmla="*/ 45 w 80"/>
                <a:gd name="T15" fmla="*/ 70 h 70"/>
                <a:gd name="T16" fmla="*/ 80 w 80"/>
                <a:gd name="T17" fmla="*/ 35 h 70"/>
                <a:gd name="T18" fmla="*/ 45 w 80"/>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70">
                  <a:moveTo>
                    <a:pt x="45" y="0"/>
                  </a:moveTo>
                  <a:lnTo>
                    <a:pt x="33" y="11"/>
                  </a:lnTo>
                  <a:lnTo>
                    <a:pt x="49" y="27"/>
                  </a:lnTo>
                  <a:lnTo>
                    <a:pt x="0" y="27"/>
                  </a:lnTo>
                  <a:lnTo>
                    <a:pt x="0" y="43"/>
                  </a:lnTo>
                  <a:lnTo>
                    <a:pt x="49" y="43"/>
                  </a:lnTo>
                  <a:lnTo>
                    <a:pt x="33" y="59"/>
                  </a:lnTo>
                  <a:lnTo>
                    <a:pt x="45" y="70"/>
                  </a:lnTo>
                  <a:lnTo>
                    <a:pt x="80" y="35"/>
                  </a:lnTo>
                  <a:lnTo>
                    <a:pt x="4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Rectangle 269">
              <a:extLst>
                <a:ext uri="{FF2B5EF4-FFF2-40B4-BE49-F238E27FC236}">
                  <a16:creationId xmlns:a16="http://schemas.microsoft.com/office/drawing/2014/main" id="{5A1C9447-6450-4445-BFDF-E8B35AD220AD}"/>
                </a:ext>
              </a:extLst>
            </p:cNvPr>
            <p:cNvSpPr>
              <a:spLocks noChangeArrowheads="1"/>
            </p:cNvSpPr>
            <p:nvPr/>
          </p:nvSpPr>
          <p:spPr bwMode="auto">
            <a:xfrm>
              <a:off x="5745163" y="4881563"/>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70">
              <a:extLst>
                <a:ext uri="{FF2B5EF4-FFF2-40B4-BE49-F238E27FC236}">
                  <a16:creationId xmlns:a16="http://schemas.microsoft.com/office/drawing/2014/main" id="{36959315-6528-43BB-BCD6-6FEC86F9F6FD}"/>
                </a:ext>
              </a:extLst>
            </p:cNvPr>
            <p:cNvSpPr>
              <a:spLocks/>
            </p:cNvSpPr>
            <p:nvPr/>
          </p:nvSpPr>
          <p:spPr bwMode="auto">
            <a:xfrm>
              <a:off x="5800725" y="4838700"/>
              <a:ext cx="125413" cy="111125"/>
            </a:xfrm>
            <a:custGeom>
              <a:avLst/>
              <a:gdLst>
                <a:gd name="T0" fmla="*/ 44 w 79"/>
                <a:gd name="T1" fmla="*/ 0 h 70"/>
                <a:gd name="T2" fmla="*/ 32 w 79"/>
                <a:gd name="T3" fmla="*/ 11 h 70"/>
                <a:gd name="T4" fmla="*/ 48 w 79"/>
                <a:gd name="T5" fmla="*/ 27 h 70"/>
                <a:gd name="T6" fmla="*/ 0 w 79"/>
                <a:gd name="T7" fmla="*/ 27 h 70"/>
                <a:gd name="T8" fmla="*/ 0 w 79"/>
                <a:gd name="T9" fmla="*/ 43 h 70"/>
                <a:gd name="T10" fmla="*/ 48 w 79"/>
                <a:gd name="T11" fmla="*/ 43 h 70"/>
                <a:gd name="T12" fmla="*/ 32 w 79"/>
                <a:gd name="T13" fmla="*/ 59 h 70"/>
                <a:gd name="T14" fmla="*/ 44 w 79"/>
                <a:gd name="T15" fmla="*/ 70 h 70"/>
                <a:gd name="T16" fmla="*/ 79 w 79"/>
                <a:gd name="T17" fmla="*/ 35 h 70"/>
                <a:gd name="T18" fmla="*/ 44 w 7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0">
                  <a:moveTo>
                    <a:pt x="44" y="0"/>
                  </a:moveTo>
                  <a:lnTo>
                    <a:pt x="32" y="11"/>
                  </a:lnTo>
                  <a:lnTo>
                    <a:pt x="48" y="27"/>
                  </a:lnTo>
                  <a:lnTo>
                    <a:pt x="0" y="27"/>
                  </a:lnTo>
                  <a:lnTo>
                    <a:pt x="0" y="43"/>
                  </a:lnTo>
                  <a:lnTo>
                    <a:pt x="48" y="43"/>
                  </a:lnTo>
                  <a:lnTo>
                    <a:pt x="32" y="59"/>
                  </a:lnTo>
                  <a:lnTo>
                    <a:pt x="44" y="70"/>
                  </a:lnTo>
                  <a:lnTo>
                    <a:pt x="79" y="35"/>
                  </a:lnTo>
                  <a:lnTo>
                    <a:pt x="4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Rectangle 271">
              <a:extLst>
                <a:ext uri="{FF2B5EF4-FFF2-40B4-BE49-F238E27FC236}">
                  <a16:creationId xmlns:a16="http://schemas.microsoft.com/office/drawing/2014/main" id="{EBC6A730-3148-4E54-B452-C1C1BCD63DA6}"/>
                </a:ext>
              </a:extLst>
            </p:cNvPr>
            <p:cNvSpPr>
              <a:spLocks noChangeArrowheads="1"/>
            </p:cNvSpPr>
            <p:nvPr/>
          </p:nvSpPr>
          <p:spPr bwMode="auto">
            <a:xfrm>
              <a:off x="5194300" y="5264150"/>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72">
              <a:extLst>
                <a:ext uri="{FF2B5EF4-FFF2-40B4-BE49-F238E27FC236}">
                  <a16:creationId xmlns:a16="http://schemas.microsoft.com/office/drawing/2014/main" id="{0F8F5DA3-5377-4AE5-BAD5-89E39803B36A}"/>
                </a:ext>
              </a:extLst>
            </p:cNvPr>
            <p:cNvSpPr>
              <a:spLocks/>
            </p:cNvSpPr>
            <p:nvPr/>
          </p:nvSpPr>
          <p:spPr bwMode="auto">
            <a:xfrm>
              <a:off x="5040313" y="5221288"/>
              <a:ext cx="125413" cy="111125"/>
            </a:xfrm>
            <a:custGeom>
              <a:avLst/>
              <a:gdLst>
                <a:gd name="T0" fmla="*/ 35 w 79"/>
                <a:gd name="T1" fmla="*/ 70 h 70"/>
                <a:gd name="T2" fmla="*/ 46 w 79"/>
                <a:gd name="T3" fmla="*/ 58 h 70"/>
                <a:gd name="T4" fmla="*/ 31 w 79"/>
                <a:gd name="T5" fmla="*/ 43 h 70"/>
                <a:gd name="T6" fmla="*/ 79 w 79"/>
                <a:gd name="T7" fmla="*/ 43 h 70"/>
                <a:gd name="T8" fmla="*/ 79 w 79"/>
                <a:gd name="T9" fmla="*/ 27 h 70"/>
                <a:gd name="T10" fmla="*/ 31 w 79"/>
                <a:gd name="T11" fmla="*/ 27 h 70"/>
                <a:gd name="T12" fmla="*/ 46 w 79"/>
                <a:gd name="T13" fmla="*/ 11 h 70"/>
                <a:gd name="T14" fmla="*/ 35 w 79"/>
                <a:gd name="T15" fmla="*/ 0 h 70"/>
                <a:gd name="T16" fmla="*/ 0 w 79"/>
                <a:gd name="T17" fmla="*/ 35 h 70"/>
                <a:gd name="T18" fmla="*/ 35 w 79"/>
                <a:gd name="T1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0">
                  <a:moveTo>
                    <a:pt x="35" y="70"/>
                  </a:moveTo>
                  <a:lnTo>
                    <a:pt x="46" y="58"/>
                  </a:lnTo>
                  <a:lnTo>
                    <a:pt x="31" y="43"/>
                  </a:lnTo>
                  <a:lnTo>
                    <a:pt x="79" y="43"/>
                  </a:lnTo>
                  <a:lnTo>
                    <a:pt x="79" y="27"/>
                  </a:lnTo>
                  <a:lnTo>
                    <a:pt x="31" y="27"/>
                  </a:lnTo>
                  <a:lnTo>
                    <a:pt x="46" y="11"/>
                  </a:lnTo>
                  <a:lnTo>
                    <a:pt x="35" y="0"/>
                  </a:lnTo>
                  <a:lnTo>
                    <a:pt x="0" y="35"/>
                  </a:lnTo>
                  <a:lnTo>
                    <a:pt x="35" y="7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Rectangle 273">
              <a:extLst>
                <a:ext uri="{FF2B5EF4-FFF2-40B4-BE49-F238E27FC236}">
                  <a16:creationId xmlns:a16="http://schemas.microsoft.com/office/drawing/2014/main" id="{C7C5284F-6D10-4137-9D50-C6479769E637}"/>
                </a:ext>
              </a:extLst>
            </p:cNvPr>
            <p:cNvSpPr>
              <a:spLocks noChangeArrowheads="1"/>
            </p:cNvSpPr>
            <p:nvPr/>
          </p:nvSpPr>
          <p:spPr bwMode="auto">
            <a:xfrm>
              <a:off x="5281613" y="5362575"/>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74">
              <a:extLst>
                <a:ext uri="{FF2B5EF4-FFF2-40B4-BE49-F238E27FC236}">
                  <a16:creationId xmlns:a16="http://schemas.microsoft.com/office/drawing/2014/main" id="{1DA9CEF9-786C-4549-B60F-86294CEFC5D4}"/>
                </a:ext>
              </a:extLst>
            </p:cNvPr>
            <p:cNvSpPr>
              <a:spLocks/>
            </p:cNvSpPr>
            <p:nvPr/>
          </p:nvSpPr>
          <p:spPr bwMode="auto">
            <a:xfrm>
              <a:off x="5127625" y="5319713"/>
              <a:ext cx="125413" cy="111125"/>
            </a:xfrm>
            <a:custGeom>
              <a:avLst/>
              <a:gdLst>
                <a:gd name="T0" fmla="*/ 35 w 79"/>
                <a:gd name="T1" fmla="*/ 70 h 70"/>
                <a:gd name="T2" fmla="*/ 46 w 79"/>
                <a:gd name="T3" fmla="*/ 58 h 70"/>
                <a:gd name="T4" fmla="*/ 31 w 79"/>
                <a:gd name="T5" fmla="*/ 43 h 70"/>
                <a:gd name="T6" fmla="*/ 79 w 79"/>
                <a:gd name="T7" fmla="*/ 43 h 70"/>
                <a:gd name="T8" fmla="*/ 79 w 79"/>
                <a:gd name="T9" fmla="*/ 27 h 70"/>
                <a:gd name="T10" fmla="*/ 31 w 79"/>
                <a:gd name="T11" fmla="*/ 27 h 70"/>
                <a:gd name="T12" fmla="*/ 46 w 79"/>
                <a:gd name="T13" fmla="*/ 11 h 70"/>
                <a:gd name="T14" fmla="*/ 35 w 79"/>
                <a:gd name="T15" fmla="*/ 0 h 70"/>
                <a:gd name="T16" fmla="*/ 0 w 79"/>
                <a:gd name="T17" fmla="*/ 35 h 70"/>
                <a:gd name="T18" fmla="*/ 35 w 79"/>
                <a:gd name="T1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0">
                  <a:moveTo>
                    <a:pt x="35" y="70"/>
                  </a:moveTo>
                  <a:lnTo>
                    <a:pt x="46" y="58"/>
                  </a:lnTo>
                  <a:lnTo>
                    <a:pt x="31" y="43"/>
                  </a:lnTo>
                  <a:lnTo>
                    <a:pt x="79" y="43"/>
                  </a:lnTo>
                  <a:lnTo>
                    <a:pt x="79" y="27"/>
                  </a:lnTo>
                  <a:lnTo>
                    <a:pt x="31" y="27"/>
                  </a:lnTo>
                  <a:lnTo>
                    <a:pt x="46" y="11"/>
                  </a:lnTo>
                  <a:lnTo>
                    <a:pt x="35" y="0"/>
                  </a:lnTo>
                  <a:lnTo>
                    <a:pt x="0" y="35"/>
                  </a:lnTo>
                  <a:lnTo>
                    <a:pt x="35" y="7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75">
              <a:extLst>
                <a:ext uri="{FF2B5EF4-FFF2-40B4-BE49-F238E27FC236}">
                  <a16:creationId xmlns:a16="http://schemas.microsoft.com/office/drawing/2014/main" id="{1F926056-DDA7-4ADB-9CFB-015D4DA5B8F6}"/>
                </a:ext>
              </a:extLst>
            </p:cNvPr>
            <p:cNvSpPr>
              <a:spLocks noEditPoints="1"/>
            </p:cNvSpPr>
            <p:nvPr/>
          </p:nvSpPr>
          <p:spPr bwMode="auto">
            <a:xfrm>
              <a:off x="5419725" y="5027613"/>
              <a:ext cx="214313" cy="214313"/>
            </a:xfrm>
            <a:custGeom>
              <a:avLst/>
              <a:gdLst>
                <a:gd name="T0" fmla="*/ 140 w 281"/>
                <a:gd name="T1" fmla="*/ 126 h 281"/>
                <a:gd name="T2" fmla="*/ 201 w 281"/>
                <a:gd name="T3" fmla="*/ 179 h 281"/>
                <a:gd name="T4" fmla="*/ 155 w 281"/>
                <a:gd name="T5" fmla="*/ 230 h 281"/>
                <a:gd name="T6" fmla="*/ 155 w 281"/>
                <a:gd name="T7" fmla="*/ 250 h 281"/>
                <a:gd name="T8" fmla="*/ 125 w 281"/>
                <a:gd name="T9" fmla="*/ 250 h 281"/>
                <a:gd name="T10" fmla="*/ 125 w 281"/>
                <a:gd name="T11" fmla="*/ 230 h 281"/>
                <a:gd name="T12" fmla="*/ 80 w 281"/>
                <a:gd name="T13" fmla="*/ 179 h 281"/>
                <a:gd name="T14" fmla="*/ 110 w 281"/>
                <a:gd name="T15" fmla="*/ 179 h 281"/>
                <a:gd name="T16" fmla="*/ 140 w 281"/>
                <a:gd name="T17" fmla="*/ 201 h 281"/>
                <a:gd name="T18" fmla="*/ 170 w 281"/>
                <a:gd name="T19" fmla="*/ 179 h 281"/>
                <a:gd name="T20" fmla="*/ 140 w 281"/>
                <a:gd name="T21" fmla="*/ 156 h 281"/>
                <a:gd name="T22" fmla="*/ 80 w 281"/>
                <a:gd name="T23" fmla="*/ 103 h 281"/>
                <a:gd name="T24" fmla="*/ 125 w 281"/>
                <a:gd name="T25" fmla="*/ 52 h 281"/>
                <a:gd name="T26" fmla="*/ 125 w 281"/>
                <a:gd name="T27" fmla="*/ 31 h 281"/>
                <a:gd name="T28" fmla="*/ 155 w 281"/>
                <a:gd name="T29" fmla="*/ 31 h 281"/>
                <a:gd name="T30" fmla="*/ 155 w 281"/>
                <a:gd name="T31" fmla="*/ 52 h 281"/>
                <a:gd name="T32" fmla="*/ 201 w 281"/>
                <a:gd name="T33" fmla="*/ 103 h 281"/>
                <a:gd name="T34" fmla="*/ 170 w 281"/>
                <a:gd name="T35" fmla="*/ 103 h 281"/>
                <a:gd name="T36" fmla="*/ 140 w 281"/>
                <a:gd name="T37" fmla="*/ 80 h 281"/>
                <a:gd name="T38" fmla="*/ 110 w 281"/>
                <a:gd name="T39" fmla="*/ 103 h 281"/>
                <a:gd name="T40" fmla="*/ 140 w 281"/>
                <a:gd name="T41" fmla="*/ 126 h 281"/>
                <a:gd name="T42" fmla="*/ 140 w 281"/>
                <a:gd name="T43" fmla="*/ 0 h 281"/>
                <a:gd name="T44" fmla="*/ 0 w 281"/>
                <a:gd name="T45" fmla="*/ 141 h 281"/>
                <a:gd name="T46" fmla="*/ 140 w 281"/>
                <a:gd name="T47" fmla="*/ 281 h 281"/>
                <a:gd name="T48" fmla="*/ 281 w 281"/>
                <a:gd name="T49" fmla="*/ 141 h 281"/>
                <a:gd name="T50" fmla="*/ 140 w 281"/>
                <a:gd name="T51" fmla="*/ 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1" h="281">
                  <a:moveTo>
                    <a:pt x="140" y="126"/>
                  </a:moveTo>
                  <a:cubicBezTo>
                    <a:pt x="176" y="126"/>
                    <a:pt x="201" y="147"/>
                    <a:pt x="201" y="179"/>
                  </a:cubicBezTo>
                  <a:cubicBezTo>
                    <a:pt x="201" y="203"/>
                    <a:pt x="181" y="224"/>
                    <a:pt x="155" y="230"/>
                  </a:cubicBezTo>
                  <a:lnTo>
                    <a:pt x="155" y="250"/>
                  </a:lnTo>
                  <a:lnTo>
                    <a:pt x="125" y="250"/>
                  </a:lnTo>
                  <a:lnTo>
                    <a:pt x="125" y="230"/>
                  </a:lnTo>
                  <a:cubicBezTo>
                    <a:pt x="99" y="224"/>
                    <a:pt x="80" y="203"/>
                    <a:pt x="80" y="179"/>
                  </a:cubicBezTo>
                  <a:lnTo>
                    <a:pt x="110" y="179"/>
                  </a:lnTo>
                  <a:cubicBezTo>
                    <a:pt x="110" y="191"/>
                    <a:pt x="124" y="201"/>
                    <a:pt x="140" y="201"/>
                  </a:cubicBezTo>
                  <a:cubicBezTo>
                    <a:pt x="157" y="201"/>
                    <a:pt x="170" y="191"/>
                    <a:pt x="170" y="179"/>
                  </a:cubicBezTo>
                  <a:cubicBezTo>
                    <a:pt x="170" y="164"/>
                    <a:pt x="159" y="156"/>
                    <a:pt x="140" y="156"/>
                  </a:cubicBezTo>
                  <a:cubicBezTo>
                    <a:pt x="98" y="156"/>
                    <a:pt x="80" y="129"/>
                    <a:pt x="80" y="103"/>
                  </a:cubicBezTo>
                  <a:cubicBezTo>
                    <a:pt x="80" y="78"/>
                    <a:pt x="99" y="58"/>
                    <a:pt x="125" y="52"/>
                  </a:cubicBezTo>
                  <a:lnTo>
                    <a:pt x="125" y="31"/>
                  </a:lnTo>
                  <a:lnTo>
                    <a:pt x="155" y="31"/>
                  </a:lnTo>
                  <a:lnTo>
                    <a:pt x="155" y="52"/>
                  </a:lnTo>
                  <a:cubicBezTo>
                    <a:pt x="181" y="58"/>
                    <a:pt x="201" y="78"/>
                    <a:pt x="201" y="103"/>
                  </a:cubicBezTo>
                  <a:lnTo>
                    <a:pt x="170" y="103"/>
                  </a:lnTo>
                  <a:cubicBezTo>
                    <a:pt x="170" y="91"/>
                    <a:pt x="157" y="80"/>
                    <a:pt x="140" y="80"/>
                  </a:cubicBezTo>
                  <a:cubicBezTo>
                    <a:pt x="124" y="80"/>
                    <a:pt x="110" y="91"/>
                    <a:pt x="110" y="103"/>
                  </a:cubicBezTo>
                  <a:cubicBezTo>
                    <a:pt x="110" y="117"/>
                    <a:pt x="121" y="126"/>
                    <a:pt x="140" y="126"/>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76">
              <a:extLst>
                <a:ext uri="{FF2B5EF4-FFF2-40B4-BE49-F238E27FC236}">
                  <a16:creationId xmlns:a16="http://schemas.microsoft.com/office/drawing/2014/main" id="{BE7165B6-A848-4A98-810A-2B480A0A6048}"/>
                </a:ext>
              </a:extLst>
            </p:cNvPr>
            <p:cNvSpPr>
              <a:spLocks noEditPoints="1"/>
            </p:cNvSpPr>
            <p:nvPr/>
          </p:nvSpPr>
          <p:spPr bwMode="auto">
            <a:xfrm>
              <a:off x="5222875" y="4830763"/>
              <a:ext cx="608013" cy="608013"/>
            </a:xfrm>
            <a:custGeom>
              <a:avLst/>
              <a:gdLst>
                <a:gd name="T0" fmla="*/ 604 w 799"/>
                <a:gd name="T1" fmla="*/ 415 h 799"/>
                <a:gd name="T2" fmla="*/ 635 w 799"/>
                <a:gd name="T3" fmla="*/ 385 h 799"/>
                <a:gd name="T4" fmla="*/ 596 w 799"/>
                <a:gd name="T5" fmla="*/ 531 h 799"/>
                <a:gd name="T6" fmla="*/ 584 w 799"/>
                <a:gd name="T7" fmla="*/ 489 h 799"/>
                <a:gd name="T8" fmla="*/ 596 w 799"/>
                <a:gd name="T9" fmla="*/ 531 h 799"/>
                <a:gd name="T10" fmla="*/ 228 w 799"/>
                <a:gd name="T11" fmla="*/ 400 h 799"/>
                <a:gd name="T12" fmla="*/ 570 w 799"/>
                <a:gd name="T13" fmla="*/ 400 h 799"/>
                <a:gd name="T14" fmla="*/ 504 w 799"/>
                <a:gd name="T15" fmla="*/ 611 h 799"/>
                <a:gd name="T16" fmla="*/ 515 w 799"/>
                <a:gd name="T17" fmla="*/ 570 h 799"/>
                <a:gd name="T18" fmla="*/ 504 w 799"/>
                <a:gd name="T19" fmla="*/ 611 h 799"/>
                <a:gd name="T20" fmla="*/ 384 w 799"/>
                <a:gd name="T21" fmla="*/ 635 h 799"/>
                <a:gd name="T22" fmla="*/ 414 w 799"/>
                <a:gd name="T23" fmla="*/ 605 h 799"/>
                <a:gd name="T24" fmla="*/ 295 w 799"/>
                <a:gd name="T25" fmla="*/ 611 h 799"/>
                <a:gd name="T26" fmla="*/ 284 w 799"/>
                <a:gd name="T27" fmla="*/ 570 h 799"/>
                <a:gd name="T28" fmla="*/ 295 w 799"/>
                <a:gd name="T29" fmla="*/ 611 h 799"/>
                <a:gd name="T30" fmla="*/ 188 w 799"/>
                <a:gd name="T31" fmla="*/ 504 h 799"/>
                <a:gd name="T32" fmla="*/ 229 w 799"/>
                <a:gd name="T33" fmla="*/ 515 h 799"/>
                <a:gd name="T34" fmla="*/ 164 w 799"/>
                <a:gd name="T35" fmla="*/ 415 h 799"/>
                <a:gd name="T36" fmla="*/ 194 w 799"/>
                <a:gd name="T37" fmla="*/ 385 h 799"/>
                <a:gd name="T38" fmla="*/ 164 w 799"/>
                <a:gd name="T39" fmla="*/ 415 h 799"/>
                <a:gd name="T40" fmla="*/ 229 w 799"/>
                <a:gd name="T41" fmla="*/ 284 h 799"/>
                <a:gd name="T42" fmla="*/ 188 w 799"/>
                <a:gd name="T43" fmla="*/ 295 h 799"/>
                <a:gd name="T44" fmla="*/ 295 w 799"/>
                <a:gd name="T45" fmla="*/ 188 h 799"/>
                <a:gd name="T46" fmla="*/ 284 w 799"/>
                <a:gd name="T47" fmla="*/ 230 h 799"/>
                <a:gd name="T48" fmla="*/ 295 w 799"/>
                <a:gd name="T49" fmla="*/ 188 h 799"/>
                <a:gd name="T50" fmla="*/ 414 w 799"/>
                <a:gd name="T51" fmla="*/ 164 h 799"/>
                <a:gd name="T52" fmla="*/ 384 w 799"/>
                <a:gd name="T53" fmla="*/ 195 h 799"/>
                <a:gd name="T54" fmla="*/ 504 w 799"/>
                <a:gd name="T55" fmla="*/ 188 h 799"/>
                <a:gd name="T56" fmla="*/ 515 w 799"/>
                <a:gd name="T57" fmla="*/ 230 h 799"/>
                <a:gd name="T58" fmla="*/ 504 w 799"/>
                <a:gd name="T59" fmla="*/ 188 h 799"/>
                <a:gd name="T60" fmla="*/ 611 w 799"/>
                <a:gd name="T61" fmla="*/ 295 h 799"/>
                <a:gd name="T62" fmla="*/ 569 w 799"/>
                <a:gd name="T63" fmla="*/ 284 h 799"/>
                <a:gd name="T64" fmla="*/ 796 w 799"/>
                <a:gd name="T65" fmla="*/ 436 h 799"/>
                <a:gd name="T66" fmla="*/ 731 w 799"/>
                <a:gd name="T67" fmla="*/ 332 h 799"/>
                <a:gd name="T68" fmla="*/ 762 w 799"/>
                <a:gd name="T69" fmla="*/ 233 h 799"/>
                <a:gd name="T70" fmla="*/ 652 w 799"/>
                <a:gd name="T71" fmla="*/ 175 h 799"/>
                <a:gd name="T72" fmla="*/ 629 w 799"/>
                <a:gd name="T73" fmla="*/ 74 h 799"/>
                <a:gd name="T74" fmla="*/ 506 w 799"/>
                <a:gd name="T75" fmla="*/ 78 h 799"/>
                <a:gd name="T76" fmla="*/ 436 w 799"/>
                <a:gd name="T77" fmla="*/ 2 h 799"/>
                <a:gd name="T78" fmla="*/ 331 w 799"/>
                <a:gd name="T79" fmla="*/ 68 h 799"/>
                <a:gd name="T80" fmla="*/ 232 w 799"/>
                <a:gd name="T81" fmla="*/ 37 h 799"/>
                <a:gd name="T82" fmla="*/ 174 w 799"/>
                <a:gd name="T83" fmla="*/ 147 h 799"/>
                <a:gd name="T84" fmla="*/ 73 w 799"/>
                <a:gd name="T85" fmla="*/ 170 h 799"/>
                <a:gd name="T86" fmla="*/ 78 w 799"/>
                <a:gd name="T87" fmla="*/ 293 h 799"/>
                <a:gd name="T88" fmla="*/ 2 w 799"/>
                <a:gd name="T89" fmla="*/ 363 h 799"/>
                <a:gd name="T90" fmla="*/ 67 w 799"/>
                <a:gd name="T91" fmla="*/ 468 h 799"/>
                <a:gd name="T92" fmla="*/ 37 w 799"/>
                <a:gd name="T93" fmla="*/ 567 h 799"/>
                <a:gd name="T94" fmla="*/ 147 w 799"/>
                <a:gd name="T95" fmla="*/ 625 h 799"/>
                <a:gd name="T96" fmla="*/ 169 w 799"/>
                <a:gd name="T97" fmla="*/ 725 h 799"/>
                <a:gd name="T98" fmla="*/ 293 w 799"/>
                <a:gd name="T99" fmla="*/ 721 h 799"/>
                <a:gd name="T100" fmla="*/ 363 w 799"/>
                <a:gd name="T101" fmla="*/ 797 h 799"/>
                <a:gd name="T102" fmla="*/ 467 w 799"/>
                <a:gd name="T103" fmla="*/ 731 h 799"/>
                <a:gd name="T104" fmla="*/ 566 w 799"/>
                <a:gd name="T105" fmla="*/ 762 h 799"/>
                <a:gd name="T106" fmla="*/ 624 w 799"/>
                <a:gd name="T107" fmla="*/ 652 h 799"/>
                <a:gd name="T108" fmla="*/ 725 w 799"/>
                <a:gd name="T109" fmla="*/ 630 h 799"/>
                <a:gd name="T110" fmla="*/ 720 w 799"/>
                <a:gd name="T111" fmla="*/ 506 h 799"/>
                <a:gd name="T112" fmla="*/ 796 w 799"/>
                <a:gd name="T113" fmla="*/ 436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9" h="799">
                  <a:moveTo>
                    <a:pt x="635" y="415"/>
                  </a:moveTo>
                  <a:lnTo>
                    <a:pt x="604" y="415"/>
                  </a:lnTo>
                  <a:lnTo>
                    <a:pt x="604" y="385"/>
                  </a:lnTo>
                  <a:lnTo>
                    <a:pt x="635" y="385"/>
                  </a:lnTo>
                  <a:lnTo>
                    <a:pt x="635" y="415"/>
                  </a:lnTo>
                  <a:close/>
                  <a:moveTo>
                    <a:pt x="596" y="531"/>
                  </a:moveTo>
                  <a:lnTo>
                    <a:pt x="569" y="515"/>
                  </a:lnTo>
                  <a:lnTo>
                    <a:pt x="584" y="489"/>
                  </a:lnTo>
                  <a:lnTo>
                    <a:pt x="611" y="504"/>
                  </a:lnTo>
                  <a:lnTo>
                    <a:pt x="596" y="531"/>
                  </a:lnTo>
                  <a:close/>
                  <a:moveTo>
                    <a:pt x="399" y="570"/>
                  </a:moveTo>
                  <a:cubicBezTo>
                    <a:pt x="305" y="570"/>
                    <a:pt x="228" y="494"/>
                    <a:pt x="228" y="400"/>
                  </a:cubicBezTo>
                  <a:cubicBezTo>
                    <a:pt x="228" y="306"/>
                    <a:pt x="305" y="229"/>
                    <a:pt x="399" y="229"/>
                  </a:cubicBezTo>
                  <a:cubicBezTo>
                    <a:pt x="493" y="229"/>
                    <a:pt x="570" y="306"/>
                    <a:pt x="570" y="400"/>
                  </a:cubicBezTo>
                  <a:cubicBezTo>
                    <a:pt x="570" y="494"/>
                    <a:pt x="493" y="570"/>
                    <a:pt x="399" y="570"/>
                  </a:cubicBezTo>
                  <a:close/>
                  <a:moveTo>
                    <a:pt x="504" y="611"/>
                  </a:moveTo>
                  <a:lnTo>
                    <a:pt x="489" y="585"/>
                  </a:lnTo>
                  <a:lnTo>
                    <a:pt x="515" y="570"/>
                  </a:lnTo>
                  <a:lnTo>
                    <a:pt x="530" y="596"/>
                  </a:lnTo>
                  <a:lnTo>
                    <a:pt x="504" y="611"/>
                  </a:lnTo>
                  <a:close/>
                  <a:moveTo>
                    <a:pt x="414" y="635"/>
                  </a:moveTo>
                  <a:lnTo>
                    <a:pt x="384" y="635"/>
                  </a:lnTo>
                  <a:lnTo>
                    <a:pt x="384" y="605"/>
                  </a:lnTo>
                  <a:lnTo>
                    <a:pt x="414" y="605"/>
                  </a:lnTo>
                  <a:lnTo>
                    <a:pt x="414" y="635"/>
                  </a:lnTo>
                  <a:close/>
                  <a:moveTo>
                    <a:pt x="295" y="611"/>
                  </a:moveTo>
                  <a:lnTo>
                    <a:pt x="268" y="596"/>
                  </a:lnTo>
                  <a:lnTo>
                    <a:pt x="284" y="570"/>
                  </a:lnTo>
                  <a:lnTo>
                    <a:pt x="310" y="585"/>
                  </a:lnTo>
                  <a:lnTo>
                    <a:pt x="295" y="611"/>
                  </a:lnTo>
                  <a:close/>
                  <a:moveTo>
                    <a:pt x="203" y="531"/>
                  </a:moveTo>
                  <a:lnTo>
                    <a:pt x="188" y="504"/>
                  </a:lnTo>
                  <a:lnTo>
                    <a:pt x="214" y="489"/>
                  </a:lnTo>
                  <a:lnTo>
                    <a:pt x="229" y="515"/>
                  </a:lnTo>
                  <a:lnTo>
                    <a:pt x="203" y="531"/>
                  </a:lnTo>
                  <a:close/>
                  <a:moveTo>
                    <a:pt x="164" y="415"/>
                  </a:moveTo>
                  <a:lnTo>
                    <a:pt x="164" y="385"/>
                  </a:lnTo>
                  <a:lnTo>
                    <a:pt x="194" y="385"/>
                  </a:lnTo>
                  <a:lnTo>
                    <a:pt x="194" y="415"/>
                  </a:lnTo>
                  <a:lnTo>
                    <a:pt x="164" y="415"/>
                  </a:lnTo>
                  <a:close/>
                  <a:moveTo>
                    <a:pt x="203" y="269"/>
                  </a:moveTo>
                  <a:lnTo>
                    <a:pt x="229" y="284"/>
                  </a:lnTo>
                  <a:lnTo>
                    <a:pt x="214" y="310"/>
                  </a:lnTo>
                  <a:lnTo>
                    <a:pt x="188" y="295"/>
                  </a:lnTo>
                  <a:lnTo>
                    <a:pt x="203" y="269"/>
                  </a:lnTo>
                  <a:close/>
                  <a:moveTo>
                    <a:pt x="295" y="188"/>
                  </a:moveTo>
                  <a:lnTo>
                    <a:pt x="310" y="215"/>
                  </a:lnTo>
                  <a:lnTo>
                    <a:pt x="284" y="230"/>
                  </a:lnTo>
                  <a:lnTo>
                    <a:pt x="268" y="203"/>
                  </a:lnTo>
                  <a:lnTo>
                    <a:pt x="295" y="188"/>
                  </a:lnTo>
                  <a:close/>
                  <a:moveTo>
                    <a:pt x="384" y="164"/>
                  </a:moveTo>
                  <a:lnTo>
                    <a:pt x="414" y="164"/>
                  </a:lnTo>
                  <a:lnTo>
                    <a:pt x="414" y="195"/>
                  </a:lnTo>
                  <a:lnTo>
                    <a:pt x="384" y="195"/>
                  </a:lnTo>
                  <a:lnTo>
                    <a:pt x="384" y="164"/>
                  </a:lnTo>
                  <a:close/>
                  <a:moveTo>
                    <a:pt x="504" y="188"/>
                  </a:moveTo>
                  <a:lnTo>
                    <a:pt x="530" y="203"/>
                  </a:lnTo>
                  <a:lnTo>
                    <a:pt x="515" y="230"/>
                  </a:lnTo>
                  <a:lnTo>
                    <a:pt x="489" y="215"/>
                  </a:lnTo>
                  <a:lnTo>
                    <a:pt x="504" y="188"/>
                  </a:lnTo>
                  <a:close/>
                  <a:moveTo>
                    <a:pt x="596" y="269"/>
                  </a:moveTo>
                  <a:lnTo>
                    <a:pt x="611" y="295"/>
                  </a:lnTo>
                  <a:lnTo>
                    <a:pt x="584" y="310"/>
                  </a:lnTo>
                  <a:lnTo>
                    <a:pt x="569" y="284"/>
                  </a:lnTo>
                  <a:lnTo>
                    <a:pt x="596" y="269"/>
                  </a:lnTo>
                  <a:close/>
                  <a:moveTo>
                    <a:pt x="796" y="436"/>
                  </a:moveTo>
                  <a:cubicBezTo>
                    <a:pt x="799" y="412"/>
                    <a:pt x="799" y="388"/>
                    <a:pt x="796" y="363"/>
                  </a:cubicBezTo>
                  <a:lnTo>
                    <a:pt x="731" y="332"/>
                  </a:lnTo>
                  <a:cubicBezTo>
                    <a:pt x="728" y="318"/>
                    <a:pt x="725" y="306"/>
                    <a:pt x="720" y="293"/>
                  </a:cubicBezTo>
                  <a:lnTo>
                    <a:pt x="762" y="233"/>
                  </a:lnTo>
                  <a:cubicBezTo>
                    <a:pt x="751" y="211"/>
                    <a:pt x="739" y="190"/>
                    <a:pt x="725" y="170"/>
                  </a:cubicBezTo>
                  <a:lnTo>
                    <a:pt x="652" y="175"/>
                  </a:lnTo>
                  <a:cubicBezTo>
                    <a:pt x="643" y="165"/>
                    <a:pt x="634" y="156"/>
                    <a:pt x="624" y="147"/>
                  </a:cubicBezTo>
                  <a:lnTo>
                    <a:pt x="629" y="74"/>
                  </a:lnTo>
                  <a:cubicBezTo>
                    <a:pt x="609" y="60"/>
                    <a:pt x="588" y="47"/>
                    <a:pt x="566" y="37"/>
                  </a:cubicBezTo>
                  <a:lnTo>
                    <a:pt x="506" y="78"/>
                  </a:lnTo>
                  <a:cubicBezTo>
                    <a:pt x="493" y="74"/>
                    <a:pt x="481" y="71"/>
                    <a:pt x="467" y="68"/>
                  </a:cubicBezTo>
                  <a:lnTo>
                    <a:pt x="436" y="2"/>
                  </a:lnTo>
                  <a:cubicBezTo>
                    <a:pt x="411" y="0"/>
                    <a:pt x="387" y="0"/>
                    <a:pt x="363" y="2"/>
                  </a:cubicBezTo>
                  <a:lnTo>
                    <a:pt x="331" y="68"/>
                  </a:lnTo>
                  <a:cubicBezTo>
                    <a:pt x="318" y="71"/>
                    <a:pt x="305" y="74"/>
                    <a:pt x="293" y="78"/>
                  </a:cubicBezTo>
                  <a:lnTo>
                    <a:pt x="232" y="37"/>
                  </a:lnTo>
                  <a:cubicBezTo>
                    <a:pt x="210" y="47"/>
                    <a:pt x="189" y="60"/>
                    <a:pt x="169" y="74"/>
                  </a:cubicBezTo>
                  <a:lnTo>
                    <a:pt x="174" y="147"/>
                  </a:lnTo>
                  <a:cubicBezTo>
                    <a:pt x="165" y="156"/>
                    <a:pt x="155" y="165"/>
                    <a:pt x="147" y="175"/>
                  </a:cubicBezTo>
                  <a:lnTo>
                    <a:pt x="73" y="170"/>
                  </a:lnTo>
                  <a:cubicBezTo>
                    <a:pt x="59" y="190"/>
                    <a:pt x="47" y="211"/>
                    <a:pt x="37" y="233"/>
                  </a:cubicBezTo>
                  <a:lnTo>
                    <a:pt x="78" y="293"/>
                  </a:lnTo>
                  <a:cubicBezTo>
                    <a:pt x="74" y="306"/>
                    <a:pt x="70" y="318"/>
                    <a:pt x="67" y="332"/>
                  </a:cubicBezTo>
                  <a:lnTo>
                    <a:pt x="2" y="363"/>
                  </a:lnTo>
                  <a:cubicBezTo>
                    <a:pt x="0" y="388"/>
                    <a:pt x="0" y="412"/>
                    <a:pt x="2" y="436"/>
                  </a:cubicBezTo>
                  <a:lnTo>
                    <a:pt x="67" y="468"/>
                  </a:lnTo>
                  <a:cubicBezTo>
                    <a:pt x="70" y="481"/>
                    <a:pt x="74" y="494"/>
                    <a:pt x="78" y="506"/>
                  </a:cubicBezTo>
                  <a:lnTo>
                    <a:pt x="37" y="567"/>
                  </a:lnTo>
                  <a:cubicBezTo>
                    <a:pt x="47" y="589"/>
                    <a:pt x="59" y="610"/>
                    <a:pt x="73" y="630"/>
                  </a:cubicBezTo>
                  <a:lnTo>
                    <a:pt x="147" y="625"/>
                  </a:lnTo>
                  <a:cubicBezTo>
                    <a:pt x="155" y="634"/>
                    <a:pt x="165" y="644"/>
                    <a:pt x="174" y="652"/>
                  </a:cubicBezTo>
                  <a:lnTo>
                    <a:pt x="169" y="725"/>
                  </a:lnTo>
                  <a:cubicBezTo>
                    <a:pt x="189" y="740"/>
                    <a:pt x="210" y="752"/>
                    <a:pt x="232" y="762"/>
                  </a:cubicBezTo>
                  <a:lnTo>
                    <a:pt x="293" y="721"/>
                  </a:lnTo>
                  <a:cubicBezTo>
                    <a:pt x="305" y="725"/>
                    <a:pt x="318" y="729"/>
                    <a:pt x="331" y="731"/>
                  </a:cubicBezTo>
                  <a:lnTo>
                    <a:pt x="363" y="797"/>
                  </a:lnTo>
                  <a:cubicBezTo>
                    <a:pt x="387" y="799"/>
                    <a:pt x="411" y="799"/>
                    <a:pt x="436" y="797"/>
                  </a:cubicBezTo>
                  <a:lnTo>
                    <a:pt x="467" y="731"/>
                  </a:lnTo>
                  <a:cubicBezTo>
                    <a:pt x="481" y="729"/>
                    <a:pt x="493" y="725"/>
                    <a:pt x="506" y="721"/>
                  </a:cubicBezTo>
                  <a:lnTo>
                    <a:pt x="566" y="762"/>
                  </a:lnTo>
                  <a:cubicBezTo>
                    <a:pt x="588" y="752"/>
                    <a:pt x="609" y="740"/>
                    <a:pt x="629" y="725"/>
                  </a:cubicBezTo>
                  <a:lnTo>
                    <a:pt x="624" y="652"/>
                  </a:lnTo>
                  <a:cubicBezTo>
                    <a:pt x="634" y="644"/>
                    <a:pt x="643" y="634"/>
                    <a:pt x="652" y="625"/>
                  </a:cubicBezTo>
                  <a:lnTo>
                    <a:pt x="725" y="630"/>
                  </a:lnTo>
                  <a:cubicBezTo>
                    <a:pt x="739" y="610"/>
                    <a:pt x="751" y="589"/>
                    <a:pt x="762" y="567"/>
                  </a:cubicBezTo>
                  <a:lnTo>
                    <a:pt x="720" y="506"/>
                  </a:lnTo>
                  <a:cubicBezTo>
                    <a:pt x="725" y="494"/>
                    <a:pt x="728" y="481"/>
                    <a:pt x="731" y="468"/>
                  </a:cubicBezTo>
                  <a:lnTo>
                    <a:pt x="796" y="4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51" name="Customer_service" descr="{&quot;Key&quot;:&quot;POWER_USER_SHAPE_ICON&quot;,&quot;Value&quot;:&quot;POWER_USER_SHAPE_ICON_STYLE_1&quot;}">
            <a:extLst>
              <a:ext uri="{FF2B5EF4-FFF2-40B4-BE49-F238E27FC236}">
                <a16:creationId xmlns:a16="http://schemas.microsoft.com/office/drawing/2014/main" id="{B00014A2-1B5C-4B31-AAE7-02B905711C2D}"/>
              </a:ext>
            </a:extLst>
          </p:cNvPr>
          <p:cNvGrpSpPr>
            <a:grpSpLocks noChangeAspect="1"/>
          </p:cNvGrpSpPr>
          <p:nvPr>
            <p:custDataLst>
              <p:tags r:id="rId13"/>
            </p:custDataLst>
          </p:nvPr>
        </p:nvGrpSpPr>
        <p:grpSpPr>
          <a:xfrm>
            <a:off x="963562" y="4764728"/>
            <a:ext cx="437297" cy="542925"/>
            <a:chOff x="4962526" y="5921375"/>
            <a:chExt cx="657225" cy="815976"/>
          </a:xfrm>
          <a:solidFill>
            <a:schemeClr val="accent1">
              <a:lumMod val="75000"/>
            </a:schemeClr>
          </a:solidFill>
        </p:grpSpPr>
        <p:sp>
          <p:nvSpPr>
            <p:cNvPr id="152" name="Freeform 47">
              <a:extLst>
                <a:ext uri="{FF2B5EF4-FFF2-40B4-BE49-F238E27FC236}">
                  <a16:creationId xmlns:a16="http://schemas.microsoft.com/office/drawing/2014/main" id="{E131B4DF-CE1C-4C4C-ADA5-ACF06876BFDE}"/>
                </a:ext>
              </a:extLst>
            </p:cNvPr>
            <p:cNvSpPr>
              <a:spLocks/>
            </p:cNvSpPr>
            <p:nvPr/>
          </p:nvSpPr>
          <p:spPr bwMode="auto">
            <a:xfrm>
              <a:off x="5068888" y="6337300"/>
              <a:ext cx="444500" cy="76200"/>
            </a:xfrm>
            <a:custGeom>
              <a:avLst/>
              <a:gdLst>
                <a:gd name="T0" fmla="*/ 0 w 582"/>
                <a:gd name="T1" fmla="*/ 99 h 99"/>
                <a:gd name="T2" fmla="*/ 582 w 582"/>
                <a:gd name="T3" fmla="*/ 99 h 99"/>
                <a:gd name="T4" fmla="*/ 291 w 582"/>
                <a:gd name="T5" fmla="*/ 0 h 99"/>
                <a:gd name="T6" fmla="*/ 0 w 582"/>
                <a:gd name="T7" fmla="*/ 99 h 99"/>
              </a:gdLst>
              <a:ahLst/>
              <a:cxnLst>
                <a:cxn ang="0">
                  <a:pos x="T0" y="T1"/>
                </a:cxn>
                <a:cxn ang="0">
                  <a:pos x="T2" y="T3"/>
                </a:cxn>
                <a:cxn ang="0">
                  <a:pos x="T4" y="T5"/>
                </a:cxn>
                <a:cxn ang="0">
                  <a:pos x="T6" y="T7"/>
                </a:cxn>
              </a:cxnLst>
              <a:rect l="0" t="0" r="r" b="b"/>
              <a:pathLst>
                <a:path w="582" h="99">
                  <a:moveTo>
                    <a:pt x="0" y="99"/>
                  </a:moveTo>
                  <a:lnTo>
                    <a:pt x="582" y="99"/>
                  </a:lnTo>
                  <a:cubicBezTo>
                    <a:pt x="516" y="35"/>
                    <a:pt x="411" y="0"/>
                    <a:pt x="291" y="0"/>
                  </a:cubicBezTo>
                  <a:cubicBezTo>
                    <a:pt x="172" y="0"/>
                    <a:pt x="66" y="35"/>
                    <a:pt x="0" y="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48">
              <a:extLst>
                <a:ext uri="{FF2B5EF4-FFF2-40B4-BE49-F238E27FC236}">
                  <a16:creationId xmlns:a16="http://schemas.microsoft.com/office/drawing/2014/main" id="{967CBBE4-EF2C-4736-BFDB-8E9759076E6E}"/>
                </a:ext>
              </a:extLst>
            </p:cNvPr>
            <p:cNvSpPr>
              <a:spLocks/>
            </p:cNvSpPr>
            <p:nvPr/>
          </p:nvSpPr>
          <p:spPr bwMode="auto">
            <a:xfrm>
              <a:off x="4962526" y="6461125"/>
              <a:ext cx="657225" cy="276225"/>
            </a:xfrm>
            <a:custGeom>
              <a:avLst/>
              <a:gdLst>
                <a:gd name="T0" fmla="*/ 808 w 864"/>
                <a:gd name="T1" fmla="*/ 0 h 362"/>
                <a:gd name="T2" fmla="*/ 56 w 864"/>
                <a:gd name="T3" fmla="*/ 0 h 362"/>
                <a:gd name="T4" fmla="*/ 0 w 864"/>
                <a:gd name="T5" fmla="*/ 55 h 362"/>
                <a:gd name="T6" fmla="*/ 0 w 864"/>
                <a:gd name="T7" fmla="*/ 362 h 362"/>
                <a:gd name="T8" fmla="*/ 52 w 864"/>
                <a:gd name="T9" fmla="*/ 362 h 362"/>
                <a:gd name="T10" fmla="*/ 52 w 864"/>
                <a:gd name="T11" fmla="*/ 55 h 362"/>
                <a:gd name="T12" fmla="*/ 56 w 864"/>
                <a:gd name="T13" fmla="*/ 51 h 362"/>
                <a:gd name="T14" fmla="*/ 808 w 864"/>
                <a:gd name="T15" fmla="*/ 51 h 362"/>
                <a:gd name="T16" fmla="*/ 812 w 864"/>
                <a:gd name="T17" fmla="*/ 55 h 362"/>
                <a:gd name="T18" fmla="*/ 812 w 864"/>
                <a:gd name="T19" fmla="*/ 362 h 362"/>
                <a:gd name="T20" fmla="*/ 864 w 864"/>
                <a:gd name="T21" fmla="*/ 362 h 362"/>
                <a:gd name="T22" fmla="*/ 864 w 864"/>
                <a:gd name="T23" fmla="*/ 55 h 362"/>
                <a:gd name="T24" fmla="*/ 808 w 864"/>
                <a:gd name="T25"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62">
                  <a:moveTo>
                    <a:pt x="808" y="0"/>
                  </a:moveTo>
                  <a:lnTo>
                    <a:pt x="56" y="0"/>
                  </a:lnTo>
                  <a:cubicBezTo>
                    <a:pt x="25" y="0"/>
                    <a:pt x="0" y="25"/>
                    <a:pt x="0" y="55"/>
                  </a:cubicBezTo>
                  <a:lnTo>
                    <a:pt x="0" y="362"/>
                  </a:lnTo>
                  <a:lnTo>
                    <a:pt x="52" y="362"/>
                  </a:lnTo>
                  <a:lnTo>
                    <a:pt x="52" y="55"/>
                  </a:lnTo>
                  <a:cubicBezTo>
                    <a:pt x="52" y="53"/>
                    <a:pt x="54" y="51"/>
                    <a:pt x="56" y="51"/>
                  </a:cubicBezTo>
                  <a:lnTo>
                    <a:pt x="808" y="51"/>
                  </a:lnTo>
                  <a:cubicBezTo>
                    <a:pt x="811" y="51"/>
                    <a:pt x="812" y="53"/>
                    <a:pt x="812" y="55"/>
                  </a:cubicBezTo>
                  <a:lnTo>
                    <a:pt x="812" y="362"/>
                  </a:lnTo>
                  <a:lnTo>
                    <a:pt x="864" y="362"/>
                  </a:lnTo>
                  <a:lnTo>
                    <a:pt x="864" y="55"/>
                  </a:lnTo>
                  <a:cubicBezTo>
                    <a:pt x="864" y="25"/>
                    <a:pt x="839" y="0"/>
                    <a:pt x="80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49">
              <a:extLst>
                <a:ext uri="{FF2B5EF4-FFF2-40B4-BE49-F238E27FC236}">
                  <a16:creationId xmlns:a16="http://schemas.microsoft.com/office/drawing/2014/main" id="{7246C249-A2F5-456B-9223-B4E4E63E2AA8}"/>
                </a:ext>
              </a:extLst>
            </p:cNvPr>
            <p:cNvSpPr>
              <a:spLocks/>
            </p:cNvSpPr>
            <p:nvPr/>
          </p:nvSpPr>
          <p:spPr bwMode="auto">
            <a:xfrm>
              <a:off x="5232401" y="6678613"/>
              <a:ext cx="117475" cy="58738"/>
            </a:xfrm>
            <a:custGeom>
              <a:avLst/>
              <a:gdLst>
                <a:gd name="T0" fmla="*/ 77 w 154"/>
                <a:gd name="T1" fmla="*/ 0 h 77"/>
                <a:gd name="T2" fmla="*/ 0 w 154"/>
                <a:gd name="T3" fmla="*/ 77 h 77"/>
                <a:gd name="T4" fmla="*/ 154 w 154"/>
                <a:gd name="T5" fmla="*/ 77 h 77"/>
                <a:gd name="T6" fmla="*/ 77 w 154"/>
                <a:gd name="T7" fmla="*/ 0 h 77"/>
              </a:gdLst>
              <a:ahLst/>
              <a:cxnLst>
                <a:cxn ang="0">
                  <a:pos x="T0" y="T1"/>
                </a:cxn>
                <a:cxn ang="0">
                  <a:pos x="T2" y="T3"/>
                </a:cxn>
                <a:cxn ang="0">
                  <a:pos x="T4" y="T5"/>
                </a:cxn>
                <a:cxn ang="0">
                  <a:pos x="T6" y="T7"/>
                </a:cxn>
              </a:cxnLst>
              <a:rect l="0" t="0" r="r" b="b"/>
              <a:pathLst>
                <a:path w="154" h="77">
                  <a:moveTo>
                    <a:pt x="77" y="0"/>
                  </a:moveTo>
                  <a:cubicBezTo>
                    <a:pt x="34" y="0"/>
                    <a:pt x="0" y="35"/>
                    <a:pt x="0" y="77"/>
                  </a:cubicBezTo>
                  <a:lnTo>
                    <a:pt x="154" y="77"/>
                  </a:lnTo>
                  <a:cubicBezTo>
                    <a:pt x="154" y="35"/>
                    <a:pt x="120" y="0"/>
                    <a:pt x="77"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50">
              <a:extLst>
                <a:ext uri="{FF2B5EF4-FFF2-40B4-BE49-F238E27FC236}">
                  <a16:creationId xmlns:a16="http://schemas.microsoft.com/office/drawing/2014/main" id="{EFFE9504-0FFD-4DC0-9D97-85B19A9D3B93}"/>
                </a:ext>
              </a:extLst>
            </p:cNvPr>
            <p:cNvSpPr>
              <a:spLocks noEditPoints="1"/>
            </p:cNvSpPr>
            <p:nvPr/>
          </p:nvSpPr>
          <p:spPr bwMode="auto">
            <a:xfrm>
              <a:off x="5067301" y="5921375"/>
              <a:ext cx="447675" cy="382588"/>
            </a:xfrm>
            <a:custGeom>
              <a:avLst/>
              <a:gdLst>
                <a:gd name="T0" fmla="*/ 495 w 586"/>
                <a:gd name="T1" fmla="*/ 229 h 502"/>
                <a:gd name="T2" fmla="*/ 293 w 586"/>
                <a:gd name="T3" fmla="*/ 80 h 502"/>
                <a:gd name="T4" fmla="*/ 91 w 586"/>
                <a:gd name="T5" fmla="*/ 229 h 502"/>
                <a:gd name="T6" fmla="*/ 74 w 586"/>
                <a:gd name="T7" fmla="*/ 199 h 502"/>
                <a:gd name="T8" fmla="*/ 291 w 586"/>
                <a:gd name="T9" fmla="*/ 42 h 502"/>
                <a:gd name="T10" fmla="*/ 512 w 586"/>
                <a:gd name="T11" fmla="*/ 199 h 502"/>
                <a:gd name="T12" fmla="*/ 495 w 586"/>
                <a:gd name="T13" fmla="*/ 229 h 502"/>
                <a:gd name="T14" fmla="*/ 586 w 586"/>
                <a:gd name="T15" fmla="*/ 235 h 502"/>
                <a:gd name="T16" fmla="*/ 554 w 586"/>
                <a:gd name="T17" fmla="*/ 192 h 502"/>
                <a:gd name="T18" fmla="*/ 291 w 586"/>
                <a:gd name="T19" fmla="*/ 0 h 502"/>
                <a:gd name="T20" fmla="*/ 32 w 586"/>
                <a:gd name="T21" fmla="*/ 192 h 502"/>
                <a:gd name="T22" fmla="*/ 0 w 586"/>
                <a:gd name="T23" fmla="*/ 235 h 502"/>
                <a:gd name="T24" fmla="*/ 0 w 586"/>
                <a:gd name="T25" fmla="*/ 335 h 502"/>
                <a:gd name="T26" fmla="*/ 46 w 586"/>
                <a:gd name="T27" fmla="*/ 381 h 502"/>
                <a:gd name="T28" fmla="*/ 90 w 586"/>
                <a:gd name="T29" fmla="*/ 347 h 502"/>
                <a:gd name="T30" fmla="*/ 293 w 586"/>
                <a:gd name="T31" fmla="*/ 502 h 502"/>
                <a:gd name="T32" fmla="*/ 481 w 586"/>
                <a:gd name="T33" fmla="*/ 387 h 502"/>
                <a:gd name="T34" fmla="*/ 362 w 586"/>
                <a:gd name="T35" fmla="*/ 424 h 502"/>
                <a:gd name="T36" fmla="*/ 333 w 586"/>
                <a:gd name="T37" fmla="*/ 437 h 502"/>
                <a:gd name="T38" fmla="*/ 297 w 586"/>
                <a:gd name="T39" fmla="*/ 407 h 502"/>
                <a:gd name="T40" fmla="*/ 333 w 586"/>
                <a:gd name="T41" fmla="*/ 376 h 502"/>
                <a:gd name="T42" fmla="*/ 356 w 586"/>
                <a:gd name="T43" fmla="*/ 383 h 502"/>
                <a:gd name="T44" fmla="*/ 494 w 586"/>
                <a:gd name="T45" fmla="*/ 330 h 502"/>
                <a:gd name="T46" fmla="*/ 540 w 586"/>
                <a:gd name="T47" fmla="*/ 381 h 502"/>
                <a:gd name="T48" fmla="*/ 586 w 586"/>
                <a:gd name="T49" fmla="*/ 335 h 502"/>
                <a:gd name="T50" fmla="*/ 586 w 586"/>
                <a:gd name="T51" fmla="*/ 235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6" h="502">
                  <a:moveTo>
                    <a:pt x="495" y="229"/>
                  </a:moveTo>
                  <a:cubicBezTo>
                    <a:pt x="468" y="143"/>
                    <a:pt x="388" y="80"/>
                    <a:pt x="293" y="80"/>
                  </a:cubicBezTo>
                  <a:cubicBezTo>
                    <a:pt x="198" y="80"/>
                    <a:pt x="118" y="143"/>
                    <a:pt x="91" y="229"/>
                  </a:cubicBezTo>
                  <a:cubicBezTo>
                    <a:pt x="89" y="217"/>
                    <a:pt x="83" y="206"/>
                    <a:pt x="74" y="199"/>
                  </a:cubicBezTo>
                  <a:cubicBezTo>
                    <a:pt x="106" y="106"/>
                    <a:pt x="190" y="42"/>
                    <a:pt x="291" y="42"/>
                  </a:cubicBezTo>
                  <a:cubicBezTo>
                    <a:pt x="394" y="42"/>
                    <a:pt x="479" y="106"/>
                    <a:pt x="512" y="199"/>
                  </a:cubicBezTo>
                  <a:cubicBezTo>
                    <a:pt x="503" y="206"/>
                    <a:pt x="496" y="217"/>
                    <a:pt x="495" y="229"/>
                  </a:cubicBezTo>
                  <a:close/>
                  <a:moveTo>
                    <a:pt x="586" y="235"/>
                  </a:moveTo>
                  <a:cubicBezTo>
                    <a:pt x="586" y="215"/>
                    <a:pt x="572" y="198"/>
                    <a:pt x="554" y="192"/>
                  </a:cubicBezTo>
                  <a:cubicBezTo>
                    <a:pt x="517" y="79"/>
                    <a:pt x="415" y="0"/>
                    <a:pt x="291" y="0"/>
                  </a:cubicBezTo>
                  <a:cubicBezTo>
                    <a:pt x="169" y="0"/>
                    <a:pt x="68" y="79"/>
                    <a:pt x="32" y="192"/>
                  </a:cubicBezTo>
                  <a:cubicBezTo>
                    <a:pt x="13" y="198"/>
                    <a:pt x="0" y="215"/>
                    <a:pt x="0" y="235"/>
                  </a:cubicBezTo>
                  <a:lnTo>
                    <a:pt x="0" y="335"/>
                  </a:lnTo>
                  <a:cubicBezTo>
                    <a:pt x="0" y="360"/>
                    <a:pt x="21" y="381"/>
                    <a:pt x="46" y="381"/>
                  </a:cubicBezTo>
                  <a:cubicBezTo>
                    <a:pt x="67" y="381"/>
                    <a:pt x="84" y="367"/>
                    <a:pt x="90" y="347"/>
                  </a:cubicBezTo>
                  <a:cubicBezTo>
                    <a:pt x="114" y="437"/>
                    <a:pt x="196" y="502"/>
                    <a:pt x="293" y="502"/>
                  </a:cubicBezTo>
                  <a:cubicBezTo>
                    <a:pt x="375" y="502"/>
                    <a:pt x="446" y="455"/>
                    <a:pt x="481" y="387"/>
                  </a:cubicBezTo>
                  <a:cubicBezTo>
                    <a:pt x="436" y="410"/>
                    <a:pt x="389" y="420"/>
                    <a:pt x="362" y="424"/>
                  </a:cubicBezTo>
                  <a:cubicBezTo>
                    <a:pt x="356" y="432"/>
                    <a:pt x="345" y="437"/>
                    <a:pt x="333" y="437"/>
                  </a:cubicBezTo>
                  <a:cubicBezTo>
                    <a:pt x="313" y="437"/>
                    <a:pt x="297" y="424"/>
                    <a:pt x="297" y="407"/>
                  </a:cubicBezTo>
                  <a:cubicBezTo>
                    <a:pt x="297" y="390"/>
                    <a:pt x="313" y="376"/>
                    <a:pt x="333" y="376"/>
                  </a:cubicBezTo>
                  <a:cubicBezTo>
                    <a:pt x="341" y="376"/>
                    <a:pt x="349" y="378"/>
                    <a:pt x="356" y="383"/>
                  </a:cubicBezTo>
                  <a:cubicBezTo>
                    <a:pt x="386" y="378"/>
                    <a:pt x="446" y="365"/>
                    <a:pt x="494" y="330"/>
                  </a:cubicBezTo>
                  <a:cubicBezTo>
                    <a:pt x="494" y="362"/>
                    <a:pt x="515" y="381"/>
                    <a:pt x="540" y="381"/>
                  </a:cubicBezTo>
                  <a:cubicBezTo>
                    <a:pt x="565" y="381"/>
                    <a:pt x="586" y="360"/>
                    <a:pt x="586" y="335"/>
                  </a:cubicBezTo>
                  <a:lnTo>
                    <a:pt x="586" y="2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56" name="Oval 155">
            <a:extLst>
              <a:ext uri="{FF2B5EF4-FFF2-40B4-BE49-F238E27FC236}">
                <a16:creationId xmlns:a16="http://schemas.microsoft.com/office/drawing/2014/main" id="{ADEFB73C-3590-433B-BB93-1728E9B4E656}"/>
              </a:ext>
            </a:extLst>
          </p:cNvPr>
          <p:cNvSpPr>
            <a:spLocks noChangeAspect="1"/>
          </p:cNvSpPr>
          <p:nvPr/>
        </p:nvSpPr>
        <p:spPr>
          <a:xfrm>
            <a:off x="4833370" y="4655035"/>
            <a:ext cx="897255" cy="89725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57" name="Handshake2" descr="{&quot;Key&quot;:&quot;POWER_USER_SHAPE_ICON&quot;,&quot;Value&quot;:&quot;POWER_USER_SHAPE_ICON_STYLE_1&quot;}">
            <a:extLst>
              <a:ext uri="{FF2B5EF4-FFF2-40B4-BE49-F238E27FC236}">
                <a16:creationId xmlns:a16="http://schemas.microsoft.com/office/drawing/2014/main" id="{F86944F0-3822-4034-81C8-D9EF85F3B026}"/>
              </a:ext>
            </a:extLst>
          </p:cNvPr>
          <p:cNvGrpSpPr>
            <a:grpSpLocks noChangeAspect="1"/>
          </p:cNvGrpSpPr>
          <p:nvPr>
            <p:custDataLst>
              <p:tags r:id="rId14"/>
            </p:custDataLst>
          </p:nvPr>
        </p:nvGrpSpPr>
        <p:grpSpPr bwMode="auto">
          <a:xfrm>
            <a:off x="4857136" y="4872882"/>
            <a:ext cx="855437" cy="542925"/>
            <a:chOff x="73" y="153"/>
            <a:chExt cx="323" cy="205"/>
          </a:xfrm>
          <a:solidFill>
            <a:schemeClr val="bg2"/>
          </a:solidFill>
        </p:grpSpPr>
        <p:sp>
          <p:nvSpPr>
            <p:cNvPr id="158" name="Handshake2">
              <a:extLst>
                <a:ext uri="{FF2B5EF4-FFF2-40B4-BE49-F238E27FC236}">
                  <a16:creationId xmlns:a16="http://schemas.microsoft.com/office/drawing/2014/main" id="{10A226A0-A7F7-4D33-AC18-47D09E8FB4D8}"/>
                </a:ext>
              </a:extLst>
            </p:cNvPr>
            <p:cNvSpPr>
              <a:spLocks/>
            </p:cNvSpPr>
            <p:nvPr>
              <p:custDataLst>
                <p:tags r:id="rId23"/>
              </p:custDataLst>
            </p:nvPr>
          </p:nvSpPr>
          <p:spPr bwMode="auto">
            <a:xfrm>
              <a:off x="396" y="250"/>
              <a:ext cx="0" cy="1"/>
            </a:xfrm>
            <a:custGeom>
              <a:avLst/>
              <a:gdLst>
                <a:gd name="T0" fmla="*/ 0 h 2"/>
                <a:gd name="T1" fmla="*/ 1 h 2"/>
                <a:gd name="T2" fmla="*/ 2 h 2"/>
                <a:gd name="T3" fmla="*/ 0 h 2"/>
              </a:gdLst>
              <a:ahLst/>
              <a:cxnLst>
                <a:cxn ang="0">
                  <a:pos x="0" y="T0"/>
                </a:cxn>
                <a:cxn ang="0">
                  <a:pos x="0" y="T1"/>
                </a:cxn>
                <a:cxn ang="0">
                  <a:pos x="0" y="T2"/>
                </a:cxn>
                <a:cxn ang="0">
                  <a:pos x="0" y="T3"/>
                </a:cxn>
              </a:cxnLst>
              <a:rect l="0" t="0" r="r" b="b"/>
              <a:pathLst>
                <a:path h="2">
                  <a:moveTo>
                    <a:pt x="0" y="0"/>
                  </a:moveTo>
                  <a:cubicBezTo>
                    <a:pt x="0" y="1"/>
                    <a:pt x="0" y="1"/>
                    <a:pt x="0" y="1"/>
                  </a:cubicBezTo>
                  <a:lnTo>
                    <a:pt x="0" y="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Handshake2">
              <a:extLst>
                <a:ext uri="{FF2B5EF4-FFF2-40B4-BE49-F238E27FC236}">
                  <a16:creationId xmlns:a16="http://schemas.microsoft.com/office/drawing/2014/main" id="{E7BBE184-558D-4CC0-9CE7-9612820DD654}"/>
                </a:ext>
              </a:extLst>
            </p:cNvPr>
            <p:cNvSpPr>
              <a:spLocks/>
            </p:cNvSpPr>
            <p:nvPr>
              <p:custDataLst>
                <p:tags r:id="rId24"/>
              </p:custDataLst>
            </p:nvPr>
          </p:nvSpPr>
          <p:spPr bwMode="auto">
            <a:xfrm>
              <a:off x="368" y="154"/>
              <a:ext cx="0"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lnTo>
                    <a:pt x="1" y="0"/>
                  </a:lnTo>
                  <a:lnTo>
                    <a:pt x="0" y="0"/>
                  </a:lnTo>
                  <a:lnTo>
                    <a:pt x="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Handshake2">
              <a:extLst>
                <a:ext uri="{FF2B5EF4-FFF2-40B4-BE49-F238E27FC236}">
                  <a16:creationId xmlns:a16="http://schemas.microsoft.com/office/drawing/2014/main" id="{1D38F76D-58A4-4159-8457-F3899358A0CD}"/>
                </a:ext>
              </a:extLst>
            </p:cNvPr>
            <p:cNvSpPr>
              <a:spLocks/>
            </p:cNvSpPr>
            <p:nvPr>
              <p:custDataLst>
                <p:tags r:id="rId25"/>
              </p:custDataLst>
            </p:nvPr>
          </p:nvSpPr>
          <p:spPr bwMode="auto">
            <a:xfrm>
              <a:off x="335" y="263"/>
              <a:ext cx="19" cy="24"/>
            </a:xfrm>
            <a:custGeom>
              <a:avLst/>
              <a:gdLst>
                <a:gd name="T0" fmla="*/ 1 w 49"/>
                <a:gd name="T1" fmla="*/ 39 h 62"/>
                <a:gd name="T2" fmla="*/ 31 w 49"/>
                <a:gd name="T3" fmla="*/ 1 h 62"/>
                <a:gd name="T4" fmla="*/ 33 w 49"/>
                <a:gd name="T5" fmla="*/ 0 h 62"/>
                <a:gd name="T6" fmla="*/ 9 w 49"/>
                <a:gd name="T7" fmla="*/ 62 h 62"/>
                <a:gd name="T8" fmla="*/ 1 w 49"/>
                <a:gd name="T9" fmla="*/ 39 h 62"/>
              </a:gdLst>
              <a:ahLst/>
              <a:cxnLst>
                <a:cxn ang="0">
                  <a:pos x="T0" y="T1"/>
                </a:cxn>
                <a:cxn ang="0">
                  <a:pos x="T2" y="T3"/>
                </a:cxn>
                <a:cxn ang="0">
                  <a:pos x="T4" y="T5"/>
                </a:cxn>
                <a:cxn ang="0">
                  <a:pos x="T6" y="T7"/>
                </a:cxn>
                <a:cxn ang="0">
                  <a:pos x="T8" y="T9"/>
                </a:cxn>
              </a:cxnLst>
              <a:rect l="0" t="0" r="r" b="b"/>
              <a:pathLst>
                <a:path w="49" h="62">
                  <a:moveTo>
                    <a:pt x="1" y="39"/>
                  </a:moveTo>
                  <a:cubicBezTo>
                    <a:pt x="0" y="22"/>
                    <a:pt x="14" y="10"/>
                    <a:pt x="31" y="1"/>
                  </a:cubicBezTo>
                  <a:cubicBezTo>
                    <a:pt x="32" y="1"/>
                    <a:pt x="33" y="0"/>
                    <a:pt x="33" y="0"/>
                  </a:cubicBezTo>
                  <a:cubicBezTo>
                    <a:pt x="49" y="22"/>
                    <a:pt x="36" y="55"/>
                    <a:pt x="9" y="62"/>
                  </a:cubicBezTo>
                  <a:cubicBezTo>
                    <a:pt x="9" y="62"/>
                    <a:pt x="2" y="45"/>
                    <a:pt x="1" y="3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Handshake2">
              <a:extLst>
                <a:ext uri="{FF2B5EF4-FFF2-40B4-BE49-F238E27FC236}">
                  <a16:creationId xmlns:a16="http://schemas.microsoft.com/office/drawing/2014/main" id="{2522C228-6447-4EC6-A322-DAFB0DAD2957}"/>
                </a:ext>
              </a:extLst>
            </p:cNvPr>
            <p:cNvSpPr>
              <a:spLocks/>
            </p:cNvSpPr>
            <p:nvPr>
              <p:custDataLst>
                <p:tags r:id="rId26"/>
              </p:custDataLst>
            </p:nvPr>
          </p:nvSpPr>
          <p:spPr bwMode="auto">
            <a:xfrm>
              <a:off x="303" y="265"/>
              <a:ext cx="32" cy="48"/>
            </a:xfrm>
            <a:custGeom>
              <a:avLst/>
              <a:gdLst>
                <a:gd name="T0" fmla="*/ 42 w 87"/>
                <a:gd name="T1" fmla="*/ 117 h 127"/>
                <a:gd name="T2" fmla="*/ 1 w 87"/>
                <a:gd name="T3" fmla="*/ 54 h 127"/>
                <a:gd name="T4" fmla="*/ 12 w 87"/>
                <a:gd name="T5" fmla="*/ 26 h 127"/>
                <a:gd name="T6" fmla="*/ 69 w 87"/>
                <a:gd name="T7" fmla="*/ 44 h 127"/>
                <a:gd name="T8" fmla="*/ 87 w 87"/>
                <a:gd name="T9" fmla="*/ 88 h 127"/>
                <a:gd name="T10" fmla="*/ 42 w 87"/>
                <a:gd name="T11" fmla="*/ 117 h 127"/>
              </a:gdLst>
              <a:ahLst/>
              <a:cxnLst>
                <a:cxn ang="0">
                  <a:pos x="T0" y="T1"/>
                </a:cxn>
                <a:cxn ang="0">
                  <a:pos x="T2" y="T3"/>
                </a:cxn>
                <a:cxn ang="0">
                  <a:pos x="T4" y="T5"/>
                </a:cxn>
                <a:cxn ang="0">
                  <a:pos x="T6" y="T7"/>
                </a:cxn>
                <a:cxn ang="0">
                  <a:pos x="T8" y="T9"/>
                </a:cxn>
                <a:cxn ang="0">
                  <a:pos x="T10" y="T11"/>
                </a:cxn>
              </a:cxnLst>
              <a:rect l="0" t="0" r="r" b="b"/>
              <a:pathLst>
                <a:path w="87" h="127">
                  <a:moveTo>
                    <a:pt x="42" y="117"/>
                  </a:moveTo>
                  <a:cubicBezTo>
                    <a:pt x="25" y="109"/>
                    <a:pt x="3" y="74"/>
                    <a:pt x="1" y="54"/>
                  </a:cubicBezTo>
                  <a:cubicBezTo>
                    <a:pt x="0" y="46"/>
                    <a:pt x="2" y="33"/>
                    <a:pt x="12" y="26"/>
                  </a:cubicBezTo>
                  <a:cubicBezTo>
                    <a:pt x="45" y="0"/>
                    <a:pt x="62" y="30"/>
                    <a:pt x="69" y="44"/>
                  </a:cubicBezTo>
                  <a:cubicBezTo>
                    <a:pt x="69" y="44"/>
                    <a:pt x="87" y="76"/>
                    <a:pt x="87" y="88"/>
                  </a:cubicBezTo>
                  <a:cubicBezTo>
                    <a:pt x="87" y="106"/>
                    <a:pt x="60" y="127"/>
                    <a:pt x="42" y="1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Handshake2">
              <a:extLst>
                <a:ext uri="{FF2B5EF4-FFF2-40B4-BE49-F238E27FC236}">
                  <a16:creationId xmlns:a16="http://schemas.microsoft.com/office/drawing/2014/main" id="{BF94732B-D437-4B2F-AAC2-C1391FDCD17B}"/>
                </a:ext>
              </a:extLst>
            </p:cNvPr>
            <p:cNvSpPr>
              <a:spLocks/>
            </p:cNvSpPr>
            <p:nvPr>
              <p:custDataLst>
                <p:tags r:id="rId27"/>
              </p:custDataLst>
            </p:nvPr>
          </p:nvSpPr>
          <p:spPr bwMode="auto">
            <a:xfrm>
              <a:off x="292" y="278"/>
              <a:ext cx="2" cy="4"/>
            </a:xfrm>
            <a:custGeom>
              <a:avLst/>
              <a:gdLst>
                <a:gd name="T0" fmla="*/ 4 w 4"/>
                <a:gd name="T1" fmla="*/ 0 h 12"/>
                <a:gd name="T2" fmla="*/ 0 w 4"/>
                <a:gd name="T3" fmla="*/ 12 h 12"/>
                <a:gd name="T4" fmla="*/ 4 w 4"/>
                <a:gd name="T5" fmla="*/ 0 h 12"/>
              </a:gdLst>
              <a:ahLst/>
              <a:cxnLst>
                <a:cxn ang="0">
                  <a:pos x="T0" y="T1"/>
                </a:cxn>
                <a:cxn ang="0">
                  <a:pos x="T2" y="T3"/>
                </a:cxn>
                <a:cxn ang="0">
                  <a:pos x="T4" y="T5"/>
                </a:cxn>
              </a:cxnLst>
              <a:rect l="0" t="0" r="r" b="b"/>
              <a:pathLst>
                <a:path w="4" h="12">
                  <a:moveTo>
                    <a:pt x="4" y="0"/>
                  </a:moveTo>
                  <a:cubicBezTo>
                    <a:pt x="2" y="5"/>
                    <a:pt x="2" y="9"/>
                    <a:pt x="0" y="12"/>
                  </a:cubicBezTo>
                  <a:cubicBezTo>
                    <a:pt x="0" y="8"/>
                    <a:pt x="2" y="5"/>
                    <a:pt x="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Handshake2">
              <a:extLst>
                <a:ext uri="{FF2B5EF4-FFF2-40B4-BE49-F238E27FC236}">
                  <a16:creationId xmlns:a16="http://schemas.microsoft.com/office/drawing/2014/main" id="{814ADCD5-2C7B-4A56-AC61-CA2A97242EF4}"/>
                </a:ext>
              </a:extLst>
            </p:cNvPr>
            <p:cNvSpPr>
              <a:spLocks/>
            </p:cNvSpPr>
            <p:nvPr>
              <p:custDataLst>
                <p:tags r:id="rId28"/>
              </p:custDataLst>
            </p:nvPr>
          </p:nvSpPr>
          <p:spPr bwMode="auto">
            <a:xfrm>
              <a:off x="288" y="282"/>
              <a:ext cx="4" cy="1"/>
            </a:xfrm>
            <a:custGeom>
              <a:avLst/>
              <a:gdLst>
                <a:gd name="T0" fmla="*/ 11 w 11"/>
                <a:gd name="T1" fmla="*/ 2 h 2"/>
                <a:gd name="T2" fmla="*/ 0 w 11"/>
                <a:gd name="T3" fmla="*/ 0 h 2"/>
                <a:gd name="T4" fmla="*/ 11 w 11"/>
                <a:gd name="T5" fmla="*/ 2 h 2"/>
              </a:gdLst>
              <a:ahLst/>
              <a:cxnLst>
                <a:cxn ang="0">
                  <a:pos x="T0" y="T1"/>
                </a:cxn>
                <a:cxn ang="0">
                  <a:pos x="T2" y="T3"/>
                </a:cxn>
                <a:cxn ang="0">
                  <a:pos x="T4" y="T5"/>
                </a:cxn>
              </a:cxnLst>
              <a:rect l="0" t="0" r="r" b="b"/>
              <a:pathLst>
                <a:path w="11" h="2">
                  <a:moveTo>
                    <a:pt x="11" y="2"/>
                  </a:moveTo>
                  <a:cubicBezTo>
                    <a:pt x="8" y="2"/>
                    <a:pt x="5" y="1"/>
                    <a:pt x="0" y="0"/>
                  </a:cubicBezTo>
                  <a:cubicBezTo>
                    <a:pt x="6" y="0"/>
                    <a:pt x="10" y="1"/>
                    <a:pt x="11"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Handshake2">
              <a:extLst>
                <a:ext uri="{FF2B5EF4-FFF2-40B4-BE49-F238E27FC236}">
                  <a16:creationId xmlns:a16="http://schemas.microsoft.com/office/drawing/2014/main" id="{0D087637-13BB-4AA1-A3B4-012855CE8605}"/>
                </a:ext>
              </a:extLst>
            </p:cNvPr>
            <p:cNvSpPr>
              <a:spLocks/>
            </p:cNvSpPr>
            <p:nvPr>
              <p:custDataLst>
                <p:tags r:id="rId29"/>
              </p:custDataLst>
            </p:nvPr>
          </p:nvSpPr>
          <p:spPr bwMode="auto">
            <a:xfrm>
              <a:off x="73" y="153"/>
              <a:ext cx="223" cy="139"/>
            </a:xfrm>
            <a:custGeom>
              <a:avLst/>
              <a:gdLst>
                <a:gd name="T0" fmla="*/ 578 w 595"/>
                <a:gd name="T1" fmla="*/ 145 h 371"/>
                <a:gd name="T2" fmla="*/ 404 w 595"/>
                <a:gd name="T3" fmla="*/ 96 h 371"/>
                <a:gd name="T4" fmla="*/ 201 w 595"/>
                <a:gd name="T5" fmla="*/ 264 h 371"/>
                <a:gd name="T6" fmla="*/ 123 w 595"/>
                <a:gd name="T7" fmla="*/ 365 h 371"/>
                <a:gd name="T8" fmla="*/ 42 w 595"/>
                <a:gd name="T9" fmla="*/ 353 h 371"/>
                <a:gd name="T10" fmla="*/ 0 w 595"/>
                <a:gd name="T11" fmla="*/ 342 h 371"/>
                <a:gd name="T12" fmla="*/ 23 w 595"/>
                <a:gd name="T13" fmla="*/ 279 h 371"/>
                <a:gd name="T14" fmla="*/ 104 w 595"/>
                <a:gd name="T15" fmla="*/ 76 h 371"/>
                <a:gd name="T16" fmla="*/ 125 w 595"/>
                <a:gd name="T17" fmla="*/ 86 h 371"/>
                <a:gd name="T18" fmla="*/ 290 w 595"/>
                <a:gd name="T19" fmla="*/ 86 h 371"/>
                <a:gd name="T20" fmla="*/ 416 w 595"/>
                <a:gd name="T21" fmla="*/ 6 h 371"/>
                <a:gd name="T22" fmla="*/ 578 w 595"/>
                <a:gd name="T23" fmla="*/ 14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5" h="371">
                  <a:moveTo>
                    <a:pt x="578" y="145"/>
                  </a:moveTo>
                  <a:cubicBezTo>
                    <a:pt x="553" y="208"/>
                    <a:pt x="434" y="81"/>
                    <a:pt x="404" y="96"/>
                  </a:cubicBezTo>
                  <a:cubicBezTo>
                    <a:pt x="382" y="106"/>
                    <a:pt x="218" y="250"/>
                    <a:pt x="201" y="264"/>
                  </a:cubicBezTo>
                  <a:cubicBezTo>
                    <a:pt x="116" y="336"/>
                    <a:pt x="128" y="363"/>
                    <a:pt x="123" y="365"/>
                  </a:cubicBezTo>
                  <a:cubicBezTo>
                    <a:pt x="124" y="364"/>
                    <a:pt x="101" y="371"/>
                    <a:pt x="42" y="353"/>
                  </a:cubicBezTo>
                  <a:cubicBezTo>
                    <a:pt x="27" y="348"/>
                    <a:pt x="13" y="344"/>
                    <a:pt x="0" y="342"/>
                  </a:cubicBezTo>
                  <a:cubicBezTo>
                    <a:pt x="7" y="321"/>
                    <a:pt x="14" y="300"/>
                    <a:pt x="23" y="279"/>
                  </a:cubicBezTo>
                  <a:cubicBezTo>
                    <a:pt x="49" y="216"/>
                    <a:pt x="75" y="142"/>
                    <a:pt x="104" y="76"/>
                  </a:cubicBezTo>
                  <a:cubicBezTo>
                    <a:pt x="111" y="79"/>
                    <a:pt x="118" y="83"/>
                    <a:pt x="125" y="86"/>
                  </a:cubicBezTo>
                  <a:cubicBezTo>
                    <a:pt x="177" y="111"/>
                    <a:pt x="241" y="143"/>
                    <a:pt x="290" y="86"/>
                  </a:cubicBezTo>
                  <a:cubicBezTo>
                    <a:pt x="318" y="54"/>
                    <a:pt x="371" y="11"/>
                    <a:pt x="416" y="6"/>
                  </a:cubicBezTo>
                  <a:cubicBezTo>
                    <a:pt x="454" y="0"/>
                    <a:pt x="595" y="120"/>
                    <a:pt x="578"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Handshake2">
              <a:extLst>
                <a:ext uri="{FF2B5EF4-FFF2-40B4-BE49-F238E27FC236}">
                  <a16:creationId xmlns:a16="http://schemas.microsoft.com/office/drawing/2014/main" id="{158081A4-6AC6-4CA7-A7B6-B79CE3E736E6}"/>
                </a:ext>
              </a:extLst>
            </p:cNvPr>
            <p:cNvSpPr>
              <a:spLocks/>
            </p:cNvSpPr>
            <p:nvPr>
              <p:custDataLst>
                <p:tags r:id="rId30"/>
              </p:custDataLst>
            </p:nvPr>
          </p:nvSpPr>
          <p:spPr bwMode="auto">
            <a:xfrm>
              <a:off x="275" y="290"/>
              <a:ext cx="38" cy="42"/>
            </a:xfrm>
            <a:custGeom>
              <a:avLst/>
              <a:gdLst>
                <a:gd name="T0" fmla="*/ 13 w 102"/>
                <a:gd name="T1" fmla="*/ 12 h 112"/>
                <a:gd name="T2" fmla="*/ 49 w 102"/>
                <a:gd name="T3" fmla="*/ 5 h 112"/>
                <a:gd name="T4" fmla="*/ 96 w 102"/>
                <a:gd name="T5" fmla="*/ 59 h 112"/>
                <a:gd name="T6" fmla="*/ 45 w 102"/>
                <a:gd name="T7" fmla="*/ 101 h 112"/>
                <a:gd name="T8" fmla="*/ 6 w 102"/>
                <a:gd name="T9" fmla="*/ 61 h 112"/>
                <a:gd name="T10" fmla="*/ 13 w 102"/>
                <a:gd name="T11" fmla="*/ 12 h 112"/>
              </a:gdLst>
              <a:ahLst/>
              <a:cxnLst>
                <a:cxn ang="0">
                  <a:pos x="T0" y="T1"/>
                </a:cxn>
                <a:cxn ang="0">
                  <a:pos x="T2" y="T3"/>
                </a:cxn>
                <a:cxn ang="0">
                  <a:pos x="T4" y="T5"/>
                </a:cxn>
                <a:cxn ang="0">
                  <a:pos x="T6" y="T7"/>
                </a:cxn>
                <a:cxn ang="0">
                  <a:pos x="T8" y="T9"/>
                </a:cxn>
                <a:cxn ang="0">
                  <a:pos x="T10" y="T11"/>
                </a:cxn>
              </a:cxnLst>
              <a:rect l="0" t="0" r="r" b="b"/>
              <a:pathLst>
                <a:path w="102" h="112">
                  <a:moveTo>
                    <a:pt x="13" y="12"/>
                  </a:moveTo>
                  <a:cubicBezTo>
                    <a:pt x="27" y="0"/>
                    <a:pt x="41" y="1"/>
                    <a:pt x="49" y="5"/>
                  </a:cubicBezTo>
                  <a:cubicBezTo>
                    <a:pt x="74" y="15"/>
                    <a:pt x="96" y="59"/>
                    <a:pt x="96" y="59"/>
                  </a:cubicBezTo>
                  <a:cubicBezTo>
                    <a:pt x="102" y="89"/>
                    <a:pt x="72" y="112"/>
                    <a:pt x="45" y="101"/>
                  </a:cubicBezTo>
                  <a:cubicBezTo>
                    <a:pt x="32" y="95"/>
                    <a:pt x="12" y="73"/>
                    <a:pt x="6" y="61"/>
                  </a:cubicBezTo>
                  <a:cubicBezTo>
                    <a:pt x="1" y="50"/>
                    <a:pt x="0" y="22"/>
                    <a:pt x="13"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Handshake2">
              <a:extLst>
                <a:ext uri="{FF2B5EF4-FFF2-40B4-BE49-F238E27FC236}">
                  <a16:creationId xmlns:a16="http://schemas.microsoft.com/office/drawing/2014/main" id="{7DEAE444-B36F-4CAD-B9AB-59CB0F095FE0}"/>
                </a:ext>
              </a:extLst>
            </p:cNvPr>
            <p:cNvSpPr>
              <a:spLocks/>
            </p:cNvSpPr>
            <p:nvPr>
              <p:custDataLst>
                <p:tags r:id="rId31"/>
              </p:custDataLst>
            </p:nvPr>
          </p:nvSpPr>
          <p:spPr bwMode="auto">
            <a:xfrm>
              <a:off x="257" y="316"/>
              <a:ext cx="34" cy="37"/>
            </a:xfrm>
            <a:custGeom>
              <a:avLst/>
              <a:gdLst>
                <a:gd name="T0" fmla="*/ 81 w 90"/>
                <a:gd name="T1" fmla="*/ 51 h 99"/>
                <a:gd name="T2" fmla="*/ 17 w 90"/>
                <a:gd name="T3" fmla="*/ 84 h 99"/>
                <a:gd name="T4" fmla="*/ 17 w 90"/>
                <a:gd name="T5" fmla="*/ 84 h 99"/>
                <a:gd name="T6" fmla="*/ 15 w 90"/>
                <a:gd name="T7" fmla="*/ 81 h 99"/>
                <a:gd name="T8" fmla="*/ 6 w 90"/>
                <a:gd name="T9" fmla="*/ 61 h 99"/>
                <a:gd name="T10" fmla="*/ 21 w 90"/>
                <a:gd name="T11" fmla="*/ 19 h 99"/>
                <a:gd name="T12" fmla="*/ 81 w 90"/>
                <a:gd name="T13" fmla="*/ 51 h 99"/>
              </a:gdLst>
              <a:ahLst/>
              <a:cxnLst>
                <a:cxn ang="0">
                  <a:pos x="T0" y="T1"/>
                </a:cxn>
                <a:cxn ang="0">
                  <a:pos x="T2" y="T3"/>
                </a:cxn>
                <a:cxn ang="0">
                  <a:pos x="T4" y="T5"/>
                </a:cxn>
                <a:cxn ang="0">
                  <a:pos x="T6" y="T7"/>
                </a:cxn>
                <a:cxn ang="0">
                  <a:pos x="T8" y="T9"/>
                </a:cxn>
                <a:cxn ang="0">
                  <a:pos x="T10" y="T11"/>
                </a:cxn>
                <a:cxn ang="0">
                  <a:pos x="T12" y="T13"/>
                </a:cxn>
              </a:cxnLst>
              <a:rect l="0" t="0" r="r" b="b"/>
              <a:pathLst>
                <a:path w="90" h="99">
                  <a:moveTo>
                    <a:pt x="81" y="51"/>
                  </a:moveTo>
                  <a:cubicBezTo>
                    <a:pt x="90" y="75"/>
                    <a:pt x="54" y="99"/>
                    <a:pt x="17" y="84"/>
                  </a:cubicBezTo>
                  <a:cubicBezTo>
                    <a:pt x="17" y="84"/>
                    <a:pt x="17" y="84"/>
                    <a:pt x="17" y="84"/>
                  </a:cubicBezTo>
                  <a:cubicBezTo>
                    <a:pt x="16" y="84"/>
                    <a:pt x="16" y="82"/>
                    <a:pt x="15" y="81"/>
                  </a:cubicBezTo>
                  <a:cubicBezTo>
                    <a:pt x="13" y="76"/>
                    <a:pt x="6" y="67"/>
                    <a:pt x="6" y="61"/>
                  </a:cubicBezTo>
                  <a:cubicBezTo>
                    <a:pt x="0" y="43"/>
                    <a:pt x="12" y="28"/>
                    <a:pt x="21" y="19"/>
                  </a:cubicBezTo>
                  <a:cubicBezTo>
                    <a:pt x="37" y="0"/>
                    <a:pt x="76" y="36"/>
                    <a:pt x="81" y="5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Handshake2">
              <a:extLst>
                <a:ext uri="{FF2B5EF4-FFF2-40B4-BE49-F238E27FC236}">
                  <a16:creationId xmlns:a16="http://schemas.microsoft.com/office/drawing/2014/main" id="{95DBCAC0-7F3F-4107-A6C0-0973B5863AB3}"/>
                </a:ext>
              </a:extLst>
            </p:cNvPr>
            <p:cNvSpPr>
              <a:spLocks/>
            </p:cNvSpPr>
            <p:nvPr>
              <p:custDataLst>
                <p:tags r:id="rId32"/>
              </p:custDataLst>
            </p:nvPr>
          </p:nvSpPr>
          <p:spPr bwMode="auto">
            <a:xfrm>
              <a:off x="118" y="158"/>
              <a:ext cx="274" cy="200"/>
            </a:xfrm>
            <a:custGeom>
              <a:avLst/>
              <a:gdLst>
                <a:gd name="T0" fmla="*/ 372 w 731"/>
                <a:gd name="T1" fmla="*/ 421 h 531"/>
                <a:gd name="T2" fmla="*/ 357 w 731"/>
                <a:gd name="T3" fmla="*/ 463 h 531"/>
                <a:gd name="T4" fmla="*/ 361 w 731"/>
                <a:gd name="T5" fmla="*/ 485 h 531"/>
                <a:gd name="T6" fmla="*/ 288 w 731"/>
                <a:gd name="T7" fmla="*/ 467 h 531"/>
                <a:gd name="T8" fmla="*/ 386 w 731"/>
                <a:gd name="T9" fmla="*/ 339 h 531"/>
                <a:gd name="T10" fmla="*/ 268 w 731"/>
                <a:gd name="T11" fmla="*/ 451 h 531"/>
                <a:gd name="T12" fmla="*/ 205 w 731"/>
                <a:gd name="T13" fmla="*/ 457 h 531"/>
                <a:gd name="T14" fmla="*/ 195 w 731"/>
                <a:gd name="T15" fmla="*/ 436 h 531"/>
                <a:gd name="T16" fmla="*/ 342 w 731"/>
                <a:gd name="T17" fmla="*/ 290 h 531"/>
                <a:gd name="T18" fmla="*/ 181 w 731"/>
                <a:gd name="T19" fmla="*/ 420 h 531"/>
                <a:gd name="T20" fmla="*/ 155 w 731"/>
                <a:gd name="T21" fmla="*/ 424 h 531"/>
                <a:gd name="T22" fmla="*/ 127 w 731"/>
                <a:gd name="T23" fmla="*/ 415 h 531"/>
                <a:gd name="T24" fmla="*/ 124 w 731"/>
                <a:gd name="T25" fmla="*/ 376 h 531"/>
                <a:gd name="T26" fmla="*/ 271 w 731"/>
                <a:gd name="T27" fmla="*/ 237 h 531"/>
                <a:gd name="T28" fmla="*/ 192 w 731"/>
                <a:gd name="T29" fmla="*/ 303 h 531"/>
                <a:gd name="T30" fmla="*/ 78 w 731"/>
                <a:gd name="T31" fmla="*/ 376 h 531"/>
                <a:gd name="T32" fmla="*/ 43 w 731"/>
                <a:gd name="T33" fmla="*/ 369 h 531"/>
                <a:gd name="T34" fmla="*/ 35 w 731"/>
                <a:gd name="T35" fmla="*/ 359 h 531"/>
                <a:gd name="T36" fmla="*/ 291 w 731"/>
                <a:gd name="T37" fmla="*/ 104 h 531"/>
                <a:gd name="T38" fmla="*/ 432 w 731"/>
                <a:gd name="T39" fmla="*/ 172 h 531"/>
                <a:gd name="T40" fmla="*/ 490 w 731"/>
                <a:gd name="T41" fmla="*/ 130 h 531"/>
                <a:gd name="T42" fmla="*/ 384 w 731"/>
                <a:gd name="T43" fmla="*/ 9 h 531"/>
                <a:gd name="T44" fmla="*/ 500 w 731"/>
                <a:gd name="T45" fmla="*/ 18 h 531"/>
                <a:gd name="T46" fmla="*/ 573 w 731"/>
                <a:gd name="T47" fmla="*/ 21 h 531"/>
                <a:gd name="T48" fmla="*/ 665 w 731"/>
                <a:gd name="T49" fmla="*/ 0 h 531"/>
                <a:gd name="T50" fmla="*/ 725 w 731"/>
                <a:gd name="T51" fmla="*/ 238 h 531"/>
                <a:gd name="T52" fmla="*/ 597 w 731"/>
                <a:gd name="T53" fmla="*/ 255 h 531"/>
                <a:gd name="T54" fmla="*/ 560 w 731"/>
                <a:gd name="T55" fmla="*/ 293 h 531"/>
                <a:gd name="T56" fmla="*/ 487 w 731"/>
                <a:gd name="T57" fmla="*/ 285 h 531"/>
                <a:gd name="T58" fmla="*/ 471 w 731"/>
                <a:gd name="T59" fmla="*/ 320 h 531"/>
                <a:gd name="T60" fmla="*/ 468 w 731"/>
                <a:gd name="T61" fmla="*/ 332 h 531"/>
                <a:gd name="T62" fmla="*/ 468 w 731"/>
                <a:gd name="T63" fmla="*/ 332 h 531"/>
                <a:gd name="T64" fmla="*/ 468 w 731"/>
                <a:gd name="T65" fmla="*/ 333 h 531"/>
                <a:gd name="T66" fmla="*/ 457 w 731"/>
                <a:gd name="T67" fmla="*/ 331 h 531"/>
                <a:gd name="T68" fmla="*/ 457 w 731"/>
                <a:gd name="T69" fmla="*/ 331 h 531"/>
                <a:gd name="T70" fmla="*/ 456 w 731"/>
                <a:gd name="T71" fmla="*/ 331 h 531"/>
                <a:gd name="T72" fmla="*/ 415 w 731"/>
                <a:gd name="T73" fmla="*/ 338 h 531"/>
                <a:gd name="T74" fmla="*/ 405 w 731"/>
                <a:gd name="T75" fmla="*/ 391 h 531"/>
                <a:gd name="T76" fmla="*/ 408 w 731"/>
                <a:gd name="T77" fmla="*/ 409 h 531"/>
                <a:gd name="T78" fmla="*/ 372 w 731"/>
                <a:gd name="T79" fmla="*/ 421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1" h="531">
                  <a:moveTo>
                    <a:pt x="372" y="421"/>
                  </a:moveTo>
                  <a:cubicBezTo>
                    <a:pt x="356" y="436"/>
                    <a:pt x="356" y="445"/>
                    <a:pt x="357" y="463"/>
                  </a:cubicBezTo>
                  <a:cubicBezTo>
                    <a:pt x="357" y="467"/>
                    <a:pt x="360" y="481"/>
                    <a:pt x="361" y="485"/>
                  </a:cubicBezTo>
                  <a:cubicBezTo>
                    <a:pt x="285" y="531"/>
                    <a:pt x="286" y="468"/>
                    <a:pt x="288" y="467"/>
                  </a:cubicBezTo>
                  <a:cubicBezTo>
                    <a:pt x="373" y="386"/>
                    <a:pt x="386" y="339"/>
                    <a:pt x="386" y="339"/>
                  </a:cubicBezTo>
                  <a:cubicBezTo>
                    <a:pt x="380" y="342"/>
                    <a:pt x="302" y="434"/>
                    <a:pt x="268" y="451"/>
                  </a:cubicBezTo>
                  <a:cubicBezTo>
                    <a:pt x="234" y="468"/>
                    <a:pt x="218" y="464"/>
                    <a:pt x="205" y="457"/>
                  </a:cubicBezTo>
                  <a:cubicBezTo>
                    <a:pt x="200" y="453"/>
                    <a:pt x="196" y="446"/>
                    <a:pt x="195" y="436"/>
                  </a:cubicBezTo>
                  <a:cubicBezTo>
                    <a:pt x="251" y="417"/>
                    <a:pt x="340" y="307"/>
                    <a:pt x="342" y="290"/>
                  </a:cubicBezTo>
                  <a:cubicBezTo>
                    <a:pt x="342" y="290"/>
                    <a:pt x="235" y="406"/>
                    <a:pt x="181" y="420"/>
                  </a:cubicBezTo>
                  <a:cubicBezTo>
                    <a:pt x="171" y="423"/>
                    <a:pt x="163" y="424"/>
                    <a:pt x="155" y="424"/>
                  </a:cubicBezTo>
                  <a:cubicBezTo>
                    <a:pt x="142" y="424"/>
                    <a:pt x="132" y="421"/>
                    <a:pt x="127" y="415"/>
                  </a:cubicBezTo>
                  <a:cubicBezTo>
                    <a:pt x="121" y="408"/>
                    <a:pt x="120" y="395"/>
                    <a:pt x="124" y="376"/>
                  </a:cubicBezTo>
                  <a:cubicBezTo>
                    <a:pt x="197" y="332"/>
                    <a:pt x="280" y="244"/>
                    <a:pt x="271" y="237"/>
                  </a:cubicBezTo>
                  <a:lnTo>
                    <a:pt x="192" y="303"/>
                  </a:lnTo>
                  <a:cubicBezTo>
                    <a:pt x="155" y="331"/>
                    <a:pt x="80" y="379"/>
                    <a:pt x="78" y="376"/>
                  </a:cubicBezTo>
                  <a:cubicBezTo>
                    <a:pt x="66" y="381"/>
                    <a:pt x="57" y="378"/>
                    <a:pt x="43" y="369"/>
                  </a:cubicBezTo>
                  <a:cubicBezTo>
                    <a:pt x="39" y="366"/>
                    <a:pt x="36" y="363"/>
                    <a:pt x="35" y="359"/>
                  </a:cubicBezTo>
                  <a:cubicBezTo>
                    <a:pt x="0" y="322"/>
                    <a:pt x="136" y="251"/>
                    <a:pt x="291" y="104"/>
                  </a:cubicBezTo>
                  <a:cubicBezTo>
                    <a:pt x="316" y="113"/>
                    <a:pt x="380" y="174"/>
                    <a:pt x="432" y="172"/>
                  </a:cubicBezTo>
                  <a:cubicBezTo>
                    <a:pt x="454" y="172"/>
                    <a:pt x="490" y="151"/>
                    <a:pt x="490" y="130"/>
                  </a:cubicBezTo>
                  <a:cubicBezTo>
                    <a:pt x="491" y="99"/>
                    <a:pt x="418" y="36"/>
                    <a:pt x="384" y="9"/>
                  </a:cubicBezTo>
                  <a:cubicBezTo>
                    <a:pt x="411" y="8"/>
                    <a:pt x="469" y="16"/>
                    <a:pt x="500" y="18"/>
                  </a:cubicBezTo>
                  <a:cubicBezTo>
                    <a:pt x="524" y="20"/>
                    <a:pt x="549" y="21"/>
                    <a:pt x="573" y="21"/>
                  </a:cubicBezTo>
                  <a:cubicBezTo>
                    <a:pt x="609" y="21"/>
                    <a:pt x="637" y="15"/>
                    <a:pt x="665" y="0"/>
                  </a:cubicBezTo>
                  <a:cubicBezTo>
                    <a:pt x="690" y="57"/>
                    <a:pt x="731" y="238"/>
                    <a:pt x="725" y="238"/>
                  </a:cubicBezTo>
                  <a:cubicBezTo>
                    <a:pt x="686" y="237"/>
                    <a:pt x="633" y="236"/>
                    <a:pt x="597" y="255"/>
                  </a:cubicBezTo>
                  <a:cubicBezTo>
                    <a:pt x="579" y="264"/>
                    <a:pt x="566" y="276"/>
                    <a:pt x="560" y="293"/>
                  </a:cubicBezTo>
                  <a:cubicBezTo>
                    <a:pt x="536" y="272"/>
                    <a:pt x="509" y="269"/>
                    <a:pt x="487" y="285"/>
                  </a:cubicBezTo>
                  <a:cubicBezTo>
                    <a:pt x="478" y="292"/>
                    <a:pt x="474" y="308"/>
                    <a:pt x="471" y="320"/>
                  </a:cubicBezTo>
                  <a:cubicBezTo>
                    <a:pt x="469" y="324"/>
                    <a:pt x="468" y="328"/>
                    <a:pt x="468" y="332"/>
                  </a:cubicBezTo>
                  <a:lnTo>
                    <a:pt x="468" y="332"/>
                  </a:lnTo>
                  <a:cubicBezTo>
                    <a:pt x="468" y="332"/>
                    <a:pt x="468" y="333"/>
                    <a:pt x="468" y="333"/>
                  </a:cubicBezTo>
                  <a:cubicBezTo>
                    <a:pt x="467" y="332"/>
                    <a:pt x="463" y="331"/>
                    <a:pt x="457" y="331"/>
                  </a:cubicBezTo>
                  <a:lnTo>
                    <a:pt x="457" y="331"/>
                  </a:lnTo>
                  <a:lnTo>
                    <a:pt x="456" y="331"/>
                  </a:lnTo>
                  <a:cubicBezTo>
                    <a:pt x="445" y="329"/>
                    <a:pt x="429" y="327"/>
                    <a:pt x="415" y="338"/>
                  </a:cubicBezTo>
                  <a:cubicBezTo>
                    <a:pt x="398" y="351"/>
                    <a:pt x="399" y="372"/>
                    <a:pt x="405" y="391"/>
                  </a:cubicBezTo>
                  <a:cubicBezTo>
                    <a:pt x="406" y="397"/>
                    <a:pt x="406" y="403"/>
                    <a:pt x="408" y="409"/>
                  </a:cubicBezTo>
                  <a:cubicBezTo>
                    <a:pt x="401" y="410"/>
                    <a:pt x="377" y="417"/>
                    <a:pt x="372" y="42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68" name="Oval 167">
            <a:extLst>
              <a:ext uri="{FF2B5EF4-FFF2-40B4-BE49-F238E27FC236}">
                <a16:creationId xmlns:a16="http://schemas.microsoft.com/office/drawing/2014/main" id="{44815364-85DC-4FDD-9959-BE8E747D0B6D}"/>
              </a:ext>
            </a:extLst>
          </p:cNvPr>
          <p:cNvSpPr>
            <a:spLocks noChangeAspect="1"/>
          </p:cNvSpPr>
          <p:nvPr/>
        </p:nvSpPr>
        <p:spPr>
          <a:xfrm>
            <a:off x="6933467" y="4635373"/>
            <a:ext cx="897255" cy="897255"/>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97" name="Towers" descr="{&quot;Key&quot;:&quot;POWER_USER_SHAPE_ICON&quot;,&quot;Value&quot;:&quot;POWER_USER_SHAPE_ICON_STYLE_1&quot;}">
            <a:extLst>
              <a:ext uri="{FF2B5EF4-FFF2-40B4-BE49-F238E27FC236}">
                <a16:creationId xmlns:a16="http://schemas.microsoft.com/office/drawing/2014/main" id="{A3FE5307-6FBD-4256-8A57-7252A4E60286}"/>
              </a:ext>
            </a:extLst>
          </p:cNvPr>
          <p:cNvSpPr>
            <a:spLocks noChangeAspect="1" noEditPoints="1"/>
          </p:cNvSpPr>
          <p:nvPr>
            <p:custDataLst>
              <p:tags r:id="rId15"/>
            </p:custDataLst>
          </p:nvPr>
        </p:nvSpPr>
        <p:spPr bwMode="auto">
          <a:xfrm>
            <a:off x="7059563" y="4784393"/>
            <a:ext cx="629491" cy="542925"/>
          </a:xfrm>
          <a:custGeom>
            <a:avLst/>
            <a:gdLst>
              <a:gd name="T0" fmla="*/ 5689 w 6400"/>
              <a:gd name="T1" fmla="*/ 2106 h 5525"/>
              <a:gd name="T2" fmla="*/ 4748 w 6400"/>
              <a:gd name="T3" fmla="*/ 2545 h 5525"/>
              <a:gd name="T4" fmla="*/ 4748 w 6400"/>
              <a:gd name="T5" fmla="*/ 2679 h 5525"/>
              <a:gd name="T6" fmla="*/ 5689 w 6400"/>
              <a:gd name="T7" fmla="*/ 3117 h 5525"/>
              <a:gd name="T8" fmla="*/ 5689 w 6400"/>
              <a:gd name="T9" fmla="*/ 3860 h 5525"/>
              <a:gd name="T10" fmla="*/ 5689 w 6400"/>
              <a:gd name="T11" fmla="*/ 4737 h 5525"/>
              <a:gd name="T12" fmla="*/ 4748 w 6400"/>
              <a:gd name="T13" fmla="*/ 5175 h 5525"/>
              <a:gd name="T14" fmla="*/ 3850 w 6400"/>
              <a:gd name="T15" fmla="*/ 233 h 5525"/>
              <a:gd name="T16" fmla="*/ 4126 w 6400"/>
              <a:gd name="T17" fmla="*/ 746 h 5525"/>
              <a:gd name="T18" fmla="*/ 4126 w 6400"/>
              <a:gd name="T19" fmla="*/ 1642 h 5525"/>
              <a:gd name="T20" fmla="*/ 4126 w 6400"/>
              <a:gd name="T21" fmla="*/ 2669 h 5525"/>
              <a:gd name="T22" fmla="*/ 3850 w 6400"/>
              <a:gd name="T23" fmla="*/ 3182 h 5525"/>
              <a:gd name="T24" fmla="*/ 3850 w 6400"/>
              <a:gd name="T25" fmla="*/ 3312 h 5525"/>
              <a:gd name="T26" fmla="*/ 4126 w 6400"/>
              <a:gd name="T27" fmla="*/ 3825 h 5525"/>
              <a:gd name="T28" fmla="*/ 4126 w 6400"/>
              <a:gd name="T29" fmla="*/ 5175 h 5525"/>
              <a:gd name="T30" fmla="*/ 2549 w 6400"/>
              <a:gd name="T31" fmla="*/ 616 h 5525"/>
              <a:gd name="T32" fmla="*/ 2273 w 6400"/>
              <a:gd name="T33" fmla="*/ 1129 h 5525"/>
              <a:gd name="T34" fmla="*/ 2273 w 6400"/>
              <a:gd name="T35" fmla="*/ 1259 h 5525"/>
              <a:gd name="T36" fmla="*/ 2549 w 6400"/>
              <a:gd name="T37" fmla="*/ 1772 h 5525"/>
              <a:gd name="T38" fmla="*/ 2549 w 6400"/>
              <a:gd name="T39" fmla="*/ 2669 h 5525"/>
              <a:gd name="T40" fmla="*/ 2549 w 6400"/>
              <a:gd name="T41" fmla="*/ 3695 h 5525"/>
              <a:gd name="T42" fmla="*/ 2273 w 6400"/>
              <a:gd name="T43" fmla="*/ 4208 h 5525"/>
              <a:gd name="T44" fmla="*/ 2273 w 6400"/>
              <a:gd name="T45" fmla="*/ 4340 h 5525"/>
              <a:gd name="T46" fmla="*/ 2668 w 6400"/>
              <a:gd name="T47" fmla="*/ 4208 h 5525"/>
              <a:gd name="T48" fmla="*/ 2668 w 6400"/>
              <a:gd name="T49" fmla="*/ 3312 h 5525"/>
              <a:gd name="T50" fmla="*/ 2668 w 6400"/>
              <a:gd name="T51" fmla="*/ 2286 h 5525"/>
              <a:gd name="T52" fmla="*/ 2943 w 6400"/>
              <a:gd name="T53" fmla="*/ 1772 h 5525"/>
              <a:gd name="T54" fmla="*/ 2943 w 6400"/>
              <a:gd name="T55" fmla="*/ 1642 h 5525"/>
              <a:gd name="T56" fmla="*/ 2668 w 6400"/>
              <a:gd name="T57" fmla="*/ 1129 h 5525"/>
              <a:gd name="T58" fmla="*/ 2668 w 6400"/>
              <a:gd name="T59" fmla="*/ 233 h 5525"/>
              <a:gd name="T60" fmla="*/ 3062 w 6400"/>
              <a:gd name="T61" fmla="*/ 3312 h 5525"/>
              <a:gd name="T62" fmla="*/ 3338 w 6400"/>
              <a:gd name="T63" fmla="*/ 2799 h 5525"/>
              <a:gd name="T64" fmla="*/ 3338 w 6400"/>
              <a:gd name="T65" fmla="*/ 2669 h 5525"/>
              <a:gd name="T66" fmla="*/ 3062 w 6400"/>
              <a:gd name="T67" fmla="*/ 2156 h 5525"/>
              <a:gd name="T68" fmla="*/ 3062 w 6400"/>
              <a:gd name="T69" fmla="*/ 1259 h 5525"/>
              <a:gd name="T70" fmla="*/ 3062 w 6400"/>
              <a:gd name="T71" fmla="*/ 233 h 5525"/>
              <a:gd name="T72" fmla="*/ 3732 w 6400"/>
              <a:gd name="T73" fmla="*/ 3825 h 5525"/>
              <a:gd name="T74" fmla="*/ 3732 w 6400"/>
              <a:gd name="T75" fmla="*/ 3695 h 5525"/>
              <a:gd name="T76" fmla="*/ 3456 w 6400"/>
              <a:gd name="T77" fmla="*/ 3182 h 5525"/>
              <a:gd name="T78" fmla="*/ 3456 w 6400"/>
              <a:gd name="T79" fmla="*/ 2286 h 5525"/>
              <a:gd name="T80" fmla="*/ 3456 w 6400"/>
              <a:gd name="T81" fmla="*/ 1259 h 5525"/>
              <a:gd name="T82" fmla="*/ 3732 w 6400"/>
              <a:gd name="T83" fmla="*/ 746 h 5525"/>
              <a:gd name="T84" fmla="*/ 3732 w 6400"/>
              <a:gd name="T85" fmla="*/ 616 h 5525"/>
              <a:gd name="T86" fmla="*/ 711 w 6400"/>
              <a:gd name="T87" fmla="*/ 5175 h 5525"/>
              <a:gd name="T88" fmla="*/ 711 w 6400"/>
              <a:gd name="T89" fmla="*/ 4539 h 5525"/>
              <a:gd name="T90" fmla="*/ 711 w 6400"/>
              <a:gd name="T91" fmla="*/ 3790 h 5525"/>
              <a:gd name="T92" fmla="*/ 1094 w 6400"/>
              <a:gd name="T93" fmla="*/ 3416 h 5525"/>
              <a:gd name="T94" fmla="*/ 1644 w 6400"/>
              <a:gd name="T95" fmla="*/ 5175 h 5525"/>
              <a:gd name="T96" fmla="*/ 1261 w 6400"/>
              <a:gd name="T97" fmla="*/ 4801 h 5525"/>
              <a:gd name="T98" fmla="*/ 1261 w 6400"/>
              <a:gd name="T99" fmla="*/ 4165 h 5525"/>
              <a:gd name="T100" fmla="*/ 1261 w 6400"/>
              <a:gd name="T101" fmla="*/ 3416 h 5525"/>
              <a:gd name="T102" fmla="*/ 5922 w 6400"/>
              <a:gd name="T103" fmla="*/ 1364 h 5525"/>
              <a:gd name="T104" fmla="*/ 4355 w 6400"/>
              <a:gd name="T105" fmla="*/ 233 h 5525"/>
              <a:gd name="T106" fmla="*/ 2044 w 6400"/>
              <a:gd name="T107" fmla="*/ 5175 h 5525"/>
              <a:gd name="T108" fmla="*/ 478 w 6400"/>
              <a:gd name="T109" fmla="*/ 5175 h 5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400" h="5525">
                <a:moveTo>
                  <a:pt x="5689" y="1668"/>
                </a:moveTo>
                <a:lnTo>
                  <a:pt x="4748" y="1668"/>
                </a:lnTo>
                <a:lnTo>
                  <a:pt x="4748" y="1364"/>
                </a:lnTo>
                <a:lnTo>
                  <a:pt x="5689" y="1364"/>
                </a:lnTo>
                <a:lnTo>
                  <a:pt x="5689" y="1668"/>
                </a:lnTo>
                <a:close/>
                <a:moveTo>
                  <a:pt x="5689" y="2106"/>
                </a:moveTo>
                <a:lnTo>
                  <a:pt x="4748" y="2106"/>
                </a:lnTo>
                <a:lnTo>
                  <a:pt x="4748" y="1803"/>
                </a:lnTo>
                <a:lnTo>
                  <a:pt x="5689" y="1803"/>
                </a:lnTo>
                <a:lnTo>
                  <a:pt x="5689" y="2106"/>
                </a:lnTo>
                <a:close/>
                <a:moveTo>
                  <a:pt x="5689" y="2545"/>
                </a:moveTo>
                <a:lnTo>
                  <a:pt x="4748" y="2545"/>
                </a:lnTo>
                <a:lnTo>
                  <a:pt x="4748" y="2241"/>
                </a:lnTo>
                <a:lnTo>
                  <a:pt x="5689" y="2241"/>
                </a:lnTo>
                <a:lnTo>
                  <a:pt x="5689" y="2545"/>
                </a:lnTo>
                <a:close/>
                <a:moveTo>
                  <a:pt x="5689" y="2983"/>
                </a:moveTo>
                <a:lnTo>
                  <a:pt x="4748" y="2983"/>
                </a:lnTo>
                <a:lnTo>
                  <a:pt x="4748" y="2679"/>
                </a:lnTo>
                <a:lnTo>
                  <a:pt x="5689" y="2679"/>
                </a:lnTo>
                <a:lnTo>
                  <a:pt x="5689" y="2983"/>
                </a:lnTo>
                <a:close/>
                <a:moveTo>
                  <a:pt x="5689" y="3421"/>
                </a:moveTo>
                <a:lnTo>
                  <a:pt x="4748" y="3421"/>
                </a:lnTo>
                <a:lnTo>
                  <a:pt x="4748" y="3117"/>
                </a:lnTo>
                <a:lnTo>
                  <a:pt x="5689" y="3117"/>
                </a:lnTo>
                <a:lnTo>
                  <a:pt x="5689" y="3421"/>
                </a:lnTo>
                <a:close/>
                <a:moveTo>
                  <a:pt x="5689" y="3860"/>
                </a:moveTo>
                <a:lnTo>
                  <a:pt x="4748" y="3860"/>
                </a:lnTo>
                <a:lnTo>
                  <a:pt x="4748" y="3556"/>
                </a:lnTo>
                <a:lnTo>
                  <a:pt x="5689" y="3556"/>
                </a:lnTo>
                <a:lnTo>
                  <a:pt x="5689" y="3860"/>
                </a:lnTo>
                <a:close/>
                <a:moveTo>
                  <a:pt x="5689" y="4298"/>
                </a:moveTo>
                <a:lnTo>
                  <a:pt x="4748" y="4298"/>
                </a:lnTo>
                <a:lnTo>
                  <a:pt x="4748" y="3995"/>
                </a:lnTo>
                <a:lnTo>
                  <a:pt x="5689" y="3995"/>
                </a:lnTo>
                <a:lnTo>
                  <a:pt x="5689" y="4298"/>
                </a:lnTo>
                <a:close/>
                <a:moveTo>
                  <a:pt x="5689" y="4737"/>
                </a:moveTo>
                <a:lnTo>
                  <a:pt x="4748" y="4737"/>
                </a:lnTo>
                <a:lnTo>
                  <a:pt x="4748" y="4433"/>
                </a:lnTo>
                <a:lnTo>
                  <a:pt x="5689" y="4433"/>
                </a:lnTo>
                <a:lnTo>
                  <a:pt x="5689" y="4737"/>
                </a:lnTo>
                <a:close/>
                <a:moveTo>
                  <a:pt x="5689" y="5175"/>
                </a:moveTo>
                <a:lnTo>
                  <a:pt x="4748" y="5175"/>
                </a:lnTo>
                <a:lnTo>
                  <a:pt x="4748" y="4871"/>
                </a:lnTo>
                <a:lnTo>
                  <a:pt x="5689" y="4871"/>
                </a:lnTo>
                <a:lnTo>
                  <a:pt x="5689" y="5175"/>
                </a:lnTo>
                <a:close/>
                <a:moveTo>
                  <a:pt x="4126" y="616"/>
                </a:moveTo>
                <a:lnTo>
                  <a:pt x="3850" y="616"/>
                </a:lnTo>
                <a:lnTo>
                  <a:pt x="3850" y="233"/>
                </a:lnTo>
                <a:lnTo>
                  <a:pt x="4126" y="233"/>
                </a:lnTo>
                <a:lnTo>
                  <a:pt x="4126" y="616"/>
                </a:lnTo>
                <a:close/>
                <a:moveTo>
                  <a:pt x="4126" y="1129"/>
                </a:moveTo>
                <a:lnTo>
                  <a:pt x="3850" y="1129"/>
                </a:lnTo>
                <a:lnTo>
                  <a:pt x="3850" y="746"/>
                </a:lnTo>
                <a:lnTo>
                  <a:pt x="4126" y="746"/>
                </a:lnTo>
                <a:lnTo>
                  <a:pt x="4126" y="1129"/>
                </a:lnTo>
                <a:close/>
                <a:moveTo>
                  <a:pt x="4126" y="1642"/>
                </a:moveTo>
                <a:lnTo>
                  <a:pt x="3850" y="1642"/>
                </a:lnTo>
                <a:lnTo>
                  <a:pt x="3850" y="1259"/>
                </a:lnTo>
                <a:lnTo>
                  <a:pt x="4126" y="1259"/>
                </a:lnTo>
                <a:lnTo>
                  <a:pt x="4126" y="1642"/>
                </a:lnTo>
                <a:close/>
                <a:moveTo>
                  <a:pt x="4126" y="2156"/>
                </a:moveTo>
                <a:lnTo>
                  <a:pt x="3850" y="2156"/>
                </a:lnTo>
                <a:lnTo>
                  <a:pt x="3850" y="1772"/>
                </a:lnTo>
                <a:lnTo>
                  <a:pt x="4126" y="1772"/>
                </a:lnTo>
                <a:lnTo>
                  <a:pt x="4126" y="2156"/>
                </a:lnTo>
                <a:close/>
                <a:moveTo>
                  <a:pt x="4126" y="2669"/>
                </a:moveTo>
                <a:lnTo>
                  <a:pt x="3850" y="2669"/>
                </a:lnTo>
                <a:lnTo>
                  <a:pt x="3850" y="2286"/>
                </a:lnTo>
                <a:lnTo>
                  <a:pt x="4126" y="2286"/>
                </a:lnTo>
                <a:lnTo>
                  <a:pt x="4126" y="2669"/>
                </a:lnTo>
                <a:close/>
                <a:moveTo>
                  <a:pt x="4126" y="3182"/>
                </a:moveTo>
                <a:lnTo>
                  <a:pt x="3850" y="3182"/>
                </a:lnTo>
                <a:lnTo>
                  <a:pt x="3850" y="2799"/>
                </a:lnTo>
                <a:lnTo>
                  <a:pt x="4126" y="2799"/>
                </a:lnTo>
                <a:lnTo>
                  <a:pt x="4126" y="3182"/>
                </a:lnTo>
                <a:close/>
                <a:moveTo>
                  <a:pt x="4126" y="3695"/>
                </a:moveTo>
                <a:lnTo>
                  <a:pt x="3850" y="3695"/>
                </a:lnTo>
                <a:lnTo>
                  <a:pt x="3850" y="3312"/>
                </a:lnTo>
                <a:lnTo>
                  <a:pt x="4126" y="3312"/>
                </a:lnTo>
                <a:lnTo>
                  <a:pt x="4126" y="3695"/>
                </a:lnTo>
                <a:close/>
                <a:moveTo>
                  <a:pt x="4126" y="4208"/>
                </a:moveTo>
                <a:lnTo>
                  <a:pt x="3850" y="4208"/>
                </a:lnTo>
                <a:lnTo>
                  <a:pt x="3850" y="3825"/>
                </a:lnTo>
                <a:lnTo>
                  <a:pt x="4126" y="3825"/>
                </a:lnTo>
                <a:lnTo>
                  <a:pt x="4126" y="4208"/>
                </a:lnTo>
                <a:close/>
                <a:moveTo>
                  <a:pt x="4126" y="5175"/>
                </a:moveTo>
                <a:lnTo>
                  <a:pt x="3850" y="5175"/>
                </a:lnTo>
                <a:lnTo>
                  <a:pt x="3850" y="4340"/>
                </a:lnTo>
                <a:lnTo>
                  <a:pt x="4126" y="4340"/>
                </a:lnTo>
                <a:lnTo>
                  <a:pt x="4126" y="5175"/>
                </a:lnTo>
                <a:close/>
                <a:moveTo>
                  <a:pt x="3733" y="5175"/>
                </a:moveTo>
                <a:lnTo>
                  <a:pt x="2666" y="5175"/>
                </a:lnTo>
                <a:lnTo>
                  <a:pt x="2666" y="4340"/>
                </a:lnTo>
                <a:lnTo>
                  <a:pt x="3733" y="4340"/>
                </a:lnTo>
                <a:lnTo>
                  <a:pt x="3733" y="5175"/>
                </a:lnTo>
                <a:close/>
                <a:moveTo>
                  <a:pt x="2549" y="616"/>
                </a:moveTo>
                <a:lnTo>
                  <a:pt x="2273" y="616"/>
                </a:lnTo>
                <a:lnTo>
                  <a:pt x="2273" y="233"/>
                </a:lnTo>
                <a:lnTo>
                  <a:pt x="2549" y="233"/>
                </a:lnTo>
                <a:lnTo>
                  <a:pt x="2549" y="616"/>
                </a:lnTo>
                <a:close/>
                <a:moveTo>
                  <a:pt x="2549" y="1129"/>
                </a:moveTo>
                <a:lnTo>
                  <a:pt x="2273" y="1129"/>
                </a:lnTo>
                <a:lnTo>
                  <a:pt x="2273" y="746"/>
                </a:lnTo>
                <a:lnTo>
                  <a:pt x="2549" y="746"/>
                </a:lnTo>
                <a:lnTo>
                  <a:pt x="2549" y="1129"/>
                </a:lnTo>
                <a:close/>
                <a:moveTo>
                  <a:pt x="2549" y="1642"/>
                </a:moveTo>
                <a:lnTo>
                  <a:pt x="2273" y="1642"/>
                </a:lnTo>
                <a:lnTo>
                  <a:pt x="2273" y="1259"/>
                </a:lnTo>
                <a:lnTo>
                  <a:pt x="2549" y="1259"/>
                </a:lnTo>
                <a:lnTo>
                  <a:pt x="2549" y="1642"/>
                </a:lnTo>
                <a:close/>
                <a:moveTo>
                  <a:pt x="2549" y="2156"/>
                </a:moveTo>
                <a:lnTo>
                  <a:pt x="2273" y="2156"/>
                </a:lnTo>
                <a:lnTo>
                  <a:pt x="2273" y="1772"/>
                </a:lnTo>
                <a:lnTo>
                  <a:pt x="2549" y="1772"/>
                </a:lnTo>
                <a:lnTo>
                  <a:pt x="2549" y="2156"/>
                </a:lnTo>
                <a:close/>
                <a:moveTo>
                  <a:pt x="2549" y="2669"/>
                </a:moveTo>
                <a:lnTo>
                  <a:pt x="2273" y="2669"/>
                </a:lnTo>
                <a:lnTo>
                  <a:pt x="2273" y="2286"/>
                </a:lnTo>
                <a:lnTo>
                  <a:pt x="2549" y="2286"/>
                </a:lnTo>
                <a:lnTo>
                  <a:pt x="2549" y="2669"/>
                </a:lnTo>
                <a:close/>
                <a:moveTo>
                  <a:pt x="2549" y="3182"/>
                </a:moveTo>
                <a:lnTo>
                  <a:pt x="2273" y="3182"/>
                </a:lnTo>
                <a:lnTo>
                  <a:pt x="2273" y="2799"/>
                </a:lnTo>
                <a:lnTo>
                  <a:pt x="2549" y="2799"/>
                </a:lnTo>
                <a:lnTo>
                  <a:pt x="2549" y="3182"/>
                </a:lnTo>
                <a:close/>
                <a:moveTo>
                  <a:pt x="2549" y="3695"/>
                </a:moveTo>
                <a:lnTo>
                  <a:pt x="2273" y="3695"/>
                </a:lnTo>
                <a:lnTo>
                  <a:pt x="2273" y="3312"/>
                </a:lnTo>
                <a:lnTo>
                  <a:pt x="2549" y="3312"/>
                </a:lnTo>
                <a:lnTo>
                  <a:pt x="2549" y="3695"/>
                </a:lnTo>
                <a:close/>
                <a:moveTo>
                  <a:pt x="2549" y="4208"/>
                </a:moveTo>
                <a:lnTo>
                  <a:pt x="2273" y="4208"/>
                </a:lnTo>
                <a:lnTo>
                  <a:pt x="2273" y="3825"/>
                </a:lnTo>
                <a:lnTo>
                  <a:pt x="2549" y="3825"/>
                </a:lnTo>
                <a:lnTo>
                  <a:pt x="2549" y="4208"/>
                </a:lnTo>
                <a:close/>
                <a:moveTo>
                  <a:pt x="2549" y="5175"/>
                </a:moveTo>
                <a:lnTo>
                  <a:pt x="2273" y="5175"/>
                </a:lnTo>
                <a:lnTo>
                  <a:pt x="2273" y="4340"/>
                </a:lnTo>
                <a:lnTo>
                  <a:pt x="2549" y="4340"/>
                </a:lnTo>
                <a:lnTo>
                  <a:pt x="2549" y="5175"/>
                </a:lnTo>
                <a:close/>
                <a:moveTo>
                  <a:pt x="2668" y="3825"/>
                </a:moveTo>
                <a:lnTo>
                  <a:pt x="2943" y="3825"/>
                </a:lnTo>
                <a:lnTo>
                  <a:pt x="2943" y="4208"/>
                </a:lnTo>
                <a:lnTo>
                  <a:pt x="2668" y="4208"/>
                </a:lnTo>
                <a:lnTo>
                  <a:pt x="2668" y="3825"/>
                </a:lnTo>
                <a:close/>
                <a:moveTo>
                  <a:pt x="2668" y="3312"/>
                </a:moveTo>
                <a:lnTo>
                  <a:pt x="2943" y="3312"/>
                </a:lnTo>
                <a:lnTo>
                  <a:pt x="2943" y="3695"/>
                </a:lnTo>
                <a:lnTo>
                  <a:pt x="2668" y="3695"/>
                </a:lnTo>
                <a:lnTo>
                  <a:pt x="2668" y="3312"/>
                </a:lnTo>
                <a:close/>
                <a:moveTo>
                  <a:pt x="2668" y="2799"/>
                </a:moveTo>
                <a:lnTo>
                  <a:pt x="2943" y="2799"/>
                </a:lnTo>
                <a:lnTo>
                  <a:pt x="2943" y="3182"/>
                </a:lnTo>
                <a:lnTo>
                  <a:pt x="2668" y="3182"/>
                </a:lnTo>
                <a:lnTo>
                  <a:pt x="2668" y="2799"/>
                </a:lnTo>
                <a:close/>
                <a:moveTo>
                  <a:pt x="2668" y="2286"/>
                </a:moveTo>
                <a:lnTo>
                  <a:pt x="2943" y="2286"/>
                </a:lnTo>
                <a:lnTo>
                  <a:pt x="2943" y="2669"/>
                </a:lnTo>
                <a:lnTo>
                  <a:pt x="2668" y="2669"/>
                </a:lnTo>
                <a:lnTo>
                  <a:pt x="2668" y="2286"/>
                </a:lnTo>
                <a:close/>
                <a:moveTo>
                  <a:pt x="2668" y="1772"/>
                </a:moveTo>
                <a:lnTo>
                  <a:pt x="2943" y="1772"/>
                </a:lnTo>
                <a:lnTo>
                  <a:pt x="2943" y="2156"/>
                </a:lnTo>
                <a:lnTo>
                  <a:pt x="2668" y="2156"/>
                </a:lnTo>
                <a:lnTo>
                  <a:pt x="2668" y="1772"/>
                </a:lnTo>
                <a:close/>
                <a:moveTo>
                  <a:pt x="2668" y="1259"/>
                </a:moveTo>
                <a:lnTo>
                  <a:pt x="2943" y="1259"/>
                </a:lnTo>
                <a:lnTo>
                  <a:pt x="2943" y="1642"/>
                </a:lnTo>
                <a:lnTo>
                  <a:pt x="2668" y="1642"/>
                </a:lnTo>
                <a:lnTo>
                  <a:pt x="2668" y="1259"/>
                </a:lnTo>
                <a:close/>
                <a:moveTo>
                  <a:pt x="2668" y="746"/>
                </a:moveTo>
                <a:lnTo>
                  <a:pt x="2943" y="746"/>
                </a:lnTo>
                <a:lnTo>
                  <a:pt x="2943" y="1129"/>
                </a:lnTo>
                <a:lnTo>
                  <a:pt x="2668" y="1129"/>
                </a:lnTo>
                <a:lnTo>
                  <a:pt x="2668" y="746"/>
                </a:lnTo>
                <a:close/>
                <a:moveTo>
                  <a:pt x="2668" y="233"/>
                </a:moveTo>
                <a:lnTo>
                  <a:pt x="2943" y="233"/>
                </a:lnTo>
                <a:lnTo>
                  <a:pt x="2943" y="616"/>
                </a:lnTo>
                <a:lnTo>
                  <a:pt x="2668" y="616"/>
                </a:lnTo>
                <a:lnTo>
                  <a:pt x="2668" y="233"/>
                </a:lnTo>
                <a:close/>
                <a:moveTo>
                  <a:pt x="3062" y="3825"/>
                </a:moveTo>
                <a:lnTo>
                  <a:pt x="3338" y="3825"/>
                </a:lnTo>
                <a:lnTo>
                  <a:pt x="3338" y="4208"/>
                </a:lnTo>
                <a:lnTo>
                  <a:pt x="3062" y="4208"/>
                </a:lnTo>
                <a:lnTo>
                  <a:pt x="3062" y="3825"/>
                </a:lnTo>
                <a:close/>
                <a:moveTo>
                  <a:pt x="3062" y="3312"/>
                </a:moveTo>
                <a:lnTo>
                  <a:pt x="3338" y="3312"/>
                </a:lnTo>
                <a:lnTo>
                  <a:pt x="3338" y="3695"/>
                </a:lnTo>
                <a:lnTo>
                  <a:pt x="3062" y="3695"/>
                </a:lnTo>
                <a:lnTo>
                  <a:pt x="3062" y="3312"/>
                </a:lnTo>
                <a:close/>
                <a:moveTo>
                  <a:pt x="3062" y="2799"/>
                </a:moveTo>
                <a:lnTo>
                  <a:pt x="3338" y="2799"/>
                </a:lnTo>
                <a:lnTo>
                  <a:pt x="3338" y="3182"/>
                </a:lnTo>
                <a:lnTo>
                  <a:pt x="3062" y="3182"/>
                </a:lnTo>
                <a:lnTo>
                  <a:pt x="3062" y="2799"/>
                </a:lnTo>
                <a:close/>
                <a:moveTo>
                  <a:pt x="3062" y="2286"/>
                </a:moveTo>
                <a:lnTo>
                  <a:pt x="3338" y="2286"/>
                </a:lnTo>
                <a:lnTo>
                  <a:pt x="3338" y="2669"/>
                </a:lnTo>
                <a:lnTo>
                  <a:pt x="3062" y="2669"/>
                </a:lnTo>
                <a:lnTo>
                  <a:pt x="3062" y="2286"/>
                </a:lnTo>
                <a:close/>
                <a:moveTo>
                  <a:pt x="3062" y="1772"/>
                </a:moveTo>
                <a:lnTo>
                  <a:pt x="3338" y="1772"/>
                </a:lnTo>
                <a:lnTo>
                  <a:pt x="3338" y="2156"/>
                </a:lnTo>
                <a:lnTo>
                  <a:pt x="3062" y="2156"/>
                </a:lnTo>
                <a:lnTo>
                  <a:pt x="3062" y="1772"/>
                </a:lnTo>
                <a:close/>
                <a:moveTo>
                  <a:pt x="3062" y="1259"/>
                </a:moveTo>
                <a:lnTo>
                  <a:pt x="3338" y="1259"/>
                </a:lnTo>
                <a:lnTo>
                  <a:pt x="3338" y="1642"/>
                </a:lnTo>
                <a:lnTo>
                  <a:pt x="3062" y="1642"/>
                </a:lnTo>
                <a:lnTo>
                  <a:pt x="3062" y="1259"/>
                </a:lnTo>
                <a:close/>
                <a:moveTo>
                  <a:pt x="3062" y="746"/>
                </a:moveTo>
                <a:lnTo>
                  <a:pt x="3338" y="746"/>
                </a:lnTo>
                <a:lnTo>
                  <a:pt x="3338" y="1129"/>
                </a:lnTo>
                <a:lnTo>
                  <a:pt x="3062" y="1129"/>
                </a:lnTo>
                <a:lnTo>
                  <a:pt x="3062" y="746"/>
                </a:lnTo>
                <a:close/>
                <a:moveTo>
                  <a:pt x="3062" y="233"/>
                </a:moveTo>
                <a:lnTo>
                  <a:pt x="3338" y="233"/>
                </a:lnTo>
                <a:lnTo>
                  <a:pt x="3338" y="616"/>
                </a:lnTo>
                <a:lnTo>
                  <a:pt x="3062" y="616"/>
                </a:lnTo>
                <a:lnTo>
                  <a:pt x="3062" y="233"/>
                </a:lnTo>
                <a:close/>
                <a:moveTo>
                  <a:pt x="3456" y="3825"/>
                </a:moveTo>
                <a:lnTo>
                  <a:pt x="3732" y="3825"/>
                </a:lnTo>
                <a:lnTo>
                  <a:pt x="3732" y="4208"/>
                </a:lnTo>
                <a:lnTo>
                  <a:pt x="3456" y="4208"/>
                </a:lnTo>
                <a:lnTo>
                  <a:pt x="3456" y="3825"/>
                </a:lnTo>
                <a:close/>
                <a:moveTo>
                  <a:pt x="3456" y="3312"/>
                </a:moveTo>
                <a:lnTo>
                  <a:pt x="3732" y="3312"/>
                </a:lnTo>
                <a:lnTo>
                  <a:pt x="3732" y="3695"/>
                </a:lnTo>
                <a:lnTo>
                  <a:pt x="3456" y="3695"/>
                </a:lnTo>
                <a:lnTo>
                  <a:pt x="3456" y="3312"/>
                </a:lnTo>
                <a:close/>
                <a:moveTo>
                  <a:pt x="3456" y="2799"/>
                </a:moveTo>
                <a:lnTo>
                  <a:pt x="3732" y="2799"/>
                </a:lnTo>
                <a:lnTo>
                  <a:pt x="3732" y="3182"/>
                </a:lnTo>
                <a:lnTo>
                  <a:pt x="3456" y="3182"/>
                </a:lnTo>
                <a:lnTo>
                  <a:pt x="3456" y="2799"/>
                </a:lnTo>
                <a:close/>
                <a:moveTo>
                  <a:pt x="3456" y="2286"/>
                </a:moveTo>
                <a:lnTo>
                  <a:pt x="3732" y="2286"/>
                </a:lnTo>
                <a:lnTo>
                  <a:pt x="3732" y="2669"/>
                </a:lnTo>
                <a:lnTo>
                  <a:pt x="3456" y="2669"/>
                </a:lnTo>
                <a:lnTo>
                  <a:pt x="3456" y="2286"/>
                </a:lnTo>
                <a:close/>
                <a:moveTo>
                  <a:pt x="3456" y="1772"/>
                </a:moveTo>
                <a:lnTo>
                  <a:pt x="3732" y="1772"/>
                </a:lnTo>
                <a:lnTo>
                  <a:pt x="3732" y="2156"/>
                </a:lnTo>
                <a:lnTo>
                  <a:pt x="3456" y="2156"/>
                </a:lnTo>
                <a:lnTo>
                  <a:pt x="3456" y="1772"/>
                </a:lnTo>
                <a:close/>
                <a:moveTo>
                  <a:pt x="3456" y="1259"/>
                </a:moveTo>
                <a:lnTo>
                  <a:pt x="3732" y="1259"/>
                </a:lnTo>
                <a:lnTo>
                  <a:pt x="3732" y="1642"/>
                </a:lnTo>
                <a:lnTo>
                  <a:pt x="3456" y="1642"/>
                </a:lnTo>
                <a:lnTo>
                  <a:pt x="3456" y="1259"/>
                </a:lnTo>
                <a:close/>
                <a:moveTo>
                  <a:pt x="3456" y="746"/>
                </a:moveTo>
                <a:lnTo>
                  <a:pt x="3732" y="746"/>
                </a:lnTo>
                <a:lnTo>
                  <a:pt x="3732" y="1129"/>
                </a:lnTo>
                <a:lnTo>
                  <a:pt x="3456" y="1129"/>
                </a:lnTo>
                <a:lnTo>
                  <a:pt x="3456" y="746"/>
                </a:lnTo>
                <a:close/>
                <a:moveTo>
                  <a:pt x="3456" y="233"/>
                </a:moveTo>
                <a:lnTo>
                  <a:pt x="3732" y="233"/>
                </a:lnTo>
                <a:lnTo>
                  <a:pt x="3732" y="616"/>
                </a:lnTo>
                <a:lnTo>
                  <a:pt x="3456" y="616"/>
                </a:lnTo>
                <a:lnTo>
                  <a:pt x="3456" y="233"/>
                </a:lnTo>
                <a:close/>
                <a:moveTo>
                  <a:pt x="711" y="4913"/>
                </a:moveTo>
                <a:lnTo>
                  <a:pt x="1094" y="4913"/>
                </a:lnTo>
                <a:lnTo>
                  <a:pt x="1094" y="5175"/>
                </a:lnTo>
                <a:lnTo>
                  <a:pt x="711" y="5175"/>
                </a:lnTo>
                <a:lnTo>
                  <a:pt x="711" y="4913"/>
                </a:lnTo>
                <a:close/>
                <a:moveTo>
                  <a:pt x="711" y="4539"/>
                </a:moveTo>
                <a:lnTo>
                  <a:pt x="1094" y="4539"/>
                </a:lnTo>
                <a:lnTo>
                  <a:pt x="1094" y="4801"/>
                </a:lnTo>
                <a:lnTo>
                  <a:pt x="711" y="4801"/>
                </a:lnTo>
                <a:lnTo>
                  <a:pt x="711" y="4539"/>
                </a:lnTo>
                <a:close/>
                <a:moveTo>
                  <a:pt x="711" y="4165"/>
                </a:moveTo>
                <a:lnTo>
                  <a:pt x="1094" y="4165"/>
                </a:lnTo>
                <a:lnTo>
                  <a:pt x="1094" y="4427"/>
                </a:lnTo>
                <a:lnTo>
                  <a:pt x="711" y="4427"/>
                </a:lnTo>
                <a:lnTo>
                  <a:pt x="711" y="4165"/>
                </a:lnTo>
                <a:close/>
                <a:moveTo>
                  <a:pt x="711" y="3790"/>
                </a:moveTo>
                <a:lnTo>
                  <a:pt x="1094" y="3790"/>
                </a:lnTo>
                <a:lnTo>
                  <a:pt x="1094" y="4052"/>
                </a:lnTo>
                <a:lnTo>
                  <a:pt x="711" y="4052"/>
                </a:lnTo>
                <a:lnTo>
                  <a:pt x="711" y="3790"/>
                </a:lnTo>
                <a:close/>
                <a:moveTo>
                  <a:pt x="711" y="3416"/>
                </a:moveTo>
                <a:lnTo>
                  <a:pt x="1094" y="3416"/>
                </a:lnTo>
                <a:lnTo>
                  <a:pt x="1094" y="3678"/>
                </a:lnTo>
                <a:lnTo>
                  <a:pt x="711" y="3678"/>
                </a:lnTo>
                <a:lnTo>
                  <a:pt x="711" y="3416"/>
                </a:lnTo>
                <a:close/>
                <a:moveTo>
                  <a:pt x="1261" y="4913"/>
                </a:moveTo>
                <a:lnTo>
                  <a:pt x="1644" y="4913"/>
                </a:lnTo>
                <a:lnTo>
                  <a:pt x="1644" y="5175"/>
                </a:lnTo>
                <a:lnTo>
                  <a:pt x="1261" y="5175"/>
                </a:lnTo>
                <a:lnTo>
                  <a:pt x="1261" y="4913"/>
                </a:lnTo>
                <a:close/>
                <a:moveTo>
                  <a:pt x="1261" y="4539"/>
                </a:moveTo>
                <a:lnTo>
                  <a:pt x="1644" y="4539"/>
                </a:lnTo>
                <a:lnTo>
                  <a:pt x="1644" y="4801"/>
                </a:lnTo>
                <a:lnTo>
                  <a:pt x="1261" y="4801"/>
                </a:lnTo>
                <a:lnTo>
                  <a:pt x="1261" y="4539"/>
                </a:lnTo>
                <a:close/>
                <a:moveTo>
                  <a:pt x="1261" y="4165"/>
                </a:moveTo>
                <a:lnTo>
                  <a:pt x="1644" y="4165"/>
                </a:lnTo>
                <a:lnTo>
                  <a:pt x="1644" y="4427"/>
                </a:lnTo>
                <a:lnTo>
                  <a:pt x="1261" y="4427"/>
                </a:lnTo>
                <a:lnTo>
                  <a:pt x="1261" y="4165"/>
                </a:lnTo>
                <a:close/>
                <a:moveTo>
                  <a:pt x="1261" y="3790"/>
                </a:moveTo>
                <a:lnTo>
                  <a:pt x="1644" y="3790"/>
                </a:lnTo>
                <a:lnTo>
                  <a:pt x="1644" y="4052"/>
                </a:lnTo>
                <a:lnTo>
                  <a:pt x="1261" y="4052"/>
                </a:lnTo>
                <a:lnTo>
                  <a:pt x="1261" y="3790"/>
                </a:lnTo>
                <a:close/>
                <a:moveTo>
                  <a:pt x="1261" y="3416"/>
                </a:moveTo>
                <a:lnTo>
                  <a:pt x="1644" y="3416"/>
                </a:lnTo>
                <a:lnTo>
                  <a:pt x="1644" y="3678"/>
                </a:lnTo>
                <a:lnTo>
                  <a:pt x="1261" y="3678"/>
                </a:lnTo>
                <a:lnTo>
                  <a:pt x="1261" y="3416"/>
                </a:lnTo>
                <a:close/>
                <a:moveTo>
                  <a:pt x="5922" y="5175"/>
                </a:moveTo>
                <a:lnTo>
                  <a:pt x="5922" y="1364"/>
                </a:lnTo>
                <a:lnTo>
                  <a:pt x="6078" y="1364"/>
                </a:lnTo>
                <a:lnTo>
                  <a:pt x="6078" y="1131"/>
                </a:lnTo>
                <a:lnTo>
                  <a:pt x="4555" y="1131"/>
                </a:lnTo>
                <a:lnTo>
                  <a:pt x="4555" y="5175"/>
                </a:lnTo>
                <a:lnTo>
                  <a:pt x="4355" y="5175"/>
                </a:lnTo>
                <a:lnTo>
                  <a:pt x="4355" y="233"/>
                </a:lnTo>
                <a:lnTo>
                  <a:pt x="4511" y="233"/>
                </a:lnTo>
                <a:lnTo>
                  <a:pt x="4511" y="0"/>
                </a:lnTo>
                <a:lnTo>
                  <a:pt x="1889" y="0"/>
                </a:lnTo>
                <a:lnTo>
                  <a:pt x="1889" y="233"/>
                </a:lnTo>
                <a:lnTo>
                  <a:pt x="2044" y="233"/>
                </a:lnTo>
                <a:lnTo>
                  <a:pt x="2044" y="5175"/>
                </a:lnTo>
                <a:lnTo>
                  <a:pt x="1844" y="5175"/>
                </a:lnTo>
                <a:lnTo>
                  <a:pt x="1844" y="3183"/>
                </a:lnTo>
                <a:lnTo>
                  <a:pt x="322" y="3183"/>
                </a:lnTo>
                <a:lnTo>
                  <a:pt x="322" y="3416"/>
                </a:lnTo>
                <a:lnTo>
                  <a:pt x="478" y="3416"/>
                </a:lnTo>
                <a:lnTo>
                  <a:pt x="478" y="5175"/>
                </a:lnTo>
                <a:lnTo>
                  <a:pt x="0" y="5175"/>
                </a:lnTo>
                <a:lnTo>
                  <a:pt x="0" y="5525"/>
                </a:lnTo>
                <a:lnTo>
                  <a:pt x="6400" y="5525"/>
                </a:lnTo>
                <a:lnTo>
                  <a:pt x="6400" y="5175"/>
                </a:lnTo>
                <a:lnTo>
                  <a:pt x="5922" y="5175"/>
                </a:ln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73" name="Building4" descr="{&quot;Key&quot;:&quot;POWER_USER_SHAPE_ICON&quot;,&quot;Value&quot;:&quot;POWER_USER_SHAPE_ICON_STYLE_1&quot;}">
            <a:extLst>
              <a:ext uri="{FF2B5EF4-FFF2-40B4-BE49-F238E27FC236}">
                <a16:creationId xmlns:a16="http://schemas.microsoft.com/office/drawing/2014/main" id="{19A6938F-C6C4-4578-B01C-90BCE5CD44AE}"/>
              </a:ext>
            </a:extLst>
          </p:cNvPr>
          <p:cNvGrpSpPr>
            <a:grpSpLocks noChangeAspect="1"/>
          </p:cNvGrpSpPr>
          <p:nvPr/>
        </p:nvGrpSpPr>
        <p:grpSpPr>
          <a:xfrm>
            <a:off x="1002889" y="2798276"/>
            <a:ext cx="422787" cy="644573"/>
            <a:chOff x="9570934" y="4356273"/>
            <a:chExt cx="158842" cy="242168"/>
          </a:xfrm>
          <a:solidFill>
            <a:schemeClr val="accent1">
              <a:lumMod val="75000"/>
            </a:schemeClr>
          </a:solidFill>
        </p:grpSpPr>
        <p:sp>
          <p:nvSpPr>
            <p:cNvPr id="174" name="Building5">
              <a:extLst>
                <a:ext uri="{FF2B5EF4-FFF2-40B4-BE49-F238E27FC236}">
                  <a16:creationId xmlns:a16="http://schemas.microsoft.com/office/drawing/2014/main" id="{B85D2B73-B2C1-4B65-8D81-4BE171550E7C}"/>
                </a:ext>
              </a:extLst>
            </p:cNvPr>
            <p:cNvSpPr>
              <a:spLocks noChangeArrowheads="1"/>
            </p:cNvSpPr>
            <p:nvPr>
              <p:custDataLst>
                <p:tags r:id="rId17"/>
              </p:custDataLst>
            </p:nvPr>
          </p:nvSpPr>
          <p:spPr bwMode="auto">
            <a:xfrm>
              <a:off x="9649053" y="4543758"/>
              <a:ext cx="1302" cy="130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Building5">
              <a:extLst>
                <a:ext uri="{FF2B5EF4-FFF2-40B4-BE49-F238E27FC236}">
                  <a16:creationId xmlns:a16="http://schemas.microsoft.com/office/drawing/2014/main" id="{6756A1F0-5C28-4B4D-8B44-DFE4549CFECC}"/>
                </a:ext>
              </a:extLst>
            </p:cNvPr>
            <p:cNvSpPr>
              <a:spLocks noChangeArrowheads="1"/>
            </p:cNvSpPr>
            <p:nvPr>
              <p:custDataLst>
                <p:tags r:id="rId18"/>
              </p:custDataLst>
            </p:nvPr>
          </p:nvSpPr>
          <p:spPr bwMode="auto">
            <a:xfrm>
              <a:off x="9649053" y="4543758"/>
              <a:ext cx="1302" cy="130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Building5">
              <a:extLst>
                <a:ext uri="{FF2B5EF4-FFF2-40B4-BE49-F238E27FC236}">
                  <a16:creationId xmlns:a16="http://schemas.microsoft.com/office/drawing/2014/main" id="{B3E4C8A9-269E-4E39-BC1C-E12E0C029CA9}"/>
                </a:ext>
              </a:extLst>
            </p:cNvPr>
            <p:cNvSpPr>
              <a:spLocks noChangeArrowheads="1"/>
            </p:cNvSpPr>
            <p:nvPr>
              <p:custDataLst>
                <p:tags r:id="rId19"/>
              </p:custDataLst>
            </p:nvPr>
          </p:nvSpPr>
          <p:spPr bwMode="auto">
            <a:xfrm>
              <a:off x="9650355" y="4543758"/>
              <a:ext cx="1302" cy="130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Building5">
              <a:extLst>
                <a:ext uri="{FF2B5EF4-FFF2-40B4-BE49-F238E27FC236}">
                  <a16:creationId xmlns:a16="http://schemas.microsoft.com/office/drawing/2014/main" id="{6836A47A-A4F3-4DA5-87AA-DDAD6C44E01A}"/>
                </a:ext>
              </a:extLst>
            </p:cNvPr>
            <p:cNvSpPr>
              <a:spLocks/>
            </p:cNvSpPr>
            <p:nvPr>
              <p:custDataLst>
                <p:tags r:id="rId20"/>
              </p:custDataLst>
            </p:nvPr>
          </p:nvSpPr>
          <p:spPr bwMode="auto">
            <a:xfrm>
              <a:off x="9570934" y="4597139"/>
              <a:ext cx="1302" cy="1302"/>
            </a:xfrm>
            <a:custGeom>
              <a:avLst/>
              <a:gdLst>
                <a:gd name="T0" fmla="*/ 2 w 2"/>
                <a:gd name="T1" fmla="*/ 4 h 4"/>
                <a:gd name="T2" fmla="*/ 0 w 2"/>
                <a:gd name="T3" fmla="*/ 4 h 4"/>
                <a:gd name="T4" fmla="*/ 0 w 2"/>
                <a:gd name="T5" fmla="*/ 0 h 4"/>
                <a:gd name="T6" fmla="*/ 2 w 2"/>
                <a:gd name="T7" fmla="*/ 4 h 4"/>
              </a:gdLst>
              <a:ahLst/>
              <a:cxnLst>
                <a:cxn ang="0">
                  <a:pos x="T0" y="T1"/>
                </a:cxn>
                <a:cxn ang="0">
                  <a:pos x="T2" y="T3"/>
                </a:cxn>
                <a:cxn ang="0">
                  <a:pos x="T4" y="T5"/>
                </a:cxn>
                <a:cxn ang="0">
                  <a:pos x="T6" y="T7"/>
                </a:cxn>
              </a:cxnLst>
              <a:rect l="0" t="0" r="r" b="b"/>
              <a:pathLst>
                <a:path w="2" h="4">
                  <a:moveTo>
                    <a:pt x="2" y="4"/>
                  </a:moveTo>
                  <a:lnTo>
                    <a:pt x="0" y="4"/>
                  </a:lnTo>
                  <a:lnTo>
                    <a:pt x="0" y="0"/>
                  </a:lnTo>
                  <a:cubicBezTo>
                    <a:pt x="0" y="1"/>
                    <a:pt x="1" y="2"/>
                    <a:pt x="2"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Building5">
              <a:extLst>
                <a:ext uri="{FF2B5EF4-FFF2-40B4-BE49-F238E27FC236}">
                  <a16:creationId xmlns:a16="http://schemas.microsoft.com/office/drawing/2014/main" id="{8AC28C6D-D5CD-4B05-8DA1-6556CA42154F}"/>
                </a:ext>
              </a:extLst>
            </p:cNvPr>
            <p:cNvSpPr>
              <a:spLocks noEditPoints="1"/>
            </p:cNvSpPr>
            <p:nvPr>
              <p:custDataLst>
                <p:tags r:id="rId21"/>
              </p:custDataLst>
            </p:nvPr>
          </p:nvSpPr>
          <p:spPr bwMode="auto">
            <a:xfrm>
              <a:off x="9577444" y="4356273"/>
              <a:ext cx="144520" cy="221336"/>
            </a:xfrm>
            <a:custGeom>
              <a:avLst/>
              <a:gdLst>
                <a:gd name="T0" fmla="*/ 256 w 296"/>
                <a:gd name="T1" fmla="*/ 400 h 451"/>
                <a:gd name="T2" fmla="*/ 256 w 296"/>
                <a:gd name="T3" fmla="*/ 76 h 451"/>
                <a:gd name="T4" fmla="*/ 40 w 296"/>
                <a:gd name="T5" fmla="*/ 0 h 451"/>
                <a:gd name="T6" fmla="*/ 40 w 296"/>
                <a:gd name="T7" fmla="*/ 400 h 451"/>
                <a:gd name="T8" fmla="*/ 0 w 296"/>
                <a:gd name="T9" fmla="*/ 400 h 451"/>
                <a:gd name="T10" fmla="*/ 0 w 296"/>
                <a:gd name="T11" fmla="*/ 447 h 451"/>
                <a:gd name="T12" fmla="*/ 2 w 296"/>
                <a:gd name="T13" fmla="*/ 451 h 451"/>
                <a:gd name="T14" fmla="*/ 295 w 296"/>
                <a:gd name="T15" fmla="*/ 451 h 451"/>
                <a:gd name="T16" fmla="*/ 296 w 296"/>
                <a:gd name="T17" fmla="*/ 447 h 451"/>
                <a:gd name="T18" fmla="*/ 296 w 296"/>
                <a:gd name="T19" fmla="*/ 400 h 451"/>
                <a:gd name="T20" fmla="*/ 256 w 296"/>
                <a:gd name="T21" fmla="*/ 400 h 451"/>
                <a:gd name="T22" fmla="*/ 234 w 296"/>
                <a:gd name="T23" fmla="*/ 369 h 451"/>
                <a:gd name="T24" fmla="*/ 62 w 296"/>
                <a:gd name="T25" fmla="*/ 369 h 451"/>
                <a:gd name="T26" fmla="*/ 62 w 296"/>
                <a:gd name="T27" fmla="*/ 353 h 451"/>
                <a:gd name="T28" fmla="*/ 234 w 296"/>
                <a:gd name="T29" fmla="*/ 353 h 451"/>
                <a:gd name="T30" fmla="*/ 234 w 296"/>
                <a:gd name="T31" fmla="*/ 369 h 451"/>
                <a:gd name="T32" fmla="*/ 148 w 296"/>
                <a:gd name="T33" fmla="*/ 349 h 451"/>
                <a:gd name="T34" fmla="*/ 148 w 296"/>
                <a:gd name="T35" fmla="*/ 348 h 451"/>
                <a:gd name="T36" fmla="*/ 148 w 296"/>
                <a:gd name="T37" fmla="*/ 348 h 451"/>
                <a:gd name="T38" fmla="*/ 148 w 296"/>
                <a:gd name="T39" fmla="*/ 349 h 451"/>
                <a:gd name="T40" fmla="*/ 234 w 296"/>
                <a:gd name="T41" fmla="*/ 337 h 451"/>
                <a:gd name="T42" fmla="*/ 62 w 296"/>
                <a:gd name="T43" fmla="*/ 337 h 451"/>
                <a:gd name="T44" fmla="*/ 62 w 296"/>
                <a:gd name="T45" fmla="*/ 321 h 451"/>
                <a:gd name="T46" fmla="*/ 234 w 296"/>
                <a:gd name="T47" fmla="*/ 321 h 451"/>
                <a:gd name="T48" fmla="*/ 234 w 296"/>
                <a:gd name="T49" fmla="*/ 337 h 451"/>
                <a:gd name="T50" fmla="*/ 234 w 296"/>
                <a:gd name="T51" fmla="*/ 304 h 451"/>
                <a:gd name="T52" fmla="*/ 62 w 296"/>
                <a:gd name="T53" fmla="*/ 304 h 451"/>
                <a:gd name="T54" fmla="*/ 62 w 296"/>
                <a:gd name="T55" fmla="*/ 288 h 451"/>
                <a:gd name="T56" fmla="*/ 234 w 296"/>
                <a:gd name="T57" fmla="*/ 288 h 451"/>
                <a:gd name="T58" fmla="*/ 234 w 296"/>
                <a:gd name="T59" fmla="*/ 304 h 451"/>
                <a:gd name="T60" fmla="*/ 234 w 296"/>
                <a:gd name="T61" fmla="*/ 272 h 451"/>
                <a:gd name="T62" fmla="*/ 62 w 296"/>
                <a:gd name="T63" fmla="*/ 272 h 451"/>
                <a:gd name="T64" fmla="*/ 62 w 296"/>
                <a:gd name="T65" fmla="*/ 255 h 451"/>
                <a:gd name="T66" fmla="*/ 234 w 296"/>
                <a:gd name="T67" fmla="*/ 255 h 451"/>
                <a:gd name="T68" fmla="*/ 234 w 296"/>
                <a:gd name="T69" fmla="*/ 272 h 451"/>
                <a:gd name="T70" fmla="*/ 234 w 296"/>
                <a:gd name="T71" fmla="*/ 239 h 451"/>
                <a:gd name="T72" fmla="*/ 62 w 296"/>
                <a:gd name="T73" fmla="*/ 239 h 451"/>
                <a:gd name="T74" fmla="*/ 62 w 296"/>
                <a:gd name="T75" fmla="*/ 223 h 451"/>
                <a:gd name="T76" fmla="*/ 234 w 296"/>
                <a:gd name="T77" fmla="*/ 223 h 451"/>
                <a:gd name="T78" fmla="*/ 234 w 296"/>
                <a:gd name="T79" fmla="*/ 239 h 451"/>
                <a:gd name="T80" fmla="*/ 234 w 296"/>
                <a:gd name="T81" fmla="*/ 207 h 451"/>
                <a:gd name="T82" fmla="*/ 62 w 296"/>
                <a:gd name="T83" fmla="*/ 207 h 451"/>
                <a:gd name="T84" fmla="*/ 62 w 296"/>
                <a:gd name="T85" fmla="*/ 190 h 451"/>
                <a:gd name="T86" fmla="*/ 234 w 296"/>
                <a:gd name="T87" fmla="*/ 190 h 451"/>
                <a:gd name="T88" fmla="*/ 234 w 296"/>
                <a:gd name="T89" fmla="*/ 207 h 451"/>
                <a:gd name="T90" fmla="*/ 234 w 296"/>
                <a:gd name="T91" fmla="*/ 174 h 451"/>
                <a:gd name="T92" fmla="*/ 62 w 296"/>
                <a:gd name="T93" fmla="*/ 174 h 451"/>
                <a:gd name="T94" fmla="*/ 62 w 296"/>
                <a:gd name="T95" fmla="*/ 158 h 451"/>
                <a:gd name="T96" fmla="*/ 234 w 296"/>
                <a:gd name="T97" fmla="*/ 158 h 451"/>
                <a:gd name="T98" fmla="*/ 234 w 296"/>
                <a:gd name="T99" fmla="*/ 174 h 451"/>
                <a:gd name="T100" fmla="*/ 234 w 296"/>
                <a:gd name="T101" fmla="*/ 141 h 451"/>
                <a:gd name="T102" fmla="*/ 62 w 296"/>
                <a:gd name="T103" fmla="*/ 141 h 451"/>
                <a:gd name="T104" fmla="*/ 62 w 296"/>
                <a:gd name="T105" fmla="*/ 125 h 451"/>
                <a:gd name="T106" fmla="*/ 234 w 296"/>
                <a:gd name="T107" fmla="*/ 125 h 451"/>
                <a:gd name="T108" fmla="*/ 234 w 296"/>
                <a:gd name="T109" fmla="*/ 14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6" h="451">
                  <a:moveTo>
                    <a:pt x="256" y="400"/>
                  </a:moveTo>
                  <a:lnTo>
                    <a:pt x="256" y="76"/>
                  </a:lnTo>
                  <a:lnTo>
                    <a:pt x="40" y="0"/>
                  </a:lnTo>
                  <a:lnTo>
                    <a:pt x="40" y="400"/>
                  </a:lnTo>
                  <a:lnTo>
                    <a:pt x="0" y="400"/>
                  </a:lnTo>
                  <a:lnTo>
                    <a:pt x="0" y="447"/>
                  </a:lnTo>
                  <a:cubicBezTo>
                    <a:pt x="0" y="449"/>
                    <a:pt x="1" y="450"/>
                    <a:pt x="2" y="451"/>
                  </a:cubicBezTo>
                  <a:lnTo>
                    <a:pt x="295" y="451"/>
                  </a:lnTo>
                  <a:cubicBezTo>
                    <a:pt x="295" y="450"/>
                    <a:pt x="296" y="448"/>
                    <a:pt x="296" y="447"/>
                  </a:cubicBezTo>
                  <a:lnTo>
                    <a:pt x="296" y="400"/>
                  </a:lnTo>
                  <a:lnTo>
                    <a:pt x="256" y="400"/>
                  </a:lnTo>
                  <a:close/>
                  <a:moveTo>
                    <a:pt x="234" y="369"/>
                  </a:moveTo>
                  <a:lnTo>
                    <a:pt x="62" y="369"/>
                  </a:lnTo>
                  <a:lnTo>
                    <a:pt x="62" y="353"/>
                  </a:lnTo>
                  <a:lnTo>
                    <a:pt x="234" y="353"/>
                  </a:lnTo>
                  <a:lnTo>
                    <a:pt x="234" y="369"/>
                  </a:lnTo>
                  <a:close/>
                  <a:moveTo>
                    <a:pt x="148" y="349"/>
                  </a:moveTo>
                  <a:lnTo>
                    <a:pt x="148" y="348"/>
                  </a:lnTo>
                  <a:lnTo>
                    <a:pt x="148" y="348"/>
                  </a:lnTo>
                  <a:lnTo>
                    <a:pt x="148" y="349"/>
                  </a:lnTo>
                  <a:close/>
                  <a:moveTo>
                    <a:pt x="234" y="337"/>
                  </a:moveTo>
                  <a:lnTo>
                    <a:pt x="62" y="337"/>
                  </a:lnTo>
                  <a:lnTo>
                    <a:pt x="62" y="321"/>
                  </a:lnTo>
                  <a:lnTo>
                    <a:pt x="234" y="321"/>
                  </a:lnTo>
                  <a:lnTo>
                    <a:pt x="234" y="337"/>
                  </a:lnTo>
                  <a:close/>
                  <a:moveTo>
                    <a:pt x="234" y="304"/>
                  </a:moveTo>
                  <a:lnTo>
                    <a:pt x="62" y="304"/>
                  </a:lnTo>
                  <a:lnTo>
                    <a:pt x="62" y="288"/>
                  </a:lnTo>
                  <a:lnTo>
                    <a:pt x="234" y="288"/>
                  </a:lnTo>
                  <a:lnTo>
                    <a:pt x="234" y="304"/>
                  </a:lnTo>
                  <a:close/>
                  <a:moveTo>
                    <a:pt x="234" y="272"/>
                  </a:moveTo>
                  <a:lnTo>
                    <a:pt x="62" y="272"/>
                  </a:lnTo>
                  <a:lnTo>
                    <a:pt x="62" y="255"/>
                  </a:lnTo>
                  <a:lnTo>
                    <a:pt x="234" y="255"/>
                  </a:lnTo>
                  <a:lnTo>
                    <a:pt x="234" y="272"/>
                  </a:lnTo>
                  <a:close/>
                  <a:moveTo>
                    <a:pt x="234" y="239"/>
                  </a:moveTo>
                  <a:lnTo>
                    <a:pt x="62" y="239"/>
                  </a:lnTo>
                  <a:lnTo>
                    <a:pt x="62" y="223"/>
                  </a:lnTo>
                  <a:lnTo>
                    <a:pt x="234" y="223"/>
                  </a:lnTo>
                  <a:lnTo>
                    <a:pt x="234" y="239"/>
                  </a:lnTo>
                  <a:close/>
                  <a:moveTo>
                    <a:pt x="234" y="207"/>
                  </a:moveTo>
                  <a:lnTo>
                    <a:pt x="62" y="207"/>
                  </a:lnTo>
                  <a:lnTo>
                    <a:pt x="62" y="190"/>
                  </a:lnTo>
                  <a:lnTo>
                    <a:pt x="234" y="190"/>
                  </a:lnTo>
                  <a:lnTo>
                    <a:pt x="234" y="207"/>
                  </a:lnTo>
                  <a:close/>
                  <a:moveTo>
                    <a:pt x="234" y="174"/>
                  </a:moveTo>
                  <a:lnTo>
                    <a:pt x="62" y="174"/>
                  </a:lnTo>
                  <a:lnTo>
                    <a:pt x="62" y="158"/>
                  </a:lnTo>
                  <a:lnTo>
                    <a:pt x="234" y="158"/>
                  </a:lnTo>
                  <a:lnTo>
                    <a:pt x="234" y="174"/>
                  </a:lnTo>
                  <a:close/>
                  <a:moveTo>
                    <a:pt x="234" y="141"/>
                  </a:moveTo>
                  <a:lnTo>
                    <a:pt x="62" y="141"/>
                  </a:lnTo>
                  <a:lnTo>
                    <a:pt x="62" y="125"/>
                  </a:lnTo>
                  <a:lnTo>
                    <a:pt x="234" y="125"/>
                  </a:lnTo>
                  <a:lnTo>
                    <a:pt x="234" y="14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Building5">
              <a:extLst>
                <a:ext uri="{FF2B5EF4-FFF2-40B4-BE49-F238E27FC236}">
                  <a16:creationId xmlns:a16="http://schemas.microsoft.com/office/drawing/2014/main" id="{E7B10FE8-ECB4-46A5-910E-A9DFDFB339BB}"/>
                </a:ext>
              </a:extLst>
            </p:cNvPr>
            <p:cNvSpPr>
              <a:spLocks/>
            </p:cNvSpPr>
            <p:nvPr>
              <p:custDataLst>
                <p:tags r:id="rId22"/>
              </p:custDataLst>
            </p:nvPr>
          </p:nvSpPr>
          <p:spPr bwMode="auto">
            <a:xfrm>
              <a:off x="9728474" y="4597139"/>
              <a:ext cx="1302" cy="1302"/>
            </a:xfrm>
            <a:custGeom>
              <a:avLst/>
              <a:gdLst>
                <a:gd name="T0" fmla="*/ 3 w 3"/>
                <a:gd name="T1" fmla="*/ 0 h 4"/>
                <a:gd name="T2" fmla="*/ 3 w 3"/>
                <a:gd name="T3" fmla="*/ 4 h 4"/>
                <a:gd name="T4" fmla="*/ 0 w 3"/>
                <a:gd name="T5" fmla="*/ 4 h 4"/>
                <a:gd name="T6" fmla="*/ 3 w 3"/>
                <a:gd name="T7" fmla="*/ 0 h 4"/>
              </a:gdLst>
              <a:ahLst/>
              <a:cxnLst>
                <a:cxn ang="0">
                  <a:pos x="T0" y="T1"/>
                </a:cxn>
                <a:cxn ang="0">
                  <a:pos x="T2" y="T3"/>
                </a:cxn>
                <a:cxn ang="0">
                  <a:pos x="T4" y="T5"/>
                </a:cxn>
                <a:cxn ang="0">
                  <a:pos x="T6" y="T7"/>
                </a:cxn>
              </a:cxnLst>
              <a:rect l="0" t="0" r="r" b="b"/>
              <a:pathLst>
                <a:path w="3" h="4">
                  <a:moveTo>
                    <a:pt x="3" y="0"/>
                  </a:moveTo>
                  <a:lnTo>
                    <a:pt x="3" y="4"/>
                  </a:lnTo>
                  <a:lnTo>
                    <a:pt x="0" y="4"/>
                  </a:lnTo>
                  <a:cubicBezTo>
                    <a:pt x="1" y="2"/>
                    <a:pt x="2" y="1"/>
                    <a:pt x="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 name="Title 2">
            <a:extLst>
              <a:ext uri="{FF2B5EF4-FFF2-40B4-BE49-F238E27FC236}">
                <a16:creationId xmlns:a16="http://schemas.microsoft.com/office/drawing/2014/main" id="{B5C28B91-DC84-4A43-856A-2BCADC684EDB}"/>
              </a:ext>
            </a:extLst>
          </p:cNvPr>
          <p:cNvSpPr>
            <a:spLocks noGrp="1"/>
          </p:cNvSpPr>
          <p:nvPr>
            <p:ph type="title"/>
          </p:nvPr>
        </p:nvSpPr>
        <p:spPr>
          <a:xfrm>
            <a:off x="254541" y="1524860"/>
            <a:ext cx="11460041" cy="504000"/>
          </a:xfrm>
        </p:spPr>
        <p:txBody>
          <a:bodyPr vert="horz"/>
          <a:lstStyle/>
          <a:p>
            <a:r>
              <a:rPr lang="lt-LT" sz="2000" dirty="0">
                <a:solidFill>
                  <a:schemeClr val="tx1">
                    <a:lumMod val="65000"/>
                    <a:lumOff val="35000"/>
                  </a:schemeClr>
                </a:solidFill>
              </a:rPr>
              <a:t>UAB Festo</a:t>
            </a:r>
            <a:r>
              <a:rPr lang="en-US" sz="2000" dirty="0">
                <a:solidFill>
                  <a:schemeClr val="tx1">
                    <a:lumMod val="65000"/>
                    <a:lumOff val="35000"/>
                  </a:schemeClr>
                </a:solidFill>
              </a:rPr>
              <a:t> </a:t>
            </a:r>
            <a:r>
              <a:rPr lang="en-US" sz="2000" dirty="0" err="1">
                <a:solidFill>
                  <a:schemeClr val="tx1">
                    <a:lumMod val="65000"/>
                    <a:lumOff val="35000"/>
                  </a:schemeClr>
                </a:solidFill>
              </a:rPr>
              <a:t>evoliucija</a:t>
            </a:r>
            <a:r>
              <a:rPr lang="lt-LT" sz="2000" dirty="0">
                <a:solidFill>
                  <a:schemeClr val="tx1">
                    <a:lumMod val="65000"/>
                    <a:lumOff val="35000"/>
                  </a:schemeClr>
                </a:solidFill>
              </a:rPr>
              <a:t> </a:t>
            </a:r>
            <a:r>
              <a:rPr lang="en-GB" sz="2000" dirty="0">
                <a:solidFill>
                  <a:schemeClr val="tx1">
                    <a:lumMod val="65000"/>
                    <a:lumOff val="35000"/>
                  </a:schemeClr>
                </a:solidFill>
              </a:rPr>
              <a:t>| </a:t>
            </a:r>
            <a:r>
              <a:rPr lang="lt-LT" sz="2000" dirty="0">
                <a:solidFill>
                  <a:schemeClr val="accent6">
                    <a:lumMod val="60000"/>
                    <a:lumOff val="40000"/>
                  </a:schemeClr>
                </a:solidFill>
              </a:rPr>
              <a:t>FSSC </a:t>
            </a:r>
            <a:r>
              <a:rPr lang="lt-LT" sz="2000" dirty="0" err="1">
                <a:solidFill>
                  <a:schemeClr val="accent6">
                    <a:lumMod val="60000"/>
                    <a:lumOff val="40000"/>
                  </a:schemeClr>
                </a:solidFill>
              </a:rPr>
              <a:t>Finnance</a:t>
            </a:r>
            <a:r>
              <a:rPr lang="lt-LT" sz="2000" dirty="0">
                <a:solidFill>
                  <a:schemeClr val="accent6">
                    <a:lumMod val="60000"/>
                    <a:lumOff val="40000"/>
                  </a:schemeClr>
                </a:solidFill>
              </a:rPr>
              <a:t> 2017 m.</a:t>
            </a:r>
            <a:endParaRPr lang="en-GB" dirty="0"/>
          </a:p>
        </p:txBody>
      </p:sp>
      <p:sp>
        <p:nvSpPr>
          <p:cNvPr id="170" name="Oval 169">
            <a:extLst>
              <a:ext uri="{FF2B5EF4-FFF2-40B4-BE49-F238E27FC236}">
                <a16:creationId xmlns:a16="http://schemas.microsoft.com/office/drawing/2014/main" id="{26362A74-9A68-4F06-A90B-72BAE3E7E61D}"/>
              </a:ext>
            </a:extLst>
          </p:cNvPr>
          <p:cNvSpPr>
            <a:spLocks noChangeAspect="1"/>
          </p:cNvSpPr>
          <p:nvPr/>
        </p:nvSpPr>
        <p:spPr>
          <a:xfrm>
            <a:off x="8875137" y="4555918"/>
            <a:ext cx="1085679" cy="1085679"/>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171" name="Construction2" descr="{&quot;Key&quot;:&quot;POWER_USER_SHAPE_ICON&quot;,&quot;Value&quot;:&quot;POWER_USER_SHAPE_ICON_STYLE_1&quot;}">
            <a:extLst>
              <a:ext uri="{FF2B5EF4-FFF2-40B4-BE49-F238E27FC236}">
                <a16:creationId xmlns:a16="http://schemas.microsoft.com/office/drawing/2014/main" id="{9861666D-C51B-493B-B6FD-BF8852010EF0}"/>
              </a:ext>
            </a:extLst>
          </p:cNvPr>
          <p:cNvSpPr>
            <a:spLocks noChangeAspect="1" noEditPoints="1"/>
          </p:cNvSpPr>
          <p:nvPr>
            <p:custDataLst>
              <p:tags r:id="rId16"/>
            </p:custDataLst>
          </p:nvPr>
        </p:nvSpPr>
        <p:spPr bwMode="auto">
          <a:xfrm>
            <a:off x="9067449" y="4834217"/>
            <a:ext cx="721355" cy="484314"/>
          </a:xfrm>
          <a:custGeom>
            <a:avLst/>
            <a:gdLst>
              <a:gd name="T0" fmla="*/ 821 w 1127"/>
              <a:gd name="T1" fmla="*/ 408 h 753"/>
              <a:gd name="T2" fmla="*/ 740 w 1127"/>
              <a:gd name="T3" fmla="*/ 424 h 753"/>
              <a:gd name="T4" fmla="*/ 669 w 1127"/>
              <a:gd name="T5" fmla="*/ 526 h 753"/>
              <a:gd name="T6" fmla="*/ 617 w 1127"/>
              <a:gd name="T7" fmla="*/ 512 h 753"/>
              <a:gd name="T8" fmla="*/ 453 w 1127"/>
              <a:gd name="T9" fmla="*/ 482 h 753"/>
              <a:gd name="T10" fmla="*/ 394 w 1127"/>
              <a:gd name="T11" fmla="*/ 355 h 753"/>
              <a:gd name="T12" fmla="*/ 360 w 1127"/>
              <a:gd name="T13" fmla="*/ 169 h 753"/>
              <a:gd name="T14" fmla="*/ 366 w 1127"/>
              <a:gd name="T15" fmla="*/ 141 h 753"/>
              <a:gd name="T16" fmla="*/ 357 w 1127"/>
              <a:gd name="T17" fmla="*/ 0 h 753"/>
              <a:gd name="T18" fmla="*/ 298 w 1127"/>
              <a:gd name="T19" fmla="*/ 109 h 753"/>
              <a:gd name="T20" fmla="*/ 283 w 1127"/>
              <a:gd name="T21" fmla="*/ 138 h 753"/>
              <a:gd name="T22" fmla="*/ 229 w 1127"/>
              <a:gd name="T23" fmla="*/ 140 h 753"/>
              <a:gd name="T24" fmla="*/ 85 w 1127"/>
              <a:gd name="T25" fmla="*/ 223 h 753"/>
              <a:gd name="T26" fmla="*/ 67 w 1127"/>
              <a:gd name="T27" fmla="*/ 333 h 753"/>
              <a:gd name="T28" fmla="*/ 64 w 1127"/>
              <a:gd name="T29" fmla="*/ 355 h 753"/>
              <a:gd name="T30" fmla="*/ 89 w 1127"/>
              <a:gd name="T31" fmla="*/ 371 h 753"/>
              <a:gd name="T32" fmla="*/ 123 w 1127"/>
              <a:gd name="T33" fmla="*/ 363 h 753"/>
              <a:gd name="T34" fmla="*/ 144 w 1127"/>
              <a:gd name="T35" fmla="*/ 367 h 753"/>
              <a:gd name="T36" fmla="*/ 140 w 1127"/>
              <a:gd name="T37" fmla="*/ 528 h 753"/>
              <a:gd name="T38" fmla="*/ 43 w 1127"/>
              <a:gd name="T39" fmla="*/ 684 h 753"/>
              <a:gd name="T40" fmla="*/ 71 w 1127"/>
              <a:gd name="T41" fmla="*/ 708 h 753"/>
              <a:gd name="T42" fmla="*/ 0 w 1127"/>
              <a:gd name="T43" fmla="*/ 718 h 753"/>
              <a:gd name="T44" fmla="*/ 1127 w 1127"/>
              <a:gd name="T45" fmla="*/ 753 h 753"/>
              <a:gd name="T46" fmla="*/ 128 w 1127"/>
              <a:gd name="T47" fmla="*/ 328 h 753"/>
              <a:gd name="T48" fmla="*/ 198 w 1127"/>
              <a:gd name="T49" fmla="*/ 223 h 753"/>
              <a:gd name="T50" fmla="*/ 193 w 1127"/>
              <a:gd name="T51" fmla="*/ 272 h 753"/>
              <a:gd name="T52" fmla="*/ 128 w 1127"/>
              <a:gd name="T53" fmla="*/ 328 h 753"/>
              <a:gd name="T54" fmla="*/ 142 w 1127"/>
              <a:gd name="T55" fmla="*/ 685 h 753"/>
              <a:gd name="T56" fmla="*/ 143 w 1127"/>
              <a:gd name="T57" fmla="*/ 656 h 753"/>
              <a:gd name="T58" fmla="*/ 223 w 1127"/>
              <a:gd name="T59" fmla="*/ 531 h 753"/>
              <a:gd name="T60" fmla="*/ 235 w 1127"/>
              <a:gd name="T61" fmla="*/ 454 h 753"/>
              <a:gd name="T62" fmla="*/ 300 w 1127"/>
              <a:gd name="T63" fmla="*/ 549 h 753"/>
              <a:gd name="T64" fmla="*/ 160 w 1127"/>
              <a:gd name="T65" fmla="*/ 719 h 753"/>
              <a:gd name="T66" fmla="*/ 303 w 1127"/>
              <a:gd name="T67" fmla="*/ 343 h 753"/>
              <a:gd name="T68" fmla="*/ 335 w 1127"/>
              <a:gd name="T69" fmla="*/ 361 h 753"/>
              <a:gd name="T70" fmla="*/ 367 w 1127"/>
              <a:gd name="T71" fmla="*/ 438 h 753"/>
              <a:gd name="T72" fmla="*/ 297 w 1127"/>
              <a:gd name="T73" fmla="*/ 382 h 753"/>
              <a:gd name="T74" fmla="*/ 535 w 1127"/>
              <a:gd name="T75" fmla="*/ 646 h 753"/>
              <a:gd name="T76" fmla="*/ 495 w 1127"/>
              <a:gd name="T77" fmla="*/ 691 h 753"/>
              <a:gd name="T78" fmla="*/ 461 w 1127"/>
              <a:gd name="T79" fmla="*/ 718 h 753"/>
              <a:gd name="T80" fmla="*/ 382 w 1127"/>
              <a:gd name="T81" fmla="*/ 670 h 753"/>
              <a:gd name="T82" fmla="*/ 375 w 1127"/>
              <a:gd name="T83" fmla="*/ 527 h 753"/>
              <a:gd name="T84" fmla="*/ 342 w 1127"/>
              <a:gd name="T85" fmla="*/ 463 h 753"/>
              <a:gd name="T86" fmla="*/ 552 w 1127"/>
              <a:gd name="T87" fmla="*/ 586 h 753"/>
              <a:gd name="T88" fmla="*/ 583 w 1127"/>
              <a:gd name="T89" fmla="*/ 616 h 753"/>
              <a:gd name="T90" fmla="*/ 548 w 1127"/>
              <a:gd name="T91" fmla="*/ 641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7" h="753">
                <a:moveTo>
                  <a:pt x="871" y="399"/>
                </a:moveTo>
                <a:cubicBezTo>
                  <a:pt x="856" y="377"/>
                  <a:pt x="827" y="404"/>
                  <a:pt x="821" y="408"/>
                </a:cubicBezTo>
                <a:cubicBezTo>
                  <a:pt x="814" y="411"/>
                  <a:pt x="818" y="409"/>
                  <a:pt x="792" y="401"/>
                </a:cubicBezTo>
                <a:cubicBezTo>
                  <a:pt x="765" y="394"/>
                  <a:pt x="746" y="411"/>
                  <a:pt x="740" y="424"/>
                </a:cubicBezTo>
                <a:cubicBezTo>
                  <a:pt x="734" y="437"/>
                  <a:pt x="697" y="511"/>
                  <a:pt x="691" y="523"/>
                </a:cubicBezTo>
                <a:cubicBezTo>
                  <a:pt x="684" y="534"/>
                  <a:pt x="669" y="526"/>
                  <a:pt x="669" y="526"/>
                </a:cubicBezTo>
                <a:cubicBezTo>
                  <a:pt x="669" y="526"/>
                  <a:pt x="643" y="511"/>
                  <a:pt x="634" y="507"/>
                </a:cubicBezTo>
                <a:cubicBezTo>
                  <a:pt x="624" y="504"/>
                  <a:pt x="617" y="512"/>
                  <a:pt x="617" y="512"/>
                </a:cubicBezTo>
                <a:lnTo>
                  <a:pt x="586" y="545"/>
                </a:lnTo>
                <a:cubicBezTo>
                  <a:pt x="586" y="545"/>
                  <a:pt x="466" y="489"/>
                  <a:pt x="453" y="482"/>
                </a:cubicBezTo>
                <a:cubicBezTo>
                  <a:pt x="440" y="474"/>
                  <a:pt x="410" y="398"/>
                  <a:pt x="401" y="382"/>
                </a:cubicBezTo>
                <a:cubicBezTo>
                  <a:pt x="392" y="367"/>
                  <a:pt x="394" y="355"/>
                  <a:pt x="394" y="355"/>
                </a:cubicBezTo>
                <a:cubicBezTo>
                  <a:pt x="394" y="355"/>
                  <a:pt x="392" y="322"/>
                  <a:pt x="391" y="262"/>
                </a:cubicBezTo>
                <a:cubicBezTo>
                  <a:pt x="391" y="203"/>
                  <a:pt x="365" y="177"/>
                  <a:pt x="360" y="169"/>
                </a:cubicBezTo>
                <a:cubicBezTo>
                  <a:pt x="355" y="161"/>
                  <a:pt x="360" y="154"/>
                  <a:pt x="360" y="154"/>
                </a:cubicBezTo>
                <a:lnTo>
                  <a:pt x="366" y="141"/>
                </a:lnTo>
                <a:cubicBezTo>
                  <a:pt x="401" y="136"/>
                  <a:pt x="428" y="107"/>
                  <a:pt x="428" y="70"/>
                </a:cubicBezTo>
                <a:cubicBezTo>
                  <a:pt x="428" y="31"/>
                  <a:pt x="396" y="0"/>
                  <a:pt x="357" y="0"/>
                </a:cubicBezTo>
                <a:cubicBezTo>
                  <a:pt x="318" y="0"/>
                  <a:pt x="287" y="31"/>
                  <a:pt x="287" y="70"/>
                </a:cubicBezTo>
                <a:cubicBezTo>
                  <a:pt x="287" y="85"/>
                  <a:pt x="291" y="98"/>
                  <a:pt x="298" y="109"/>
                </a:cubicBezTo>
                <a:cubicBezTo>
                  <a:pt x="297" y="112"/>
                  <a:pt x="297" y="118"/>
                  <a:pt x="296" y="124"/>
                </a:cubicBezTo>
                <a:cubicBezTo>
                  <a:pt x="296" y="135"/>
                  <a:pt x="283" y="138"/>
                  <a:pt x="283" y="138"/>
                </a:cubicBezTo>
                <a:cubicBezTo>
                  <a:pt x="283" y="138"/>
                  <a:pt x="252" y="137"/>
                  <a:pt x="245" y="137"/>
                </a:cubicBezTo>
                <a:cubicBezTo>
                  <a:pt x="237" y="137"/>
                  <a:pt x="229" y="140"/>
                  <a:pt x="229" y="140"/>
                </a:cubicBezTo>
                <a:cubicBezTo>
                  <a:pt x="229" y="140"/>
                  <a:pt x="110" y="200"/>
                  <a:pt x="97" y="207"/>
                </a:cubicBezTo>
                <a:cubicBezTo>
                  <a:pt x="84" y="213"/>
                  <a:pt x="85" y="223"/>
                  <a:pt x="85" y="223"/>
                </a:cubicBezTo>
                <a:lnTo>
                  <a:pt x="76" y="327"/>
                </a:lnTo>
                <a:cubicBezTo>
                  <a:pt x="76" y="327"/>
                  <a:pt x="70" y="331"/>
                  <a:pt x="67" y="333"/>
                </a:cubicBezTo>
                <a:cubicBezTo>
                  <a:pt x="64" y="335"/>
                  <a:pt x="64" y="339"/>
                  <a:pt x="64" y="339"/>
                </a:cubicBezTo>
                <a:lnTo>
                  <a:pt x="64" y="355"/>
                </a:lnTo>
                <a:cubicBezTo>
                  <a:pt x="64" y="360"/>
                  <a:pt x="71" y="362"/>
                  <a:pt x="71" y="362"/>
                </a:cubicBezTo>
                <a:cubicBezTo>
                  <a:pt x="71" y="362"/>
                  <a:pt x="84" y="368"/>
                  <a:pt x="89" y="371"/>
                </a:cubicBezTo>
                <a:cubicBezTo>
                  <a:pt x="95" y="374"/>
                  <a:pt x="97" y="371"/>
                  <a:pt x="97" y="371"/>
                </a:cubicBezTo>
                <a:cubicBezTo>
                  <a:pt x="97" y="371"/>
                  <a:pt x="118" y="365"/>
                  <a:pt x="123" y="363"/>
                </a:cubicBezTo>
                <a:cubicBezTo>
                  <a:pt x="127" y="360"/>
                  <a:pt x="131" y="360"/>
                  <a:pt x="131" y="360"/>
                </a:cubicBezTo>
                <a:lnTo>
                  <a:pt x="144" y="367"/>
                </a:lnTo>
                <a:cubicBezTo>
                  <a:pt x="144" y="367"/>
                  <a:pt x="147" y="491"/>
                  <a:pt x="147" y="506"/>
                </a:cubicBezTo>
                <a:cubicBezTo>
                  <a:pt x="147" y="520"/>
                  <a:pt x="140" y="528"/>
                  <a:pt x="140" y="528"/>
                </a:cubicBezTo>
                <a:cubicBezTo>
                  <a:pt x="140" y="528"/>
                  <a:pt x="51" y="650"/>
                  <a:pt x="41" y="663"/>
                </a:cubicBezTo>
                <a:cubicBezTo>
                  <a:pt x="32" y="676"/>
                  <a:pt x="43" y="684"/>
                  <a:pt x="43" y="684"/>
                </a:cubicBezTo>
                <a:lnTo>
                  <a:pt x="59" y="694"/>
                </a:lnTo>
                <a:cubicBezTo>
                  <a:pt x="59" y="694"/>
                  <a:pt x="71" y="701"/>
                  <a:pt x="71" y="708"/>
                </a:cubicBezTo>
                <a:cubicBezTo>
                  <a:pt x="71" y="715"/>
                  <a:pt x="61" y="718"/>
                  <a:pt x="61" y="718"/>
                </a:cubicBezTo>
                <a:lnTo>
                  <a:pt x="0" y="718"/>
                </a:lnTo>
                <a:lnTo>
                  <a:pt x="0" y="751"/>
                </a:lnTo>
                <a:lnTo>
                  <a:pt x="1127" y="753"/>
                </a:lnTo>
                <a:lnTo>
                  <a:pt x="871" y="399"/>
                </a:lnTo>
                <a:close/>
                <a:moveTo>
                  <a:pt x="128" y="328"/>
                </a:moveTo>
                <a:cubicBezTo>
                  <a:pt x="127" y="324"/>
                  <a:pt x="134" y="255"/>
                  <a:pt x="134" y="255"/>
                </a:cubicBezTo>
                <a:lnTo>
                  <a:pt x="198" y="223"/>
                </a:lnTo>
                <a:cubicBezTo>
                  <a:pt x="198" y="223"/>
                  <a:pt x="205" y="218"/>
                  <a:pt x="204" y="227"/>
                </a:cubicBezTo>
                <a:cubicBezTo>
                  <a:pt x="204" y="236"/>
                  <a:pt x="193" y="272"/>
                  <a:pt x="193" y="272"/>
                </a:cubicBezTo>
                <a:lnTo>
                  <a:pt x="158" y="343"/>
                </a:lnTo>
                <a:cubicBezTo>
                  <a:pt x="158" y="343"/>
                  <a:pt x="130" y="332"/>
                  <a:pt x="128" y="328"/>
                </a:cubicBezTo>
                <a:close/>
                <a:moveTo>
                  <a:pt x="160" y="719"/>
                </a:moveTo>
                <a:lnTo>
                  <a:pt x="142" y="685"/>
                </a:lnTo>
                <a:cubicBezTo>
                  <a:pt x="142" y="685"/>
                  <a:pt x="139" y="676"/>
                  <a:pt x="139" y="670"/>
                </a:cubicBezTo>
                <a:cubicBezTo>
                  <a:pt x="139" y="665"/>
                  <a:pt x="143" y="656"/>
                  <a:pt x="143" y="656"/>
                </a:cubicBezTo>
                <a:lnTo>
                  <a:pt x="216" y="550"/>
                </a:lnTo>
                <a:cubicBezTo>
                  <a:pt x="216" y="550"/>
                  <a:pt x="221" y="541"/>
                  <a:pt x="223" y="531"/>
                </a:cubicBezTo>
                <a:cubicBezTo>
                  <a:pt x="224" y="521"/>
                  <a:pt x="231" y="453"/>
                  <a:pt x="231" y="453"/>
                </a:cubicBezTo>
                <a:cubicBezTo>
                  <a:pt x="231" y="453"/>
                  <a:pt x="233" y="452"/>
                  <a:pt x="235" y="454"/>
                </a:cubicBezTo>
                <a:cubicBezTo>
                  <a:pt x="238" y="457"/>
                  <a:pt x="295" y="533"/>
                  <a:pt x="295" y="533"/>
                </a:cubicBezTo>
                <a:cubicBezTo>
                  <a:pt x="295" y="533"/>
                  <a:pt x="300" y="543"/>
                  <a:pt x="300" y="549"/>
                </a:cubicBezTo>
                <a:cubicBezTo>
                  <a:pt x="300" y="554"/>
                  <a:pt x="302" y="718"/>
                  <a:pt x="302" y="718"/>
                </a:cubicBezTo>
                <a:lnTo>
                  <a:pt x="160" y="719"/>
                </a:lnTo>
                <a:close/>
                <a:moveTo>
                  <a:pt x="297" y="382"/>
                </a:moveTo>
                <a:cubicBezTo>
                  <a:pt x="297" y="368"/>
                  <a:pt x="296" y="353"/>
                  <a:pt x="303" y="343"/>
                </a:cubicBezTo>
                <a:cubicBezTo>
                  <a:pt x="311" y="333"/>
                  <a:pt x="333" y="308"/>
                  <a:pt x="333" y="308"/>
                </a:cubicBezTo>
                <a:lnTo>
                  <a:pt x="335" y="361"/>
                </a:lnTo>
                <a:cubicBezTo>
                  <a:pt x="335" y="361"/>
                  <a:pt x="335" y="375"/>
                  <a:pt x="340" y="386"/>
                </a:cubicBezTo>
                <a:cubicBezTo>
                  <a:pt x="345" y="396"/>
                  <a:pt x="367" y="438"/>
                  <a:pt x="367" y="438"/>
                </a:cubicBezTo>
                <a:lnTo>
                  <a:pt x="314" y="415"/>
                </a:lnTo>
                <a:cubicBezTo>
                  <a:pt x="314" y="415"/>
                  <a:pt x="297" y="396"/>
                  <a:pt x="297" y="382"/>
                </a:cubicBezTo>
                <a:close/>
                <a:moveTo>
                  <a:pt x="548" y="641"/>
                </a:moveTo>
                <a:cubicBezTo>
                  <a:pt x="548" y="641"/>
                  <a:pt x="540" y="644"/>
                  <a:pt x="535" y="646"/>
                </a:cubicBezTo>
                <a:cubicBezTo>
                  <a:pt x="530" y="648"/>
                  <a:pt x="518" y="650"/>
                  <a:pt x="513" y="665"/>
                </a:cubicBezTo>
                <a:cubicBezTo>
                  <a:pt x="509" y="679"/>
                  <a:pt x="506" y="689"/>
                  <a:pt x="495" y="691"/>
                </a:cubicBezTo>
                <a:cubicBezTo>
                  <a:pt x="485" y="693"/>
                  <a:pt x="483" y="695"/>
                  <a:pt x="476" y="702"/>
                </a:cubicBezTo>
                <a:cubicBezTo>
                  <a:pt x="469" y="709"/>
                  <a:pt x="467" y="717"/>
                  <a:pt x="461" y="718"/>
                </a:cubicBezTo>
                <a:cubicBezTo>
                  <a:pt x="455" y="719"/>
                  <a:pt x="413" y="719"/>
                  <a:pt x="413" y="719"/>
                </a:cubicBezTo>
                <a:lnTo>
                  <a:pt x="382" y="670"/>
                </a:lnTo>
                <a:cubicBezTo>
                  <a:pt x="382" y="670"/>
                  <a:pt x="379" y="663"/>
                  <a:pt x="379" y="656"/>
                </a:cubicBezTo>
                <a:cubicBezTo>
                  <a:pt x="379" y="649"/>
                  <a:pt x="375" y="527"/>
                  <a:pt x="375" y="527"/>
                </a:cubicBezTo>
                <a:cubicBezTo>
                  <a:pt x="375" y="527"/>
                  <a:pt x="374" y="517"/>
                  <a:pt x="369" y="509"/>
                </a:cubicBezTo>
                <a:cubicBezTo>
                  <a:pt x="365" y="502"/>
                  <a:pt x="342" y="463"/>
                  <a:pt x="342" y="463"/>
                </a:cubicBezTo>
                <a:lnTo>
                  <a:pt x="564" y="571"/>
                </a:lnTo>
                <a:lnTo>
                  <a:pt x="552" y="586"/>
                </a:lnTo>
                <a:cubicBezTo>
                  <a:pt x="552" y="586"/>
                  <a:pt x="542" y="598"/>
                  <a:pt x="554" y="603"/>
                </a:cubicBezTo>
                <a:cubicBezTo>
                  <a:pt x="565" y="608"/>
                  <a:pt x="583" y="616"/>
                  <a:pt x="583" y="616"/>
                </a:cubicBezTo>
                <a:lnTo>
                  <a:pt x="584" y="621"/>
                </a:lnTo>
                <a:lnTo>
                  <a:pt x="548" y="641"/>
                </a:lnTo>
                <a:close/>
              </a:path>
            </a:pathLst>
          </a:custGeom>
          <a:solidFill>
            <a:schemeClr val="bg1"/>
          </a:solidFill>
          <a:ln w="0">
            <a:noFill/>
            <a:prstDash val="solid"/>
            <a:round/>
            <a:headEnd/>
            <a:tailEnd/>
          </a:ln>
        </p:spPr>
        <p:txBody>
          <a:bodyPr vert="horz" wrap="square" lIns="89726" tIns="44863" rIns="89726" bIns="44863" numCol="1" anchor="t" anchorCtr="0" compatLnSpc="1">
            <a:prstTxWarp prst="textNoShape">
              <a:avLst/>
            </a:prstTxWarp>
          </a:bodyPr>
          <a:lstStyle/>
          <a:p>
            <a:pPr marL="0" marR="0" lvl="0" indent="0" algn="l"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sp>
        <p:nvSpPr>
          <p:cNvPr id="191" name="TextBox 190">
            <a:extLst>
              <a:ext uri="{FF2B5EF4-FFF2-40B4-BE49-F238E27FC236}">
                <a16:creationId xmlns:a16="http://schemas.microsoft.com/office/drawing/2014/main" id="{B3F1F015-8036-4024-8D97-7A588898A0EB}"/>
              </a:ext>
            </a:extLst>
          </p:cNvPr>
          <p:cNvSpPr txBox="1"/>
          <p:nvPr/>
        </p:nvSpPr>
        <p:spPr>
          <a:xfrm>
            <a:off x="9715243" y="5291670"/>
            <a:ext cx="1997064" cy="683264"/>
          </a:xfrm>
          <a:prstGeom prst="rect">
            <a:avLst/>
          </a:prstGeom>
          <a:noFill/>
        </p:spPr>
        <p:txBody>
          <a:bodyPr wrap="square" rtlCol="0">
            <a:spAutoFit/>
          </a:bodyPr>
          <a:lstStyle/>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sz="1200" b="1" i="0" u="none" strike="noStrike" kern="1200" cap="none" spc="0" normalizeH="0" baseline="0" noProof="0" dirty="0">
                <a:ln>
                  <a:noFill/>
                </a:ln>
                <a:solidFill>
                  <a:srgbClr val="0091DC"/>
                </a:solidFill>
                <a:effectLst/>
                <a:uLnTx/>
                <a:uFillTx/>
                <a:latin typeface="MetaPlusLF"/>
                <a:ea typeface="+mn-ea"/>
              </a:rPr>
              <a:t>20</a:t>
            </a:r>
            <a:r>
              <a:rPr kumimoji="0" lang="en-US" sz="1200" b="1" i="0" u="none" strike="noStrike" kern="1200" cap="none" spc="0" normalizeH="0" baseline="0" noProof="0" dirty="0">
                <a:ln>
                  <a:noFill/>
                </a:ln>
                <a:solidFill>
                  <a:srgbClr val="0091DC"/>
                </a:solidFill>
                <a:effectLst/>
                <a:uLnTx/>
                <a:uFillTx/>
                <a:latin typeface="MetaPlusLF"/>
                <a:ea typeface="+mn-ea"/>
              </a:rPr>
              <a:t>21</a:t>
            </a:r>
            <a:r>
              <a:rPr kumimoji="0" lang="en-GB" sz="1200" b="1" i="0" u="none" strike="noStrike" kern="1200" cap="none" spc="0" normalizeH="0" baseline="0" noProof="0" dirty="0">
                <a:ln>
                  <a:noFill/>
                </a:ln>
                <a:solidFill>
                  <a:srgbClr val="0091DC"/>
                </a:solidFill>
                <a:effectLst/>
                <a:uLnTx/>
                <a:uFillTx/>
                <a:latin typeface="MetaPlusLF"/>
                <a:ea typeface="+mn-ea"/>
              </a:rPr>
              <a:t> </a:t>
            </a:r>
          </a:p>
          <a:p>
            <a:pPr marL="0" marR="0" lvl="0" indent="0" algn="ctr" defTabSz="914439" rtl="0" eaLnBrk="1" fontAlgn="base" latinLnBrk="0" hangingPunct="1">
              <a:lnSpc>
                <a:spcPct val="100000"/>
              </a:lnSpc>
              <a:spcBef>
                <a:spcPct val="20000"/>
              </a:spcBef>
              <a:spcAft>
                <a:spcPct val="0"/>
              </a:spcAft>
              <a:buClrTx/>
              <a:buSzTx/>
              <a:buFontTx/>
              <a:buNone/>
              <a:tabLst/>
              <a:defRPr/>
            </a:pPr>
            <a:r>
              <a:rPr lang="en-GB" sz="1200" dirty="0">
                <a:latin typeface="MetaPlusLF"/>
              </a:rPr>
              <a:t>The SSC moving towards Competence </a:t>
            </a:r>
            <a:r>
              <a:rPr lang="en-GB" sz="1200" dirty="0" err="1">
                <a:latin typeface="MetaPlusLF"/>
              </a:rPr>
              <a:t>Center</a:t>
            </a:r>
            <a:endParaRPr kumimoji="0" lang="en-GB" sz="1200" i="0" u="none" strike="noStrike" kern="1200" cap="none" spc="0" normalizeH="0" baseline="0" noProof="0" dirty="0">
              <a:ln>
                <a:noFill/>
              </a:ln>
              <a:effectLst/>
              <a:uLnTx/>
              <a:uFillTx/>
              <a:latin typeface="MetaPlusLF"/>
            </a:endParaRPr>
          </a:p>
        </p:txBody>
      </p:sp>
      <p:sp>
        <p:nvSpPr>
          <p:cNvPr id="180" name="Oval 179">
            <a:extLst>
              <a:ext uri="{FF2B5EF4-FFF2-40B4-BE49-F238E27FC236}">
                <a16:creationId xmlns:a16="http://schemas.microsoft.com/office/drawing/2014/main" id="{93A86758-53C3-41AC-9145-7E876FB33288}"/>
              </a:ext>
            </a:extLst>
          </p:cNvPr>
          <p:cNvSpPr>
            <a:spLocks noChangeAspect="1"/>
          </p:cNvSpPr>
          <p:nvPr/>
        </p:nvSpPr>
        <p:spPr>
          <a:xfrm>
            <a:off x="8969348" y="4645121"/>
            <a:ext cx="897255" cy="897255"/>
          </a:xfrm>
          <a:prstGeom prst="ellipse">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marL="0" marR="0" lvl="0" indent="0" algn="ctr" defTabSz="897301"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prstClr val="black"/>
              </a:solidFill>
              <a:effectLst/>
              <a:uLnTx/>
              <a:uFillTx/>
              <a:latin typeface="Calibri"/>
              <a:ea typeface="+mn-ea"/>
              <a:cs typeface="+mn-cs"/>
            </a:endParaRPr>
          </a:p>
        </p:txBody>
      </p:sp>
      <p:pic>
        <p:nvPicPr>
          <p:cNvPr id="31752" name="Picture 8" descr="See the source image">
            <a:extLst>
              <a:ext uri="{FF2B5EF4-FFF2-40B4-BE49-F238E27FC236}">
                <a16:creationId xmlns:a16="http://schemas.microsoft.com/office/drawing/2014/main" id="{E300E295-40AE-47E2-9C10-068D94025992}"/>
              </a:ext>
            </a:extLst>
          </p:cNvPr>
          <p:cNvPicPr>
            <a:picLocks noChangeAspect="1" noChangeArrowheads="1"/>
          </p:cNvPicPr>
          <p:nvPr/>
        </p:nvPicPr>
        <p:blipFill>
          <a:blip r:embed="rId37" cstate="print">
            <a:extLst>
              <a:ext uri="{BEBA8EAE-BF5A-486C-A8C5-ECC9F3942E4B}">
                <a14:imgProps xmlns:a14="http://schemas.microsoft.com/office/drawing/2010/main">
                  <a14:imgLayer r:embed="rId38">
                    <a14:imgEffect>
                      <a14:colorTemperature colorTemp="4700"/>
                    </a14:imgEffect>
                    <a14:imgEffect>
                      <a14:brightnessContrast bright="100000" contrast="-30000"/>
                    </a14:imgEffect>
                  </a14:imgLayer>
                </a14:imgProps>
              </a:ext>
              <a:ext uri="{28A0092B-C50C-407E-A947-70E740481C1C}">
                <a14:useLocalDpi xmlns:a14="http://schemas.microsoft.com/office/drawing/2010/main" val="0"/>
              </a:ext>
            </a:extLst>
          </a:blip>
          <a:srcRect/>
          <a:stretch>
            <a:fillRect/>
          </a:stretch>
        </p:blipFill>
        <p:spPr bwMode="auto">
          <a:xfrm>
            <a:off x="9064215" y="4747815"/>
            <a:ext cx="733262" cy="733262"/>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4296A3C8-A09D-4A82-ABAD-925412100138}"/>
              </a:ext>
            </a:extLst>
          </p:cNvPr>
          <p:cNvGrpSpPr/>
          <p:nvPr/>
        </p:nvGrpSpPr>
        <p:grpSpPr>
          <a:xfrm>
            <a:off x="7674739" y="1757952"/>
            <a:ext cx="2036754" cy="1037453"/>
            <a:chOff x="7915161" y="1904791"/>
            <a:chExt cx="1252634" cy="945981"/>
          </a:xfrm>
        </p:grpSpPr>
        <p:sp>
          <p:nvSpPr>
            <p:cNvPr id="182" name="Rectangle 181">
              <a:extLst>
                <a:ext uri="{FF2B5EF4-FFF2-40B4-BE49-F238E27FC236}">
                  <a16:creationId xmlns:a16="http://schemas.microsoft.com/office/drawing/2014/main" id="{879DD649-B5BE-486C-BDF7-DBECEE4E3A40}"/>
                </a:ext>
              </a:extLst>
            </p:cNvPr>
            <p:cNvSpPr/>
            <p:nvPr/>
          </p:nvSpPr>
          <p:spPr>
            <a:xfrm>
              <a:off x="7999402" y="1904791"/>
              <a:ext cx="830596" cy="680955"/>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lt-LT"/>
            </a:p>
          </p:txBody>
        </p:sp>
        <p:cxnSp>
          <p:nvCxnSpPr>
            <p:cNvPr id="183" name="Straight Connector 182">
              <a:extLst>
                <a:ext uri="{FF2B5EF4-FFF2-40B4-BE49-F238E27FC236}">
                  <a16:creationId xmlns:a16="http://schemas.microsoft.com/office/drawing/2014/main" id="{0E7021F0-0F79-46F3-9BD4-737704816125}"/>
                </a:ext>
              </a:extLst>
            </p:cNvPr>
            <p:cNvCxnSpPr>
              <a:cxnSpLocks/>
              <a:stCxn id="182" idx="1"/>
              <a:endCxn id="30" idx="7"/>
            </p:cNvCxnSpPr>
            <p:nvPr/>
          </p:nvCxnSpPr>
          <p:spPr>
            <a:xfrm flipH="1">
              <a:off x="7915161" y="2245268"/>
              <a:ext cx="84241" cy="605504"/>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184" name="TextBox 183">
              <a:extLst>
                <a:ext uri="{FF2B5EF4-FFF2-40B4-BE49-F238E27FC236}">
                  <a16:creationId xmlns:a16="http://schemas.microsoft.com/office/drawing/2014/main" id="{074096BB-B2FE-463B-A0E0-20AF62FAB72C}"/>
                </a:ext>
              </a:extLst>
            </p:cNvPr>
            <p:cNvSpPr txBox="1"/>
            <p:nvPr/>
          </p:nvSpPr>
          <p:spPr>
            <a:xfrm>
              <a:off x="8123849" y="2108582"/>
              <a:ext cx="1043946" cy="338554"/>
            </a:xfrm>
            <a:prstGeom prst="rect">
              <a:avLst/>
            </a:prstGeom>
            <a:noFill/>
          </p:spPr>
          <p:txBody>
            <a:bodyPr wrap="square" rtlCol="0">
              <a:spAutoFit/>
            </a:bodyPr>
            <a:lstStyle/>
            <a:p>
              <a:r>
                <a:rPr lang="lt-LT" sz="1600" b="1" dirty="0">
                  <a:solidFill>
                    <a:srgbClr val="00B050"/>
                  </a:solidFill>
                  <a:latin typeface="+mn-lt"/>
                </a:rPr>
                <a:t>327 </a:t>
              </a:r>
              <a:endParaRPr lang="en-US" sz="1600" b="1" dirty="0">
                <a:solidFill>
                  <a:srgbClr val="00B050"/>
                </a:solidFill>
                <a:latin typeface="+mn-lt"/>
              </a:endParaRPr>
            </a:p>
          </p:txBody>
        </p:sp>
        <p:pic>
          <p:nvPicPr>
            <p:cNvPr id="186" name="Graphic 185" descr="Man with solid fill">
              <a:extLst>
                <a:ext uri="{FF2B5EF4-FFF2-40B4-BE49-F238E27FC236}">
                  <a16:creationId xmlns:a16="http://schemas.microsoft.com/office/drawing/2014/main" id="{231C1CD9-5C03-4609-B28A-98CF1910D418}"/>
                </a:ext>
              </a:extLst>
            </p:cNvPr>
            <p:cNvPicPr>
              <a:picLocks noChangeAspect="1"/>
            </p:cNvPicPr>
            <p:nvPr/>
          </p:nvPicPr>
          <p:blipFill>
            <a:blip r:embed="rId39" cstate="print">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8407197" y="2061900"/>
              <a:ext cx="353172" cy="353172"/>
            </a:xfrm>
            <a:prstGeom prst="rect">
              <a:avLst/>
            </a:prstGeom>
          </p:spPr>
        </p:pic>
      </p:grpSp>
      <p:grpSp>
        <p:nvGrpSpPr>
          <p:cNvPr id="15" name="Group 14">
            <a:extLst>
              <a:ext uri="{FF2B5EF4-FFF2-40B4-BE49-F238E27FC236}">
                <a16:creationId xmlns:a16="http://schemas.microsoft.com/office/drawing/2014/main" id="{43A51B77-FBCF-43CA-90B6-1ADA2B8DD2EB}"/>
              </a:ext>
            </a:extLst>
          </p:cNvPr>
          <p:cNvGrpSpPr/>
          <p:nvPr/>
        </p:nvGrpSpPr>
        <p:grpSpPr>
          <a:xfrm>
            <a:off x="1560997" y="4001186"/>
            <a:ext cx="1200891" cy="696711"/>
            <a:chOff x="1560997" y="4001186"/>
            <a:chExt cx="1200891" cy="696711"/>
          </a:xfrm>
        </p:grpSpPr>
        <p:cxnSp>
          <p:nvCxnSpPr>
            <p:cNvPr id="6" name="Straight Connector 5">
              <a:extLst>
                <a:ext uri="{FF2B5EF4-FFF2-40B4-BE49-F238E27FC236}">
                  <a16:creationId xmlns:a16="http://schemas.microsoft.com/office/drawing/2014/main" id="{9A3855BA-17D5-4BBD-88DD-0554299B5DE1}"/>
                </a:ext>
              </a:extLst>
            </p:cNvPr>
            <p:cNvCxnSpPr>
              <a:stCxn id="181" idx="1"/>
              <a:endCxn id="35" idx="7"/>
            </p:cNvCxnSpPr>
            <p:nvPr/>
          </p:nvCxnSpPr>
          <p:spPr>
            <a:xfrm flipH="1">
              <a:off x="1560997" y="4341664"/>
              <a:ext cx="296516" cy="356233"/>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34CD3F6D-0562-41FD-9F26-D5CDBED0C07A}"/>
                </a:ext>
              </a:extLst>
            </p:cNvPr>
            <p:cNvSpPr/>
            <p:nvPr/>
          </p:nvSpPr>
          <p:spPr>
            <a:xfrm>
              <a:off x="1857513" y="4001186"/>
              <a:ext cx="830596" cy="680955"/>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lt-LT"/>
            </a:p>
          </p:txBody>
        </p:sp>
        <p:sp>
          <p:nvSpPr>
            <p:cNvPr id="2" name="TextBox 1">
              <a:extLst>
                <a:ext uri="{FF2B5EF4-FFF2-40B4-BE49-F238E27FC236}">
                  <a16:creationId xmlns:a16="http://schemas.microsoft.com/office/drawing/2014/main" id="{9C120768-92EA-4606-AD6B-2B07C03E986C}"/>
                </a:ext>
              </a:extLst>
            </p:cNvPr>
            <p:cNvSpPr txBox="1"/>
            <p:nvPr/>
          </p:nvSpPr>
          <p:spPr>
            <a:xfrm>
              <a:off x="1910202" y="4218943"/>
              <a:ext cx="851686" cy="338554"/>
            </a:xfrm>
            <a:prstGeom prst="rect">
              <a:avLst/>
            </a:prstGeom>
            <a:noFill/>
          </p:spPr>
          <p:txBody>
            <a:bodyPr wrap="square" rtlCol="0">
              <a:spAutoFit/>
            </a:bodyPr>
            <a:lstStyle/>
            <a:p>
              <a:r>
                <a:rPr lang="en-US" sz="1600" b="1" dirty="0">
                  <a:solidFill>
                    <a:srgbClr val="00B050"/>
                  </a:solidFill>
                  <a:latin typeface="+mn-lt"/>
                </a:rPr>
                <a:t>23</a:t>
              </a:r>
            </a:p>
          </p:txBody>
        </p:sp>
        <p:pic>
          <p:nvPicPr>
            <p:cNvPr id="189" name="Graphic 188" descr="Man with solid fill">
              <a:extLst>
                <a:ext uri="{FF2B5EF4-FFF2-40B4-BE49-F238E27FC236}">
                  <a16:creationId xmlns:a16="http://schemas.microsoft.com/office/drawing/2014/main" id="{E8F96CE1-75E3-4792-A820-02C75DAB9460}"/>
                </a:ext>
              </a:extLst>
            </p:cNvPr>
            <p:cNvPicPr>
              <a:picLocks noChangeAspect="1"/>
            </p:cNvPicPr>
            <p:nvPr/>
          </p:nvPicPr>
          <p:blipFill>
            <a:blip r:embed="rId39" cstate="print">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2274931" y="4233526"/>
              <a:ext cx="353172" cy="353172"/>
            </a:xfrm>
            <a:prstGeom prst="rect">
              <a:avLst/>
            </a:prstGeom>
          </p:spPr>
        </p:pic>
      </p:grpSp>
      <p:grpSp>
        <p:nvGrpSpPr>
          <p:cNvPr id="4" name="Group 3">
            <a:extLst>
              <a:ext uri="{FF2B5EF4-FFF2-40B4-BE49-F238E27FC236}">
                <a16:creationId xmlns:a16="http://schemas.microsoft.com/office/drawing/2014/main" id="{F972D3B1-1956-4F7A-B09F-45CFC7E2C49E}"/>
              </a:ext>
            </a:extLst>
          </p:cNvPr>
          <p:cNvGrpSpPr/>
          <p:nvPr/>
        </p:nvGrpSpPr>
        <p:grpSpPr>
          <a:xfrm>
            <a:off x="5527084" y="1763977"/>
            <a:ext cx="1513202" cy="1031428"/>
            <a:chOff x="5527084" y="1763977"/>
            <a:chExt cx="1513202" cy="1031428"/>
          </a:xfrm>
        </p:grpSpPr>
        <p:sp>
          <p:nvSpPr>
            <p:cNvPr id="40" name="TextBox 39"/>
            <p:cNvSpPr txBox="1"/>
            <p:nvPr/>
          </p:nvSpPr>
          <p:spPr>
            <a:xfrm>
              <a:off x="5527084" y="1763977"/>
              <a:ext cx="1425215" cy="701731"/>
            </a:xfrm>
            <a:prstGeom prst="rect">
              <a:avLst/>
            </a:prstGeom>
            <a:noFill/>
            <a:ln w="38100">
              <a:solidFill>
                <a:srgbClr val="00B050"/>
              </a:solidFill>
            </a:ln>
          </p:spPr>
          <p:txBody>
            <a:bodyPr wrap="square" rtlCol="0">
              <a:spAutoFit/>
            </a:bodyPr>
            <a:lstStyle/>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b="1" i="0" u="none" strike="noStrike" kern="1200" cap="none" spc="0" normalizeH="0" baseline="0" noProof="0" dirty="0">
                  <a:ln>
                    <a:noFill/>
                  </a:ln>
                  <a:solidFill>
                    <a:srgbClr val="0091DC"/>
                  </a:solidFill>
                  <a:effectLst/>
                  <a:uLnTx/>
                  <a:uFillTx/>
                  <a:latin typeface="MetaPlusLF"/>
                  <a:ea typeface="+mn-ea"/>
                </a:rPr>
                <a:t>2017</a:t>
              </a:r>
              <a:r>
                <a:rPr kumimoji="0" lang="en-GB" b="1" i="0" u="none" strike="noStrike" kern="1200" cap="none" spc="0" normalizeH="0" baseline="0" noProof="0" dirty="0">
                  <a:ln>
                    <a:noFill/>
                  </a:ln>
                  <a:solidFill>
                    <a:srgbClr val="0091DC"/>
                  </a:solidFill>
                  <a:effectLst/>
                  <a:uLnTx/>
                  <a:uFillTx/>
                  <a:latin typeface="MetaPlusLF"/>
                  <a:ea typeface="+mn-ea"/>
                </a:rPr>
                <a:t> </a:t>
              </a:r>
            </a:p>
            <a:p>
              <a:pPr marL="0" marR="0" lvl="0" indent="0" algn="ctr" defTabSz="914439" rtl="0" eaLnBrk="1" fontAlgn="base" latinLnBrk="0" hangingPunct="1">
                <a:lnSpc>
                  <a:spcPct val="100000"/>
                </a:lnSpc>
                <a:spcBef>
                  <a:spcPct val="20000"/>
                </a:spcBef>
                <a:spcAft>
                  <a:spcPct val="0"/>
                </a:spcAft>
                <a:buClrTx/>
                <a:buSzTx/>
                <a:buFontTx/>
                <a:buNone/>
                <a:tabLst/>
                <a:defRPr/>
              </a:pPr>
              <a:r>
                <a:rPr kumimoji="0" lang="lt-LT" b="0" i="0" u="none" strike="noStrike" kern="1200" cap="none" spc="0" normalizeH="0" baseline="0" noProof="0" dirty="0">
                  <a:ln>
                    <a:noFill/>
                  </a:ln>
                  <a:solidFill>
                    <a:srgbClr val="000000"/>
                  </a:solidFill>
                  <a:effectLst/>
                  <a:uLnTx/>
                  <a:uFillTx/>
                  <a:latin typeface="MetaPlusLF"/>
                  <a:ea typeface="+mn-ea"/>
                </a:rPr>
                <a:t>SSC Finance</a:t>
              </a:r>
              <a:endParaRPr kumimoji="0" lang="en-GB" b="0" i="0" u="none" strike="noStrike" kern="1200" cap="none" spc="0" normalizeH="0" baseline="0" noProof="0" dirty="0">
                <a:ln>
                  <a:noFill/>
                </a:ln>
                <a:solidFill>
                  <a:srgbClr val="000000"/>
                </a:solidFill>
                <a:effectLst/>
                <a:uLnTx/>
                <a:uFillTx/>
                <a:latin typeface="MetaPlusLF"/>
                <a:ea typeface="+mn-ea"/>
              </a:endParaRPr>
            </a:p>
          </p:txBody>
        </p:sp>
        <p:cxnSp>
          <p:nvCxnSpPr>
            <p:cNvPr id="190" name="Straight Connector 189">
              <a:extLst>
                <a:ext uri="{FF2B5EF4-FFF2-40B4-BE49-F238E27FC236}">
                  <a16:creationId xmlns:a16="http://schemas.microsoft.com/office/drawing/2014/main" id="{1BBE4419-42D4-4E5B-9A12-65E2A061487A}"/>
                </a:ext>
              </a:extLst>
            </p:cNvPr>
            <p:cNvCxnSpPr>
              <a:cxnSpLocks/>
              <a:stCxn id="40" idx="3"/>
              <a:endCxn id="30" idx="1"/>
            </p:cNvCxnSpPr>
            <p:nvPr/>
          </p:nvCxnSpPr>
          <p:spPr>
            <a:xfrm>
              <a:off x="6952299" y="2114843"/>
              <a:ext cx="87987" cy="680562"/>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655126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2100" b="1" dirty="0">
              <a:latin typeface="MetaPlusLF" panose="02000503060000020004" pitchFamily="2" charset="0"/>
              <a:sym typeface="MetaPlusLF" panose="02000503060000020004" pitchFamily="2" charset="0"/>
            </a:endParaRPr>
          </a:p>
        </p:txBody>
      </p:sp>
      <p:sp>
        <p:nvSpPr>
          <p:cNvPr id="4" name="Titel 3"/>
          <p:cNvSpPr>
            <a:spLocks noGrp="1"/>
          </p:cNvSpPr>
          <p:nvPr>
            <p:ph type="title"/>
          </p:nvPr>
        </p:nvSpPr>
        <p:spPr>
          <a:xfrm>
            <a:off x="279955" y="1564506"/>
            <a:ext cx="11460041" cy="504000"/>
          </a:xfrm>
        </p:spPr>
        <p:txBody>
          <a:bodyPr/>
          <a:lstStyle/>
          <a:p>
            <a:r>
              <a:rPr lang="lt-LT" sz="2000" dirty="0">
                <a:solidFill>
                  <a:schemeClr val="tx1">
                    <a:lumMod val="65000"/>
                    <a:lumOff val="35000"/>
                  </a:schemeClr>
                </a:solidFill>
              </a:rPr>
              <a:t>Global Festo </a:t>
            </a:r>
            <a:r>
              <a:rPr lang="en-US" sz="2000" dirty="0" err="1">
                <a:solidFill>
                  <a:schemeClr val="tx1">
                    <a:lumMod val="65000"/>
                    <a:lumOff val="35000"/>
                  </a:schemeClr>
                </a:solidFill>
              </a:rPr>
              <a:t>projektas</a:t>
            </a:r>
            <a:r>
              <a:rPr lang="lt-LT" sz="2000" dirty="0">
                <a:solidFill>
                  <a:schemeClr val="tx1">
                    <a:lumMod val="65000"/>
                    <a:lumOff val="35000"/>
                  </a:schemeClr>
                </a:solidFill>
              </a:rPr>
              <a:t> (2017 metai): Finansų ir apskaitos paslaugų centras FSSC</a:t>
            </a:r>
            <a:r>
              <a:rPr lang="en-US" sz="2000" dirty="0">
                <a:solidFill>
                  <a:schemeClr val="tx1">
                    <a:lumMod val="65000"/>
                    <a:lumOff val="35000"/>
                  </a:schemeClr>
                </a:solidFill>
              </a:rPr>
              <a:t> </a:t>
            </a:r>
            <a:r>
              <a:rPr lang="en-GB" sz="2000" dirty="0">
                <a:solidFill>
                  <a:schemeClr val="tx1">
                    <a:lumMod val="65000"/>
                    <a:lumOff val="35000"/>
                  </a:schemeClr>
                </a:solidFill>
              </a:rPr>
              <a:t>| </a:t>
            </a:r>
            <a:r>
              <a:rPr lang="lt-LT" sz="2000" dirty="0">
                <a:solidFill>
                  <a:schemeClr val="accent6">
                    <a:lumMod val="60000"/>
                    <a:lumOff val="40000"/>
                  </a:schemeClr>
                </a:solidFill>
              </a:rPr>
              <a:t>Paslaugų centro DNR</a:t>
            </a:r>
            <a:endParaRPr lang="en-GB" dirty="0"/>
          </a:p>
        </p:txBody>
      </p:sp>
      <p:sp>
        <p:nvSpPr>
          <p:cNvPr id="10" name="Textfeld 9"/>
          <p:cNvSpPr txBox="1"/>
          <p:nvPr/>
        </p:nvSpPr>
        <p:spPr>
          <a:xfrm>
            <a:off x="5138798" y="2184658"/>
            <a:ext cx="2539127" cy="360867"/>
          </a:xfrm>
          <a:prstGeom prst="rect">
            <a:avLst/>
          </a:prstGeom>
          <a:noFill/>
          <a:ln>
            <a:noFill/>
          </a:ln>
        </p:spPr>
        <p:txBody>
          <a:bodyPr wrap="square" lIns="81519" tIns="32608" rIns="32608" bIns="32608" rtlCol="0">
            <a:noAutofit/>
          </a:bodyPr>
          <a:lstStyle/>
          <a:p>
            <a:r>
              <a:rPr lang="lt-LT" sz="1400" b="1" dirty="0">
                <a:solidFill>
                  <a:srgbClr val="7FC8ED"/>
                </a:solidFill>
                <a:latin typeface="+mj-lt"/>
              </a:rPr>
              <a:t>Pagrindiniai projekto tikslai</a:t>
            </a:r>
            <a:endParaRPr lang="en-GB" sz="1400" b="1" dirty="0">
              <a:solidFill>
                <a:srgbClr val="7FC8ED"/>
              </a:solidFill>
              <a:latin typeface="+mj-lt"/>
            </a:endParaRPr>
          </a:p>
        </p:txBody>
      </p:sp>
      <p:grpSp>
        <p:nvGrpSpPr>
          <p:cNvPr id="40" name="Group 101"/>
          <p:cNvGrpSpPr/>
          <p:nvPr/>
        </p:nvGrpSpPr>
        <p:grpSpPr>
          <a:xfrm rot="20327258">
            <a:off x="1855471" y="4015122"/>
            <a:ext cx="520283" cy="324111"/>
            <a:chOff x="7508875" y="3307080"/>
            <a:chExt cx="387350" cy="241300"/>
          </a:xfrm>
          <a:solidFill>
            <a:srgbClr val="7FC8ED"/>
          </a:solidFill>
        </p:grpSpPr>
        <p:sp>
          <p:nvSpPr>
            <p:cNvPr id="41" name="Freeform 69"/>
            <p:cNvSpPr>
              <a:spLocks/>
            </p:cNvSpPr>
            <p:nvPr/>
          </p:nvSpPr>
          <p:spPr bwMode="auto">
            <a:xfrm>
              <a:off x="7508875" y="3307080"/>
              <a:ext cx="171450" cy="241300"/>
            </a:xfrm>
            <a:custGeom>
              <a:avLst/>
              <a:gdLst/>
              <a:ahLst/>
              <a:cxnLst>
                <a:cxn ang="0">
                  <a:pos x="12" y="16"/>
                </a:cxn>
                <a:cxn ang="0">
                  <a:pos x="32" y="15"/>
                </a:cxn>
                <a:cxn ang="0">
                  <a:pos x="28" y="11"/>
                </a:cxn>
                <a:cxn ang="0">
                  <a:pos x="30" y="2"/>
                </a:cxn>
                <a:cxn ang="0">
                  <a:pos x="39" y="2"/>
                </a:cxn>
                <a:cxn ang="0">
                  <a:pos x="42" y="7"/>
                </a:cxn>
                <a:cxn ang="0">
                  <a:pos x="38" y="13"/>
                </a:cxn>
                <a:cxn ang="0">
                  <a:pos x="39" y="18"/>
                </a:cxn>
                <a:cxn ang="0">
                  <a:pos x="56" y="17"/>
                </a:cxn>
                <a:cxn ang="0">
                  <a:pos x="66" y="26"/>
                </a:cxn>
                <a:cxn ang="0">
                  <a:pos x="61" y="35"/>
                </a:cxn>
                <a:cxn ang="0">
                  <a:pos x="49" y="43"/>
                </a:cxn>
                <a:cxn ang="0">
                  <a:pos x="49" y="44"/>
                </a:cxn>
                <a:cxn ang="0">
                  <a:pos x="49" y="44"/>
                </a:cxn>
                <a:cxn ang="0">
                  <a:pos x="49" y="44"/>
                </a:cxn>
                <a:cxn ang="0">
                  <a:pos x="49" y="44"/>
                </a:cxn>
                <a:cxn ang="0">
                  <a:pos x="49" y="44"/>
                </a:cxn>
                <a:cxn ang="0">
                  <a:pos x="49" y="44"/>
                </a:cxn>
                <a:cxn ang="0">
                  <a:pos x="49" y="44"/>
                </a:cxn>
                <a:cxn ang="0">
                  <a:pos x="48" y="47"/>
                </a:cxn>
                <a:cxn ang="0">
                  <a:pos x="60" y="60"/>
                </a:cxn>
                <a:cxn ang="0">
                  <a:pos x="65" y="70"/>
                </a:cxn>
                <a:cxn ang="0">
                  <a:pos x="54" y="77"/>
                </a:cxn>
                <a:cxn ang="0">
                  <a:pos x="34" y="78"/>
                </a:cxn>
                <a:cxn ang="0">
                  <a:pos x="36" y="80"/>
                </a:cxn>
                <a:cxn ang="0">
                  <a:pos x="38" y="83"/>
                </a:cxn>
                <a:cxn ang="0">
                  <a:pos x="39" y="87"/>
                </a:cxn>
                <a:cxn ang="0">
                  <a:pos x="36" y="92"/>
                </a:cxn>
                <a:cxn ang="0">
                  <a:pos x="27" y="91"/>
                </a:cxn>
                <a:cxn ang="0">
                  <a:pos x="26" y="82"/>
                </a:cxn>
                <a:cxn ang="0">
                  <a:pos x="29" y="80"/>
                </a:cxn>
                <a:cxn ang="0">
                  <a:pos x="27" y="75"/>
                </a:cxn>
                <a:cxn ang="0">
                  <a:pos x="1" y="76"/>
                </a:cxn>
                <a:cxn ang="0">
                  <a:pos x="0" y="57"/>
                </a:cxn>
                <a:cxn ang="0">
                  <a:pos x="14" y="55"/>
                </a:cxn>
                <a:cxn ang="0">
                  <a:pos x="15" y="38"/>
                </a:cxn>
                <a:cxn ang="0">
                  <a:pos x="0" y="35"/>
                </a:cxn>
                <a:cxn ang="0">
                  <a:pos x="3" y="15"/>
                </a:cxn>
              </a:cxnLst>
              <a:rect l="0" t="0" r="r" b="b"/>
              <a:pathLst>
                <a:path w="67" h="94">
                  <a:moveTo>
                    <a:pt x="3" y="15"/>
                  </a:moveTo>
                  <a:cubicBezTo>
                    <a:pt x="5" y="15"/>
                    <a:pt x="9" y="16"/>
                    <a:pt x="12" y="16"/>
                  </a:cubicBezTo>
                  <a:cubicBezTo>
                    <a:pt x="18" y="17"/>
                    <a:pt x="25" y="17"/>
                    <a:pt x="29" y="18"/>
                  </a:cubicBezTo>
                  <a:cubicBezTo>
                    <a:pt x="30" y="18"/>
                    <a:pt x="32" y="17"/>
                    <a:pt x="32" y="15"/>
                  </a:cubicBezTo>
                  <a:cubicBezTo>
                    <a:pt x="32" y="14"/>
                    <a:pt x="31" y="13"/>
                    <a:pt x="30" y="13"/>
                  </a:cubicBezTo>
                  <a:cubicBezTo>
                    <a:pt x="29" y="12"/>
                    <a:pt x="29" y="11"/>
                    <a:pt x="28" y="11"/>
                  </a:cubicBezTo>
                  <a:cubicBezTo>
                    <a:pt x="28" y="10"/>
                    <a:pt x="27" y="8"/>
                    <a:pt x="27" y="7"/>
                  </a:cubicBezTo>
                  <a:cubicBezTo>
                    <a:pt x="27" y="5"/>
                    <a:pt x="28" y="3"/>
                    <a:pt x="30" y="2"/>
                  </a:cubicBezTo>
                  <a:cubicBezTo>
                    <a:pt x="31" y="1"/>
                    <a:pt x="33" y="0"/>
                    <a:pt x="35" y="0"/>
                  </a:cubicBezTo>
                  <a:cubicBezTo>
                    <a:pt x="37" y="0"/>
                    <a:pt x="38" y="1"/>
                    <a:pt x="39" y="2"/>
                  </a:cubicBezTo>
                  <a:cubicBezTo>
                    <a:pt x="39" y="2"/>
                    <a:pt x="39" y="2"/>
                    <a:pt x="39" y="2"/>
                  </a:cubicBezTo>
                  <a:cubicBezTo>
                    <a:pt x="41" y="4"/>
                    <a:pt x="42" y="5"/>
                    <a:pt x="42" y="7"/>
                  </a:cubicBezTo>
                  <a:cubicBezTo>
                    <a:pt x="42" y="9"/>
                    <a:pt x="41" y="10"/>
                    <a:pt x="41" y="11"/>
                  </a:cubicBezTo>
                  <a:cubicBezTo>
                    <a:pt x="40" y="12"/>
                    <a:pt x="39" y="13"/>
                    <a:pt x="38" y="13"/>
                  </a:cubicBezTo>
                  <a:cubicBezTo>
                    <a:pt x="37" y="14"/>
                    <a:pt x="36" y="15"/>
                    <a:pt x="37" y="17"/>
                  </a:cubicBezTo>
                  <a:cubicBezTo>
                    <a:pt x="38" y="17"/>
                    <a:pt x="38" y="18"/>
                    <a:pt x="39" y="18"/>
                  </a:cubicBezTo>
                  <a:cubicBezTo>
                    <a:pt x="39" y="18"/>
                    <a:pt x="39" y="18"/>
                    <a:pt x="39" y="18"/>
                  </a:cubicBezTo>
                  <a:cubicBezTo>
                    <a:pt x="44" y="18"/>
                    <a:pt x="50" y="18"/>
                    <a:pt x="56" y="17"/>
                  </a:cubicBezTo>
                  <a:cubicBezTo>
                    <a:pt x="60" y="17"/>
                    <a:pt x="63" y="17"/>
                    <a:pt x="66" y="17"/>
                  </a:cubicBezTo>
                  <a:cubicBezTo>
                    <a:pt x="66" y="19"/>
                    <a:pt x="66" y="23"/>
                    <a:pt x="66" y="26"/>
                  </a:cubicBezTo>
                  <a:cubicBezTo>
                    <a:pt x="66" y="30"/>
                    <a:pt x="67" y="33"/>
                    <a:pt x="67" y="37"/>
                  </a:cubicBezTo>
                  <a:cubicBezTo>
                    <a:pt x="65" y="36"/>
                    <a:pt x="63" y="35"/>
                    <a:pt x="61" y="35"/>
                  </a:cubicBezTo>
                  <a:cubicBezTo>
                    <a:pt x="58" y="35"/>
                    <a:pt x="55" y="37"/>
                    <a:pt x="52" y="39"/>
                  </a:cubicBezTo>
                  <a:cubicBezTo>
                    <a:pt x="51" y="40"/>
                    <a:pt x="50" y="42"/>
                    <a:pt x="49" y="43"/>
                  </a:cubicBezTo>
                  <a:cubicBezTo>
                    <a:pt x="49" y="43"/>
                    <a:pt x="49" y="43"/>
                    <a:pt x="49" y="43"/>
                  </a:cubicBezTo>
                  <a:cubicBezTo>
                    <a:pt x="49" y="44"/>
                    <a:pt x="49" y="44"/>
                    <a:pt x="49" y="44"/>
                  </a:cubicBezTo>
                  <a:cubicBezTo>
                    <a:pt x="49" y="44"/>
                    <a:pt x="49" y="44"/>
                    <a:pt x="49" y="44"/>
                  </a:cubicBezTo>
                  <a:cubicBezTo>
                    <a:pt x="49" y="44"/>
                    <a:pt x="49" y="44"/>
                    <a:pt x="49" y="44"/>
                  </a:cubicBezTo>
                  <a:cubicBezTo>
                    <a:pt x="49" y="44"/>
                    <a:pt x="49" y="44"/>
                    <a:pt x="49" y="44"/>
                  </a:cubicBezTo>
                  <a:cubicBezTo>
                    <a:pt x="49" y="44"/>
                    <a:pt x="49" y="44"/>
                    <a:pt x="49" y="44"/>
                  </a:cubicBezTo>
                  <a:cubicBezTo>
                    <a:pt x="49" y="44"/>
                    <a:pt x="49" y="44"/>
                    <a:pt x="49" y="44"/>
                  </a:cubicBezTo>
                  <a:cubicBezTo>
                    <a:pt x="49" y="44"/>
                    <a:pt x="49" y="44"/>
                    <a:pt x="49" y="44"/>
                  </a:cubicBezTo>
                  <a:cubicBezTo>
                    <a:pt x="49" y="44"/>
                    <a:pt x="49" y="44"/>
                    <a:pt x="49" y="44"/>
                  </a:cubicBezTo>
                  <a:cubicBezTo>
                    <a:pt x="49" y="44"/>
                    <a:pt x="49" y="44"/>
                    <a:pt x="49" y="44"/>
                  </a:cubicBezTo>
                  <a:cubicBezTo>
                    <a:pt x="49" y="44"/>
                    <a:pt x="49" y="44"/>
                    <a:pt x="49" y="44"/>
                  </a:cubicBezTo>
                  <a:cubicBezTo>
                    <a:pt x="49" y="44"/>
                    <a:pt x="49" y="44"/>
                    <a:pt x="49" y="44"/>
                  </a:cubicBezTo>
                  <a:cubicBezTo>
                    <a:pt x="49" y="44"/>
                    <a:pt x="49" y="44"/>
                    <a:pt x="49" y="44"/>
                  </a:cubicBezTo>
                  <a:cubicBezTo>
                    <a:pt x="49" y="44"/>
                    <a:pt x="49" y="44"/>
                    <a:pt x="49" y="44"/>
                  </a:cubicBezTo>
                  <a:cubicBezTo>
                    <a:pt x="49" y="44"/>
                    <a:pt x="49" y="44"/>
                    <a:pt x="49" y="44"/>
                  </a:cubicBezTo>
                  <a:cubicBezTo>
                    <a:pt x="48" y="45"/>
                    <a:pt x="48" y="46"/>
                    <a:pt x="48" y="47"/>
                  </a:cubicBezTo>
                  <a:cubicBezTo>
                    <a:pt x="48" y="51"/>
                    <a:pt x="50" y="54"/>
                    <a:pt x="52" y="56"/>
                  </a:cubicBezTo>
                  <a:cubicBezTo>
                    <a:pt x="54" y="58"/>
                    <a:pt x="57" y="60"/>
                    <a:pt x="60" y="60"/>
                  </a:cubicBezTo>
                  <a:cubicBezTo>
                    <a:pt x="62" y="60"/>
                    <a:pt x="64" y="60"/>
                    <a:pt x="66" y="59"/>
                  </a:cubicBezTo>
                  <a:cubicBezTo>
                    <a:pt x="66" y="62"/>
                    <a:pt x="65" y="66"/>
                    <a:pt x="65" y="70"/>
                  </a:cubicBezTo>
                  <a:cubicBezTo>
                    <a:pt x="65" y="73"/>
                    <a:pt x="64" y="76"/>
                    <a:pt x="64" y="78"/>
                  </a:cubicBezTo>
                  <a:cubicBezTo>
                    <a:pt x="61" y="78"/>
                    <a:pt x="58" y="78"/>
                    <a:pt x="54" y="77"/>
                  </a:cubicBezTo>
                  <a:cubicBezTo>
                    <a:pt x="48" y="76"/>
                    <a:pt x="42" y="76"/>
                    <a:pt x="37" y="76"/>
                  </a:cubicBezTo>
                  <a:cubicBezTo>
                    <a:pt x="36" y="76"/>
                    <a:pt x="34" y="77"/>
                    <a:pt x="34" y="78"/>
                  </a:cubicBezTo>
                  <a:cubicBezTo>
                    <a:pt x="34" y="79"/>
                    <a:pt x="35" y="80"/>
                    <a:pt x="36" y="80"/>
                  </a:cubicBezTo>
                  <a:cubicBezTo>
                    <a:pt x="36" y="80"/>
                    <a:pt x="36" y="80"/>
                    <a:pt x="36" y="80"/>
                  </a:cubicBezTo>
                  <a:cubicBezTo>
                    <a:pt x="37" y="81"/>
                    <a:pt x="38" y="82"/>
                    <a:pt x="38" y="83"/>
                  </a:cubicBezTo>
                  <a:cubicBezTo>
                    <a:pt x="38" y="83"/>
                    <a:pt x="38" y="83"/>
                    <a:pt x="38" y="83"/>
                  </a:cubicBezTo>
                  <a:cubicBezTo>
                    <a:pt x="38" y="83"/>
                    <a:pt x="38" y="83"/>
                    <a:pt x="38" y="83"/>
                  </a:cubicBezTo>
                  <a:cubicBezTo>
                    <a:pt x="39" y="84"/>
                    <a:pt x="39" y="85"/>
                    <a:pt x="39" y="87"/>
                  </a:cubicBezTo>
                  <a:cubicBezTo>
                    <a:pt x="39" y="88"/>
                    <a:pt x="38" y="90"/>
                    <a:pt x="37" y="92"/>
                  </a:cubicBezTo>
                  <a:cubicBezTo>
                    <a:pt x="36" y="92"/>
                    <a:pt x="36" y="92"/>
                    <a:pt x="36" y="92"/>
                  </a:cubicBezTo>
                  <a:cubicBezTo>
                    <a:pt x="35" y="93"/>
                    <a:pt x="33" y="94"/>
                    <a:pt x="32" y="94"/>
                  </a:cubicBezTo>
                  <a:cubicBezTo>
                    <a:pt x="30" y="94"/>
                    <a:pt x="28" y="93"/>
                    <a:pt x="27" y="91"/>
                  </a:cubicBezTo>
                  <a:cubicBezTo>
                    <a:pt x="26" y="90"/>
                    <a:pt x="25" y="88"/>
                    <a:pt x="25" y="86"/>
                  </a:cubicBezTo>
                  <a:cubicBezTo>
                    <a:pt x="25" y="85"/>
                    <a:pt x="25" y="83"/>
                    <a:pt x="26" y="82"/>
                  </a:cubicBezTo>
                  <a:cubicBezTo>
                    <a:pt x="26" y="82"/>
                    <a:pt x="26" y="82"/>
                    <a:pt x="26" y="82"/>
                  </a:cubicBezTo>
                  <a:cubicBezTo>
                    <a:pt x="27" y="81"/>
                    <a:pt x="27" y="81"/>
                    <a:pt x="29" y="80"/>
                  </a:cubicBezTo>
                  <a:cubicBezTo>
                    <a:pt x="30" y="80"/>
                    <a:pt x="30" y="78"/>
                    <a:pt x="30" y="77"/>
                  </a:cubicBezTo>
                  <a:cubicBezTo>
                    <a:pt x="29" y="76"/>
                    <a:pt x="28" y="75"/>
                    <a:pt x="27" y="75"/>
                  </a:cubicBezTo>
                  <a:cubicBezTo>
                    <a:pt x="23" y="75"/>
                    <a:pt x="16" y="75"/>
                    <a:pt x="10" y="76"/>
                  </a:cubicBezTo>
                  <a:cubicBezTo>
                    <a:pt x="7" y="76"/>
                    <a:pt x="3" y="76"/>
                    <a:pt x="1" y="76"/>
                  </a:cubicBezTo>
                  <a:cubicBezTo>
                    <a:pt x="0" y="74"/>
                    <a:pt x="0" y="71"/>
                    <a:pt x="0" y="67"/>
                  </a:cubicBezTo>
                  <a:cubicBezTo>
                    <a:pt x="0" y="64"/>
                    <a:pt x="0" y="60"/>
                    <a:pt x="0" y="57"/>
                  </a:cubicBezTo>
                  <a:cubicBezTo>
                    <a:pt x="1" y="58"/>
                    <a:pt x="3" y="58"/>
                    <a:pt x="5" y="58"/>
                  </a:cubicBezTo>
                  <a:cubicBezTo>
                    <a:pt x="8" y="58"/>
                    <a:pt x="12" y="57"/>
                    <a:pt x="14" y="55"/>
                  </a:cubicBezTo>
                  <a:cubicBezTo>
                    <a:pt x="16" y="53"/>
                    <a:pt x="18" y="50"/>
                    <a:pt x="18" y="46"/>
                  </a:cubicBezTo>
                  <a:cubicBezTo>
                    <a:pt x="18" y="43"/>
                    <a:pt x="17" y="40"/>
                    <a:pt x="15" y="38"/>
                  </a:cubicBezTo>
                  <a:cubicBezTo>
                    <a:pt x="12" y="35"/>
                    <a:pt x="9" y="34"/>
                    <a:pt x="6" y="34"/>
                  </a:cubicBezTo>
                  <a:cubicBezTo>
                    <a:pt x="4" y="34"/>
                    <a:pt x="2" y="34"/>
                    <a:pt x="0" y="35"/>
                  </a:cubicBezTo>
                  <a:cubicBezTo>
                    <a:pt x="1" y="31"/>
                    <a:pt x="1" y="28"/>
                    <a:pt x="1" y="24"/>
                  </a:cubicBezTo>
                  <a:cubicBezTo>
                    <a:pt x="2" y="21"/>
                    <a:pt x="2" y="17"/>
                    <a:pt x="3" y="15"/>
                  </a:cubicBezTo>
                  <a:close/>
                </a:path>
              </a:pathLst>
            </a:custGeom>
            <a:grpFill/>
            <a:ln w="9525">
              <a:noFill/>
              <a:round/>
              <a:headEnd/>
              <a:tailEnd/>
            </a:ln>
          </p:spPr>
          <p:txBody>
            <a:bodyPr vert="horz" wrap="square" lIns="89726" tIns="44863" rIns="89726" bIns="44863" numCol="1" anchor="t" anchorCtr="0" compatLnSpc="1">
              <a:prstTxWarp prst="textNoShape">
                <a:avLst/>
              </a:prstTxWarp>
            </a:bodyPr>
            <a:lstStyle/>
            <a:p>
              <a:endParaRPr lang="en-GB" dirty="0">
                <a:solidFill>
                  <a:srgbClr val="000000"/>
                </a:solidFill>
              </a:endParaRPr>
            </a:p>
          </p:txBody>
        </p:sp>
        <p:sp>
          <p:nvSpPr>
            <p:cNvPr id="42" name="Freeform 70"/>
            <p:cNvSpPr>
              <a:spLocks/>
            </p:cNvSpPr>
            <p:nvPr/>
          </p:nvSpPr>
          <p:spPr bwMode="auto">
            <a:xfrm>
              <a:off x="7654925" y="3340418"/>
              <a:ext cx="241300" cy="171450"/>
            </a:xfrm>
            <a:custGeom>
              <a:avLst/>
              <a:gdLst/>
              <a:ahLst/>
              <a:cxnLst>
                <a:cxn ang="0">
                  <a:pos x="78" y="29"/>
                </a:cxn>
                <a:cxn ang="0">
                  <a:pos x="83" y="25"/>
                </a:cxn>
                <a:cxn ang="0">
                  <a:pos x="92" y="36"/>
                </a:cxn>
                <a:cxn ang="0">
                  <a:pos x="83" y="38"/>
                </a:cxn>
                <a:cxn ang="0">
                  <a:pos x="76" y="37"/>
                </a:cxn>
                <a:cxn ang="0">
                  <a:pos x="59" y="66"/>
                </a:cxn>
                <a:cxn ang="0">
                  <a:pos x="47" y="48"/>
                </a:cxn>
                <a:cxn ang="0">
                  <a:pos x="26" y="66"/>
                </a:cxn>
                <a:cxn ang="0">
                  <a:pos x="18" y="40"/>
                </a:cxn>
                <a:cxn ang="0">
                  <a:pos x="18" y="39"/>
                </a:cxn>
                <a:cxn ang="0">
                  <a:pos x="18" y="39"/>
                </a:cxn>
                <a:cxn ang="0">
                  <a:pos x="18" y="39"/>
                </a:cxn>
                <a:cxn ang="0">
                  <a:pos x="18" y="39"/>
                </a:cxn>
                <a:cxn ang="0">
                  <a:pos x="18" y="39"/>
                </a:cxn>
                <a:cxn ang="0">
                  <a:pos x="18" y="38"/>
                </a:cxn>
                <a:cxn ang="0">
                  <a:pos x="18" y="38"/>
                </a:cxn>
                <a:cxn ang="0">
                  <a:pos x="18" y="38"/>
                </a:cxn>
                <a:cxn ang="0">
                  <a:pos x="18" y="38"/>
                </a:cxn>
                <a:cxn ang="0">
                  <a:pos x="18" y="38"/>
                </a:cxn>
                <a:cxn ang="0">
                  <a:pos x="18" y="38"/>
                </a:cxn>
                <a:cxn ang="0">
                  <a:pos x="18" y="38"/>
                </a:cxn>
                <a:cxn ang="0">
                  <a:pos x="18" y="38"/>
                </a:cxn>
                <a:cxn ang="0">
                  <a:pos x="17" y="37"/>
                </a:cxn>
                <a:cxn ang="0">
                  <a:pos x="17" y="37"/>
                </a:cxn>
                <a:cxn ang="0">
                  <a:pos x="17" y="37"/>
                </a:cxn>
                <a:cxn ang="0">
                  <a:pos x="16" y="37"/>
                </a:cxn>
                <a:cxn ang="0">
                  <a:pos x="16" y="37"/>
                </a:cxn>
                <a:cxn ang="0">
                  <a:pos x="16" y="37"/>
                </a:cxn>
                <a:cxn ang="0">
                  <a:pos x="15" y="37"/>
                </a:cxn>
                <a:cxn ang="0">
                  <a:pos x="15" y="37"/>
                </a:cxn>
                <a:cxn ang="0">
                  <a:pos x="15" y="37"/>
                </a:cxn>
                <a:cxn ang="0">
                  <a:pos x="15" y="37"/>
                </a:cxn>
                <a:cxn ang="0">
                  <a:pos x="15" y="37"/>
                </a:cxn>
                <a:cxn ang="0">
                  <a:pos x="15" y="37"/>
                </a:cxn>
                <a:cxn ang="0">
                  <a:pos x="15" y="37"/>
                </a:cxn>
                <a:cxn ang="0">
                  <a:pos x="15" y="37"/>
                </a:cxn>
                <a:cxn ang="0">
                  <a:pos x="15" y="37"/>
                </a:cxn>
                <a:cxn ang="0">
                  <a:pos x="15" y="37"/>
                </a:cxn>
                <a:cxn ang="0">
                  <a:pos x="14" y="37"/>
                </a:cxn>
                <a:cxn ang="0">
                  <a:pos x="13" y="38"/>
                </a:cxn>
                <a:cxn ang="0">
                  <a:pos x="13" y="38"/>
                </a:cxn>
                <a:cxn ang="0">
                  <a:pos x="13" y="38"/>
                </a:cxn>
                <a:cxn ang="0">
                  <a:pos x="13" y="38"/>
                </a:cxn>
                <a:cxn ang="0">
                  <a:pos x="13" y="38"/>
                </a:cxn>
                <a:cxn ang="0">
                  <a:pos x="13" y="38"/>
                </a:cxn>
                <a:cxn ang="0">
                  <a:pos x="13" y="39"/>
                </a:cxn>
                <a:cxn ang="0">
                  <a:pos x="13" y="39"/>
                </a:cxn>
                <a:cxn ang="0">
                  <a:pos x="13" y="39"/>
                </a:cxn>
                <a:cxn ang="0">
                  <a:pos x="13" y="39"/>
                </a:cxn>
                <a:cxn ang="0">
                  <a:pos x="13" y="39"/>
                </a:cxn>
                <a:cxn ang="0">
                  <a:pos x="11" y="41"/>
                </a:cxn>
                <a:cxn ang="0">
                  <a:pos x="0" y="35"/>
                </a:cxn>
                <a:cxn ang="0">
                  <a:pos x="11" y="28"/>
                </a:cxn>
                <a:cxn ang="0">
                  <a:pos x="18" y="30"/>
                </a:cxn>
                <a:cxn ang="0">
                  <a:pos x="18" y="30"/>
                </a:cxn>
                <a:cxn ang="0">
                  <a:pos x="15" y="3"/>
                </a:cxn>
                <a:cxn ang="0">
                  <a:pos x="38" y="15"/>
                </a:cxn>
                <a:cxn ang="0">
                  <a:pos x="56" y="0"/>
                </a:cxn>
              </a:cxnLst>
              <a:rect l="0" t="0" r="r" b="b"/>
              <a:pathLst>
                <a:path w="94" h="67">
                  <a:moveTo>
                    <a:pt x="76" y="0"/>
                  </a:moveTo>
                  <a:cubicBezTo>
                    <a:pt x="76" y="3"/>
                    <a:pt x="76" y="6"/>
                    <a:pt x="76" y="10"/>
                  </a:cubicBezTo>
                  <a:cubicBezTo>
                    <a:pt x="76" y="16"/>
                    <a:pt x="76" y="23"/>
                    <a:pt x="76" y="27"/>
                  </a:cubicBezTo>
                  <a:cubicBezTo>
                    <a:pt x="76" y="28"/>
                    <a:pt x="77" y="29"/>
                    <a:pt x="78" y="29"/>
                  </a:cubicBezTo>
                  <a:cubicBezTo>
                    <a:pt x="79" y="29"/>
                    <a:pt x="80" y="29"/>
                    <a:pt x="80" y="28"/>
                  </a:cubicBezTo>
                  <a:cubicBezTo>
                    <a:pt x="80" y="28"/>
                    <a:pt x="80" y="28"/>
                    <a:pt x="80" y="28"/>
                  </a:cubicBezTo>
                  <a:cubicBezTo>
                    <a:pt x="81" y="27"/>
                    <a:pt x="82" y="26"/>
                    <a:pt x="83" y="25"/>
                  </a:cubicBezTo>
                  <a:cubicBezTo>
                    <a:pt x="83" y="25"/>
                    <a:pt x="83" y="25"/>
                    <a:pt x="83" y="25"/>
                  </a:cubicBezTo>
                  <a:cubicBezTo>
                    <a:pt x="83" y="25"/>
                    <a:pt x="85" y="24"/>
                    <a:pt x="86" y="24"/>
                  </a:cubicBezTo>
                  <a:cubicBezTo>
                    <a:pt x="88" y="24"/>
                    <a:pt x="90" y="25"/>
                    <a:pt x="91" y="27"/>
                  </a:cubicBezTo>
                  <a:cubicBezTo>
                    <a:pt x="93" y="28"/>
                    <a:pt x="94" y="29"/>
                    <a:pt x="94" y="31"/>
                  </a:cubicBezTo>
                  <a:cubicBezTo>
                    <a:pt x="94" y="33"/>
                    <a:pt x="93" y="35"/>
                    <a:pt x="92" y="36"/>
                  </a:cubicBezTo>
                  <a:cubicBezTo>
                    <a:pt x="92" y="36"/>
                    <a:pt x="92" y="36"/>
                    <a:pt x="92" y="36"/>
                  </a:cubicBezTo>
                  <a:cubicBezTo>
                    <a:pt x="90" y="38"/>
                    <a:pt x="89" y="39"/>
                    <a:pt x="87" y="39"/>
                  </a:cubicBezTo>
                  <a:cubicBezTo>
                    <a:pt x="85" y="39"/>
                    <a:pt x="84" y="39"/>
                    <a:pt x="83" y="38"/>
                  </a:cubicBezTo>
                  <a:cubicBezTo>
                    <a:pt x="83" y="38"/>
                    <a:pt x="83" y="38"/>
                    <a:pt x="83" y="38"/>
                  </a:cubicBezTo>
                  <a:cubicBezTo>
                    <a:pt x="82" y="37"/>
                    <a:pt x="81" y="37"/>
                    <a:pt x="81" y="36"/>
                  </a:cubicBezTo>
                  <a:cubicBezTo>
                    <a:pt x="80" y="34"/>
                    <a:pt x="78" y="34"/>
                    <a:pt x="77" y="35"/>
                  </a:cubicBezTo>
                  <a:cubicBezTo>
                    <a:pt x="76" y="35"/>
                    <a:pt x="76" y="36"/>
                    <a:pt x="76" y="37"/>
                  </a:cubicBezTo>
                  <a:cubicBezTo>
                    <a:pt x="76" y="37"/>
                    <a:pt x="76" y="37"/>
                    <a:pt x="76" y="37"/>
                  </a:cubicBezTo>
                  <a:cubicBezTo>
                    <a:pt x="76" y="41"/>
                    <a:pt x="77" y="48"/>
                    <a:pt x="78" y="54"/>
                  </a:cubicBezTo>
                  <a:cubicBezTo>
                    <a:pt x="78" y="58"/>
                    <a:pt x="78" y="61"/>
                    <a:pt x="79" y="63"/>
                  </a:cubicBezTo>
                  <a:cubicBezTo>
                    <a:pt x="76" y="64"/>
                    <a:pt x="73" y="64"/>
                    <a:pt x="70" y="65"/>
                  </a:cubicBezTo>
                  <a:cubicBezTo>
                    <a:pt x="66" y="65"/>
                    <a:pt x="62" y="65"/>
                    <a:pt x="59" y="66"/>
                  </a:cubicBezTo>
                  <a:cubicBezTo>
                    <a:pt x="60" y="64"/>
                    <a:pt x="60" y="62"/>
                    <a:pt x="60" y="60"/>
                  </a:cubicBezTo>
                  <a:cubicBezTo>
                    <a:pt x="60" y="57"/>
                    <a:pt x="58" y="54"/>
                    <a:pt x="56" y="52"/>
                  </a:cubicBezTo>
                  <a:cubicBezTo>
                    <a:pt x="56" y="51"/>
                    <a:pt x="56" y="51"/>
                    <a:pt x="56" y="51"/>
                  </a:cubicBezTo>
                  <a:cubicBezTo>
                    <a:pt x="53" y="49"/>
                    <a:pt x="51" y="48"/>
                    <a:pt x="47" y="48"/>
                  </a:cubicBezTo>
                  <a:cubicBezTo>
                    <a:pt x="44" y="48"/>
                    <a:pt x="41" y="50"/>
                    <a:pt x="39" y="52"/>
                  </a:cubicBezTo>
                  <a:cubicBezTo>
                    <a:pt x="37" y="55"/>
                    <a:pt x="35" y="58"/>
                    <a:pt x="36" y="61"/>
                  </a:cubicBezTo>
                  <a:cubicBezTo>
                    <a:pt x="36" y="63"/>
                    <a:pt x="36" y="65"/>
                    <a:pt x="37" y="67"/>
                  </a:cubicBezTo>
                  <a:cubicBezTo>
                    <a:pt x="34" y="67"/>
                    <a:pt x="30" y="66"/>
                    <a:pt x="26" y="66"/>
                  </a:cubicBezTo>
                  <a:cubicBezTo>
                    <a:pt x="23" y="66"/>
                    <a:pt x="20" y="66"/>
                    <a:pt x="17" y="66"/>
                  </a:cubicBezTo>
                  <a:cubicBezTo>
                    <a:pt x="18" y="63"/>
                    <a:pt x="18" y="60"/>
                    <a:pt x="18" y="56"/>
                  </a:cubicBezTo>
                  <a:cubicBezTo>
                    <a:pt x="18" y="51"/>
                    <a:pt x="18" y="44"/>
                    <a:pt x="18" y="40"/>
                  </a:cubicBezTo>
                  <a:cubicBezTo>
                    <a:pt x="18" y="40"/>
                    <a:pt x="18" y="40"/>
                    <a:pt x="18" y="40"/>
                  </a:cubicBezTo>
                  <a:cubicBezTo>
                    <a:pt x="18" y="39"/>
                    <a:pt x="18" y="39"/>
                    <a:pt x="18" y="39"/>
                  </a:cubicBezTo>
                  <a:cubicBezTo>
                    <a:pt x="18" y="39"/>
                    <a:pt x="18" y="39"/>
                    <a:pt x="18" y="39"/>
                  </a:cubicBezTo>
                  <a:cubicBezTo>
                    <a:pt x="18" y="39"/>
                    <a:pt x="18" y="39"/>
                    <a:pt x="18" y="39"/>
                  </a:cubicBezTo>
                  <a:cubicBezTo>
                    <a:pt x="18" y="39"/>
                    <a:pt x="18" y="39"/>
                    <a:pt x="18" y="39"/>
                  </a:cubicBezTo>
                  <a:cubicBezTo>
                    <a:pt x="18" y="39"/>
                    <a:pt x="18" y="39"/>
                    <a:pt x="18" y="39"/>
                  </a:cubicBezTo>
                  <a:cubicBezTo>
                    <a:pt x="18" y="39"/>
                    <a:pt x="18" y="39"/>
                    <a:pt x="18" y="39"/>
                  </a:cubicBezTo>
                  <a:cubicBezTo>
                    <a:pt x="18" y="39"/>
                    <a:pt x="18" y="39"/>
                    <a:pt x="18" y="39"/>
                  </a:cubicBezTo>
                  <a:cubicBezTo>
                    <a:pt x="18" y="39"/>
                    <a:pt x="18" y="39"/>
                    <a:pt x="18" y="39"/>
                  </a:cubicBezTo>
                  <a:cubicBezTo>
                    <a:pt x="18" y="39"/>
                    <a:pt x="18" y="39"/>
                    <a:pt x="18" y="39"/>
                  </a:cubicBezTo>
                  <a:cubicBezTo>
                    <a:pt x="18" y="39"/>
                    <a:pt x="18" y="39"/>
                    <a:pt x="18" y="39"/>
                  </a:cubicBezTo>
                  <a:cubicBezTo>
                    <a:pt x="18" y="39"/>
                    <a:pt x="18" y="39"/>
                    <a:pt x="18" y="39"/>
                  </a:cubicBezTo>
                  <a:cubicBezTo>
                    <a:pt x="18" y="39"/>
                    <a:pt x="18" y="39"/>
                    <a:pt x="18" y="39"/>
                  </a:cubicBezTo>
                  <a:cubicBezTo>
                    <a:pt x="18" y="39"/>
                    <a:pt x="18" y="39"/>
                    <a:pt x="18" y="39"/>
                  </a:cubicBezTo>
                  <a:cubicBezTo>
                    <a:pt x="18" y="39"/>
                    <a:pt x="18" y="39"/>
                    <a:pt x="18" y="39"/>
                  </a:cubicBezTo>
                  <a:cubicBezTo>
                    <a:pt x="18" y="39"/>
                    <a:pt x="18" y="39"/>
                    <a:pt x="18" y="39"/>
                  </a:cubicBezTo>
                  <a:cubicBezTo>
                    <a:pt x="18" y="39"/>
                    <a:pt x="18" y="39"/>
                    <a:pt x="18" y="39"/>
                  </a:cubicBezTo>
                  <a:cubicBezTo>
                    <a:pt x="18" y="39"/>
                    <a:pt x="18" y="39"/>
                    <a:pt x="18" y="39"/>
                  </a:cubicBezTo>
                  <a:cubicBezTo>
                    <a:pt x="18" y="39"/>
                    <a:pt x="18" y="39"/>
                    <a:pt x="18" y="39"/>
                  </a:cubicBezTo>
                  <a:cubicBezTo>
                    <a:pt x="18" y="39"/>
                    <a:pt x="18" y="39"/>
                    <a:pt x="18" y="39"/>
                  </a:cubicBezTo>
                  <a:cubicBezTo>
                    <a:pt x="18" y="39"/>
                    <a:pt x="18" y="39"/>
                    <a:pt x="18" y="39"/>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7"/>
                  </a:cubicBezTo>
                  <a:cubicBezTo>
                    <a:pt x="18" y="37"/>
                    <a:pt x="18" y="37"/>
                    <a:pt x="18"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6" y="37"/>
                    <a:pt x="16" y="37"/>
                    <a:pt x="16" y="37"/>
                  </a:cubicBezTo>
                  <a:cubicBezTo>
                    <a:pt x="16" y="37"/>
                    <a:pt x="16" y="37"/>
                    <a:pt x="16" y="37"/>
                  </a:cubicBezTo>
                  <a:cubicBezTo>
                    <a:pt x="16" y="37"/>
                    <a:pt x="16" y="37"/>
                    <a:pt x="16" y="37"/>
                  </a:cubicBezTo>
                  <a:cubicBezTo>
                    <a:pt x="16" y="37"/>
                    <a:pt x="16" y="37"/>
                    <a:pt x="16" y="37"/>
                  </a:cubicBezTo>
                  <a:cubicBezTo>
                    <a:pt x="16" y="37"/>
                    <a:pt x="16" y="37"/>
                    <a:pt x="16" y="37"/>
                  </a:cubicBezTo>
                  <a:cubicBezTo>
                    <a:pt x="16" y="37"/>
                    <a:pt x="16" y="37"/>
                    <a:pt x="16" y="37"/>
                  </a:cubicBezTo>
                  <a:cubicBezTo>
                    <a:pt x="16" y="37"/>
                    <a:pt x="16" y="37"/>
                    <a:pt x="16" y="37"/>
                  </a:cubicBezTo>
                  <a:cubicBezTo>
                    <a:pt x="16" y="37"/>
                    <a:pt x="16" y="37"/>
                    <a:pt x="16" y="37"/>
                  </a:cubicBezTo>
                  <a:cubicBezTo>
                    <a:pt x="16" y="37"/>
                    <a:pt x="16" y="37"/>
                    <a:pt x="16" y="37"/>
                  </a:cubicBezTo>
                  <a:cubicBezTo>
                    <a:pt x="16" y="37"/>
                    <a:pt x="16" y="37"/>
                    <a:pt x="16" y="37"/>
                  </a:cubicBezTo>
                  <a:cubicBezTo>
                    <a:pt x="16" y="37"/>
                    <a:pt x="16" y="37"/>
                    <a:pt x="16" y="37"/>
                  </a:cubicBezTo>
                  <a:cubicBezTo>
                    <a:pt x="16" y="37"/>
                    <a:pt x="16" y="37"/>
                    <a:pt x="16" y="37"/>
                  </a:cubicBezTo>
                  <a:cubicBezTo>
                    <a:pt x="16" y="37"/>
                    <a:pt x="16"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5" y="37"/>
                    <a:pt x="15" y="37"/>
                    <a:pt x="15" y="37"/>
                  </a:cubicBezTo>
                  <a:cubicBezTo>
                    <a:pt x="14" y="37"/>
                    <a:pt x="14" y="37"/>
                    <a:pt x="14" y="37"/>
                  </a:cubicBezTo>
                  <a:cubicBezTo>
                    <a:pt x="14" y="37"/>
                    <a:pt x="14" y="37"/>
                    <a:pt x="14" y="37"/>
                  </a:cubicBezTo>
                  <a:cubicBezTo>
                    <a:pt x="14" y="37"/>
                    <a:pt x="14" y="37"/>
                    <a:pt x="14" y="37"/>
                  </a:cubicBezTo>
                  <a:cubicBezTo>
                    <a:pt x="14" y="37"/>
                    <a:pt x="14" y="37"/>
                    <a:pt x="14" y="37"/>
                  </a:cubicBezTo>
                  <a:cubicBezTo>
                    <a:pt x="14" y="37"/>
                    <a:pt x="14" y="37"/>
                    <a:pt x="14" y="37"/>
                  </a:cubicBezTo>
                  <a:cubicBezTo>
                    <a:pt x="14" y="37"/>
                    <a:pt x="14" y="37"/>
                    <a:pt x="14" y="37"/>
                  </a:cubicBezTo>
                  <a:cubicBezTo>
                    <a:pt x="14" y="37"/>
                    <a:pt x="14" y="38"/>
                    <a:pt x="13" y="38"/>
                  </a:cubicBezTo>
                  <a:cubicBezTo>
                    <a:pt x="13" y="38"/>
                    <a:pt x="13" y="38"/>
                    <a:pt x="13" y="38"/>
                  </a:cubicBezTo>
                  <a:cubicBezTo>
                    <a:pt x="13" y="38"/>
                    <a:pt x="13" y="38"/>
                    <a:pt x="13" y="38"/>
                  </a:cubicBezTo>
                  <a:cubicBezTo>
                    <a:pt x="13" y="38"/>
                    <a:pt x="13" y="38"/>
                    <a:pt x="13" y="38"/>
                  </a:cubicBezTo>
                  <a:cubicBezTo>
                    <a:pt x="13" y="38"/>
                    <a:pt x="13" y="38"/>
                    <a:pt x="13" y="38"/>
                  </a:cubicBezTo>
                  <a:cubicBezTo>
                    <a:pt x="13" y="38"/>
                    <a:pt x="13" y="38"/>
                    <a:pt x="13" y="38"/>
                  </a:cubicBezTo>
                  <a:cubicBezTo>
                    <a:pt x="13" y="38"/>
                    <a:pt x="13" y="38"/>
                    <a:pt x="13" y="38"/>
                  </a:cubicBezTo>
                  <a:cubicBezTo>
                    <a:pt x="13" y="38"/>
                    <a:pt x="13" y="38"/>
                    <a:pt x="13" y="38"/>
                  </a:cubicBezTo>
                  <a:cubicBezTo>
                    <a:pt x="13" y="38"/>
                    <a:pt x="13" y="38"/>
                    <a:pt x="13" y="38"/>
                  </a:cubicBezTo>
                  <a:cubicBezTo>
                    <a:pt x="13" y="38"/>
                    <a:pt x="13" y="38"/>
                    <a:pt x="13" y="38"/>
                  </a:cubicBezTo>
                  <a:cubicBezTo>
                    <a:pt x="13" y="38"/>
                    <a:pt x="13" y="38"/>
                    <a:pt x="13" y="38"/>
                  </a:cubicBezTo>
                  <a:cubicBezTo>
                    <a:pt x="13" y="38"/>
                    <a:pt x="13" y="38"/>
                    <a:pt x="13" y="38"/>
                  </a:cubicBezTo>
                  <a:cubicBezTo>
                    <a:pt x="13" y="38"/>
                    <a:pt x="13" y="38"/>
                    <a:pt x="13" y="38"/>
                  </a:cubicBezTo>
                  <a:cubicBezTo>
                    <a:pt x="13" y="38"/>
                    <a:pt x="13" y="38"/>
                    <a:pt x="13" y="38"/>
                  </a:cubicBezTo>
                  <a:cubicBezTo>
                    <a:pt x="13" y="38"/>
                    <a:pt x="13" y="38"/>
                    <a:pt x="13" y="38"/>
                  </a:cubicBezTo>
                  <a:cubicBezTo>
                    <a:pt x="13" y="38"/>
                    <a:pt x="13" y="38"/>
                    <a:pt x="13" y="38"/>
                  </a:cubicBezTo>
                  <a:cubicBezTo>
                    <a:pt x="13" y="38"/>
                    <a:pt x="13" y="38"/>
                    <a:pt x="13" y="38"/>
                  </a:cubicBezTo>
                  <a:cubicBezTo>
                    <a:pt x="13" y="38"/>
                    <a:pt x="13" y="38"/>
                    <a:pt x="13" y="38"/>
                  </a:cubicBezTo>
                  <a:cubicBezTo>
                    <a:pt x="13" y="38"/>
                    <a:pt x="13" y="38"/>
                    <a:pt x="13" y="38"/>
                  </a:cubicBezTo>
                  <a:cubicBezTo>
                    <a:pt x="13" y="38"/>
                    <a:pt x="13" y="38"/>
                    <a:pt x="13" y="38"/>
                  </a:cubicBezTo>
                  <a:cubicBezTo>
                    <a:pt x="13" y="38"/>
                    <a:pt x="13" y="38"/>
                    <a:pt x="13" y="38"/>
                  </a:cubicBezTo>
                  <a:cubicBezTo>
                    <a:pt x="13" y="38"/>
                    <a:pt x="13" y="38"/>
                    <a:pt x="13" y="38"/>
                  </a:cubicBezTo>
                  <a:cubicBezTo>
                    <a:pt x="13" y="38"/>
                    <a:pt x="13" y="38"/>
                    <a:pt x="13" y="38"/>
                  </a:cubicBezTo>
                  <a:cubicBezTo>
                    <a:pt x="13" y="38"/>
                    <a:pt x="13" y="38"/>
                    <a:pt x="13" y="38"/>
                  </a:cubicBezTo>
                  <a:cubicBezTo>
                    <a:pt x="13" y="39"/>
                    <a:pt x="13" y="39"/>
                    <a:pt x="13" y="39"/>
                  </a:cubicBezTo>
                  <a:cubicBezTo>
                    <a:pt x="13" y="39"/>
                    <a:pt x="13" y="39"/>
                    <a:pt x="13" y="39"/>
                  </a:cubicBezTo>
                  <a:cubicBezTo>
                    <a:pt x="13" y="39"/>
                    <a:pt x="13" y="39"/>
                    <a:pt x="13" y="39"/>
                  </a:cubicBezTo>
                  <a:cubicBezTo>
                    <a:pt x="13" y="39"/>
                    <a:pt x="13" y="39"/>
                    <a:pt x="13" y="39"/>
                  </a:cubicBezTo>
                  <a:cubicBezTo>
                    <a:pt x="13" y="39"/>
                    <a:pt x="13" y="39"/>
                    <a:pt x="13" y="39"/>
                  </a:cubicBezTo>
                  <a:cubicBezTo>
                    <a:pt x="13" y="39"/>
                    <a:pt x="13" y="39"/>
                    <a:pt x="13" y="39"/>
                  </a:cubicBezTo>
                  <a:cubicBezTo>
                    <a:pt x="13" y="39"/>
                    <a:pt x="13" y="39"/>
                    <a:pt x="13" y="39"/>
                  </a:cubicBezTo>
                  <a:cubicBezTo>
                    <a:pt x="13" y="39"/>
                    <a:pt x="13" y="39"/>
                    <a:pt x="13" y="39"/>
                  </a:cubicBezTo>
                  <a:cubicBezTo>
                    <a:pt x="13" y="39"/>
                    <a:pt x="13" y="39"/>
                    <a:pt x="13" y="39"/>
                  </a:cubicBezTo>
                  <a:cubicBezTo>
                    <a:pt x="13" y="39"/>
                    <a:pt x="13" y="39"/>
                    <a:pt x="13" y="39"/>
                  </a:cubicBezTo>
                  <a:cubicBezTo>
                    <a:pt x="13" y="39"/>
                    <a:pt x="13" y="39"/>
                    <a:pt x="13" y="39"/>
                  </a:cubicBezTo>
                  <a:cubicBezTo>
                    <a:pt x="13" y="39"/>
                    <a:pt x="13" y="39"/>
                    <a:pt x="13" y="39"/>
                  </a:cubicBezTo>
                  <a:cubicBezTo>
                    <a:pt x="13" y="39"/>
                    <a:pt x="13" y="39"/>
                    <a:pt x="13" y="39"/>
                  </a:cubicBezTo>
                  <a:cubicBezTo>
                    <a:pt x="13" y="39"/>
                    <a:pt x="13" y="39"/>
                    <a:pt x="13" y="39"/>
                  </a:cubicBezTo>
                  <a:cubicBezTo>
                    <a:pt x="13" y="39"/>
                    <a:pt x="13" y="39"/>
                    <a:pt x="13" y="39"/>
                  </a:cubicBezTo>
                  <a:cubicBezTo>
                    <a:pt x="13" y="39"/>
                    <a:pt x="13" y="39"/>
                    <a:pt x="13" y="39"/>
                  </a:cubicBezTo>
                  <a:cubicBezTo>
                    <a:pt x="13" y="39"/>
                    <a:pt x="13" y="39"/>
                    <a:pt x="13" y="39"/>
                  </a:cubicBezTo>
                  <a:cubicBezTo>
                    <a:pt x="13" y="39"/>
                    <a:pt x="13" y="39"/>
                    <a:pt x="13" y="39"/>
                  </a:cubicBezTo>
                  <a:cubicBezTo>
                    <a:pt x="13" y="39"/>
                    <a:pt x="13" y="39"/>
                    <a:pt x="13" y="39"/>
                  </a:cubicBezTo>
                  <a:cubicBezTo>
                    <a:pt x="12" y="39"/>
                    <a:pt x="12" y="39"/>
                    <a:pt x="12" y="39"/>
                  </a:cubicBezTo>
                  <a:cubicBezTo>
                    <a:pt x="12" y="39"/>
                    <a:pt x="12" y="39"/>
                    <a:pt x="12" y="39"/>
                  </a:cubicBezTo>
                  <a:cubicBezTo>
                    <a:pt x="12" y="40"/>
                    <a:pt x="12" y="40"/>
                    <a:pt x="11" y="41"/>
                  </a:cubicBezTo>
                  <a:cubicBezTo>
                    <a:pt x="10" y="41"/>
                    <a:pt x="9" y="42"/>
                    <a:pt x="7" y="42"/>
                  </a:cubicBezTo>
                  <a:cubicBezTo>
                    <a:pt x="6" y="42"/>
                    <a:pt x="4" y="41"/>
                    <a:pt x="2" y="40"/>
                  </a:cubicBezTo>
                  <a:cubicBezTo>
                    <a:pt x="2" y="40"/>
                    <a:pt x="2" y="40"/>
                    <a:pt x="2" y="40"/>
                  </a:cubicBezTo>
                  <a:cubicBezTo>
                    <a:pt x="1" y="38"/>
                    <a:pt x="0" y="37"/>
                    <a:pt x="0" y="35"/>
                  </a:cubicBezTo>
                  <a:cubicBezTo>
                    <a:pt x="0" y="33"/>
                    <a:pt x="0" y="31"/>
                    <a:pt x="2" y="30"/>
                  </a:cubicBezTo>
                  <a:cubicBezTo>
                    <a:pt x="2" y="30"/>
                    <a:pt x="2" y="30"/>
                    <a:pt x="2" y="30"/>
                  </a:cubicBezTo>
                  <a:cubicBezTo>
                    <a:pt x="3" y="28"/>
                    <a:pt x="5" y="28"/>
                    <a:pt x="7" y="27"/>
                  </a:cubicBezTo>
                  <a:cubicBezTo>
                    <a:pt x="8" y="27"/>
                    <a:pt x="10" y="28"/>
                    <a:pt x="11" y="28"/>
                  </a:cubicBezTo>
                  <a:cubicBezTo>
                    <a:pt x="12" y="29"/>
                    <a:pt x="12" y="30"/>
                    <a:pt x="13" y="31"/>
                  </a:cubicBezTo>
                  <a:cubicBezTo>
                    <a:pt x="14" y="32"/>
                    <a:pt x="14" y="32"/>
                    <a:pt x="15" y="32"/>
                  </a:cubicBezTo>
                  <a:cubicBezTo>
                    <a:pt x="17" y="32"/>
                    <a:pt x="18" y="31"/>
                    <a:pt x="18" y="30"/>
                  </a:cubicBezTo>
                  <a:cubicBezTo>
                    <a:pt x="18" y="30"/>
                    <a:pt x="18" y="30"/>
                    <a:pt x="18" y="30"/>
                  </a:cubicBezTo>
                  <a:cubicBezTo>
                    <a:pt x="18" y="30"/>
                    <a:pt x="18" y="30"/>
                    <a:pt x="18" y="30"/>
                  </a:cubicBezTo>
                  <a:cubicBezTo>
                    <a:pt x="18" y="30"/>
                    <a:pt x="18" y="30"/>
                    <a:pt x="18" y="30"/>
                  </a:cubicBezTo>
                  <a:cubicBezTo>
                    <a:pt x="18" y="30"/>
                    <a:pt x="18" y="30"/>
                    <a:pt x="18" y="30"/>
                  </a:cubicBezTo>
                  <a:cubicBezTo>
                    <a:pt x="18" y="30"/>
                    <a:pt x="18" y="30"/>
                    <a:pt x="18" y="30"/>
                  </a:cubicBezTo>
                  <a:cubicBezTo>
                    <a:pt x="18" y="30"/>
                    <a:pt x="18" y="30"/>
                    <a:pt x="18" y="30"/>
                  </a:cubicBezTo>
                  <a:cubicBezTo>
                    <a:pt x="18" y="30"/>
                    <a:pt x="18" y="29"/>
                    <a:pt x="18" y="29"/>
                  </a:cubicBezTo>
                  <a:cubicBezTo>
                    <a:pt x="17" y="25"/>
                    <a:pt x="17" y="18"/>
                    <a:pt x="16" y="12"/>
                  </a:cubicBezTo>
                  <a:cubicBezTo>
                    <a:pt x="16" y="9"/>
                    <a:pt x="15" y="5"/>
                    <a:pt x="15" y="3"/>
                  </a:cubicBezTo>
                  <a:cubicBezTo>
                    <a:pt x="17" y="2"/>
                    <a:pt x="20" y="2"/>
                    <a:pt x="24" y="2"/>
                  </a:cubicBezTo>
                  <a:cubicBezTo>
                    <a:pt x="27" y="1"/>
                    <a:pt x="31" y="1"/>
                    <a:pt x="34" y="0"/>
                  </a:cubicBezTo>
                  <a:cubicBezTo>
                    <a:pt x="34" y="2"/>
                    <a:pt x="33" y="4"/>
                    <a:pt x="33" y="6"/>
                  </a:cubicBezTo>
                  <a:cubicBezTo>
                    <a:pt x="34" y="9"/>
                    <a:pt x="35" y="12"/>
                    <a:pt x="38" y="15"/>
                  </a:cubicBezTo>
                  <a:cubicBezTo>
                    <a:pt x="40" y="17"/>
                    <a:pt x="43" y="18"/>
                    <a:pt x="46" y="18"/>
                  </a:cubicBezTo>
                  <a:cubicBezTo>
                    <a:pt x="49" y="18"/>
                    <a:pt x="52" y="16"/>
                    <a:pt x="54" y="14"/>
                  </a:cubicBezTo>
                  <a:cubicBezTo>
                    <a:pt x="57" y="12"/>
                    <a:pt x="58" y="8"/>
                    <a:pt x="58" y="5"/>
                  </a:cubicBezTo>
                  <a:cubicBezTo>
                    <a:pt x="58" y="3"/>
                    <a:pt x="57" y="1"/>
                    <a:pt x="56" y="0"/>
                  </a:cubicBezTo>
                  <a:cubicBezTo>
                    <a:pt x="60" y="0"/>
                    <a:pt x="64" y="0"/>
                    <a:pt x="67" y="0"/>
                  </a:cubicBezTo>
                  <a:cubicBezTo>
                    <a:pt x="71" y="0"/>
                    <a:pt x="74" y="0"/>
                    <a:pt x="76" y="0"/>
                  </a:cubicBezTo>
                  <a:close/>
                </a:path>
              </a:pathLst>
            </a:custGeom>
            <a:grpFill/>
            <a:ln w="9525">
              <a:noFill/>
              <a:round/>
              <a:headEnd/>
              <a:tailEnd/>
            </a:ln>
          </p:spPr>
          <p:txBody>
            <a:bodyPr vert="horz" wrap="square" lIns="89726" tIns="44863" rIns="89726" bIns="44863" numCol="1" anchor="t" anchorCtr="0" compatLnSpc="1">
              <a:prstTxWarp prst="textNoShape">
                <a:avLst/>
              </a:prstTxWarp>
            </a:bodyPr>
            <a:lstStyle/>
            <a:p>
              <a:endParaRPr lang="en-GB" dirty="0">
                <a:solidFill>
                  <a:srgbClr val="000000"/>
                </a:solidFill>
              </a:endParaRPr>
            </a:p>
          </p:txBody>
        </p:sp>
      </p:grpSp>
      <p:grpSp>
        <p:nvGrpSpPr>
          <p:cNvPr id="46" name="Group 121"/>
          <p:cNvGrpSpPr/>
          <p:nvPr/>
        </p:nvGrpSpPr>
        <p:grpSpPr>
          <a:xfrm>
            <a:off x="7696193" y="3972126"/>
            <a:ext cx="226662" cy="338389"/>
            <a:chOff x="2622907" y="2612715"/>
            <a:chExt cx="213339" cy="318498"/>
          </a:xfrm>
          <a:solidFill>
            <a:srgbClr val="7FC8ED"/>
          </a:solidFill>
        </p:grpSpPr>
        <p:sp>
          <p:nvSpPr>
            <p:cNvPr id="47" name="Freeform 109"/>
            <p:cNvSpPr>
              <a:spLocks/>
            </p:cNvSpPr>
            <p:nvPr/>
          </p:nvSpPr>
          <p:spPr bwMode="auto">
            <a:xfrm>
              <a:off x="2767012" y="2853425"/>
              <a:ext cx="57150" cy="77788"/>
            </a:xfrm>
            <a:custGeom>
              <a:avLst/>
              <a:gdLst/>
              <a:ahLst/>
              <a:cxnLst>
                <a:cxn ang="0">
                  <a:pos x="3" y="40"/>
                </a:cxn>
                <a:cxn ang="0">
                  <a:pos x="26" y="40"/>
                </a:cxn>
                <a:cxn ang="0">
                  <a:pos x="29" y="37"/>
                </a:cxn>
                <a:cxn ang="0">
                  <a:pos x="29" y="3"/>
                </a:cxn>
                <a:cxn ang="0">
                  <a:pos x="26" y="0"/>
                </a:cxn>
                <a:cxn ang="0">
                  <a:pos x="3" y="0"/>
                </a:cxn>
                <a:cxn ang="0">
                  <a:pos x="0" y="3"/>
                </a:cxn>
                <a:cxn ang="0">
                  <a:pos x="0" y="37"/>
                </a:cxn>
                <a:cxn ang="0">
                  <a:pos x="3" y="40"/>
                </a:cxn>
              </a:cxnLst>
              <a:rect l="0" t="0" r="r" b="b"/>
              <a:pathLst>
                <a:path w="29" h="40">
                  <a:moveTo>
                    <a:pt x="3" y="40"/>
                  </a:moveTo>
                  <a:cubicBezTo>
                    <a:pt x="26" y="40"/>
                    <a:pt x="26" y="40"/>
                    <a:pt x="26" y="40"/>
                  </a:cubicBezTo>
                  <a:cubicBezTo>
                    <a:pt x="28" y="40"/>
                    <a:pt x="29" y="39"/>
                    <a:pt x="29" y="37"/>
                  </a:cubicBezTo>
                  <a:cubicBezTo>
                    <a:pt x="29" y="3"/>
                    <a:pt x="29" y="3"/>
                    <a:pt x="29" y="3"/>
                  </a:cubicBezTo>
                  <a:cubicBezTo>
                    <a:pt x="29" y="2"/>
                    <a:pt x="28" y="0"/>
                    <a:pt x="26" y="0"/>
                  </a:cubicBezTo>
                  <a:cubicBezTo>
                    <a:pt x="3" y="0"/>
                    <a:pt x="3" y="0"/>
                    <a:pt x="3" y="0"/>
                  </a:cubicBezTo>
                  <a:cubicBezTo>
                    <a:pt x="1" y="0"/>
                    <a:pt x="0" y="2"/>
                    <a:pt x="0" y="3"/>
                  </a:cubicBezTo>
                  <a:cubicBezTo>
                    <a:pt x="0" y="37"/>
                    <a:pt x="0" y="37"/>
                    <a:pt x="0" y="37"/>
                  </a:cubicBezTo>
                  <a:cubicBezTo>
                    <a:pt x="0" y="39"/>
                    <a:pt x="1" y="40"/>
                    <a:pt x="3" y="40"/>
                  </a:cubicBezTo>
                  <a:close/>
                </a:path>
              </a:pathLst>
            </a:custGeom>
            <a:grpFill/>
            <a:ln w="9525">
              <a:noFill/>
              <a:round/>
              <a:headEnd/>
              <a:tailEnd/>
            </a:ln>
          </p:spPr>
          <p:txBody>
            <a:bodyPr vert="horz" wrap="square" lIns="89726" tIns="44863" rIns="89726" bIns="44863" numCol="1" anchor="t" anchorCtr="0" compatLnSpc="1">
              <a:prstTxWarp prst="textNoShape">
                <a:avLst/>
              </a:prstTxWarp>
            </a:bodyPr>
            <a:lstStyle/>
            <a:p>
              <a:endParaRPr lang="en-GB" dirty="0">
                <a:solidFill>
                  <a:srgbClr val="000000"/>
                </a:solidFill>
              </a:endParaRPr>
            </a:p>
          </p:txBody>
        </p:sp>
        <p:sp>
          <p:nvSpPr>
            <p:cNvPr id="48" name="Freeform 110"/>
            <p:cNvSpPr>
              <a:spLocks/>
            </p:cNvSpPr>
            <p:nvPr/>
          </p:nvSpPr>
          <p:spPr bwMode="auto">
            <a:xfrm>
              <a:off x="2696547" y="2830514"/>
              <a:ext cx="53975" cy="98425"/>
            </a:xfrm>
            <a:custGeom>
              <a:avLst/>
              <a:gdLst/>
              <a:ahLst/>
              <a:cxnLst>
                <a:cxn ang="0">
                  <a:pos x="2" y="51"/>
                </a:cxn>
                <a:cxn ang="0">
                  <a:pos x="26" y="51"/>
                </a:cxn>
                <a:cxn ang="0">
                  <a:pos x="28" y="48"/>
                </a:cxn>
                <a:cxn ang="0">
                  <a:pos x="28" y="2"/>
                </a:cxn>
                <a:cxn ang="0">
                  <a:pos x="26" y="0"/>
                </a:cxn>
                <a:cxn ang="0">
                  <a:pos x="2" y="0"/>
                </a:cxn>
                <a:cxn ang="0">
                  <a:pos x="0" y="2"/>
                </a:cxn>
                <a:cxn ang="0">
                  <a:pos x="0" y="48"/>
                </a:cxn>
                <a:cxn ang="0">
                  <a:pos x="2" y="51"/>
                </a:cxn>
              </a:cxnLst>
              <a:rect l="0" t="0" r="r" b="b"/>
              <a:pathLst>
                <a:path w="28" h="51">
                  <a:moveTo>
                    <a:pt x="2" y="51"/>
                  </a:moveTo>
                  <a:cubicBezTo>
                    <a:pt x="26" y="51"/>
                    <a:pt x="26" y="51"/>
                    <a:pt x="26" y="51"/>
                  </a:cubicBezTo>
                  <a:cubicBezTo>
                    <a:pt x="27" y="51"/>
                    <a:pt x="28" y="50"/>
                    <a:pt x="28" y="48"/>
                  </a:cubicBezTo>
                  <a:cubicBezTo>
                    <a:pt x="28" y="2"/>
                    <a:pt x="28" y="2"/>
                    <a:pt x="28" y="2"/>
                  </a:cubicBezTo>
                  <a:cubicBezTo>
                    <a:pt x="28" y="1"/>
                    <a:pt x="27" y="0"/>
                    <a:pt x="26" y="0"/>
                  </a:cubicBezTo>
                  <a:cubicBezTo>
                    <a:pt x="2" y="0"/>
                    <a:pt x="2" y="0"/>
                    <a:pt x="2" y="0"/>
                  </a:cubicBezTo>
                  <a:cubicBezTo>
                    <a:pt x="1" y="0"/>
                    <a:pt x="0" y="1"/>
                    <a:pt x="0" y="2"/>
                  </a:cubicBezTo>
                  <a:cubicBezTo>
                    <a:pt x="0" y="48"/>
                    <a:pt x="0" y="48"/>
                    <a:pt x="0" y="48"/>
                  </a:cubicBezTo>
                  <a:cubicBezTo>
                    <a:pt x="0" y="50"/>
                    <a:pt x="1" y="51"/>
                    <a:pt x="2" y="51"/>
                  </a:cubicBezTo>
                  <a:close/>
                </a:path>
              </a:pathLst>
            </a:custGeom>
            <a:grpFill/>
            <a:ln w="9525">
              <a:noFill/>
              <a:round/>
              <a:headEnd/>
              <a:tailEnd/>
            </a:ln>
          </p:spPr>
          <p:txBody>
            <a:bodyPr vert="horz" wrap="square" lIns="89726" tIns="44863" rIns="89726" bIns="44863" numCol="1" anchor="t" anchorCtr="0" compatLnSpc="1">
              <a:prstTxWarp prst="textNoShape">
                <a:avLst/>
              </a:prstTxWarp>
            </a:bodyPr>
            <a:lstStyle/>
            <a:p>
              <a:endParaRPr lang="en-GB" dirty="0">
                <a:solidFill>
                  <a:srgbClr val="000000"/>
                </a:solidFill>
              </a:endParaRPr>
            </a:p>
          </p:txBody>
        </p:sp>
        <p:sp>
          <p:nvSpPr>
            <p:cNvPr id="49" name="Freeform 111"/>
            <p:cNvSpPr>
              <a:spLocks/>
            </p:cNvSpPr>
            <p:nvPr/>
          </p:nvSpPr>
          <p:spPr bwMode="auto">
            <a:xfrm>
              <a:off x="2622907" y="2783575"/>
              <a:ext cx="57150" cy="147638"/>
            </a:xfrm>
            <a:custGeom>
              <a:avLst/>
              <a:gdLst/>
              <a:ahLst/>
              <a:cxnLst>
                <a:cxn ang="0">
                  <a:pos x="3" y="76"/>
                </a:cxn>
                <a:cxn ang="0">
                  <a:pos x="26" y="76"/>
                </a:cxn>
                <a:cxn ang="0">
                  <a:pos x="29" y="73"/>
                </a:cxn>
                <a:cxn ang="0">
                  <a:pos x="29" y="2"/>
                </a:cxn>
                <a:cxn ang="0">
                  <a:pos x="26" y="0"/>
                </a:cxn>
                <a:cxn ang="0">
                  <a:pos x="3" y="0"/>
                </a:cxn>
                <a:cxn ang="0">
                  <a:pos x="0" y="2"/>
                </a:cxn>
                <a:cxn ang="0">
                  <a:pos x="0" y="73"/>
                </a:cxn>
                <a:cxn ang="0">
                  <a:pos x="3" y="76"/>
                </a:cxn>
              </a:cxnLst>
              <a:rect l="0" t="0" r="r" b="b"/>
              <a:pathLst>
                <a:path w="29" h="76">
                  <a:moveTo>
                    <a:pt x="3" y="76"/>
                  </a:moveTo>
                  <a:cubicBezTo>
                    <a:pt x="26" y="76"/>
                    <a:pt x="26" y="76"/>
                    <a:pt x="26" y="76"/>
                  </a:cubicBezTo>
                  <a:cubicBezTo>
                    <a:pt x="28" y="76"/>
                    <a:pt x="29" y="75"/>
                    <a:pt x="29" y="73"/>
                  </a:cubicBezTo>
                  <a:cubicBezTo>
                    <a:pt x="29" y="2"/>
                    <a:pt x="29" y="2"/>
                    <a:pt x="29" y="2"/>
                  </a:cubicBezTo>
                  <a:cubicBezTo>
                    <a:pt x="29" y="1"/>
                    <a:pt x="28" y="0"/>
                    <a:pt x="26" y="0"/>
                  </a:cubicBezTo>
                  <a:cubicBezTo>
                    <a:pt x="3" y="0"/>
                    <a:pt x="3" y="0"/>
                    <a:pt x="3" y="0"/>
                  </a:cubicBezTo>
                  <a:cubicBezTo>
                    <a:pt x="1" y="0"/>
                    <a:pt x="0" y="1"/>
                    <a:pt x="0" y="2"/>
                  </a:cubicBezTo>
                  <a:cubicBezTo>
                    <a:pt x="0" y="73"/>
                    <a:pt x="0" y="73"/>
                    <a:pt x="0" y="73"/>
                  </a:cubicBezTo>
                  <a:cubicBezTo>
                    <a:pt x="0" y="75"/>
                    <a:pt x="1" y="76"/>
                    <a:pt x="3" y="76"/>
                  </a:cubicBezTo>
                  <a:close/>
                </a:path>
              </a:pathLst>
            </a:custGeom>
            <a:grpFill/>
            <a:ln w="9525">
              <a:noFill/>
              <a:round/>
              <a:headEnd/>
              <a:tailEnd/>
            </a:ln>
          </p:spPr>
          <p:txBody>
            <a:bodyPr vert="horz" wrap="square" lIns="89726" tIns="44863" rIns="89726" bIns="44863" numCol="1" anchor="t" anchorCtr="0" compatLnSpc="1">
              <a:prstTxWarp prst="textNoShape">
                <a:avLst/>
              </a:prstTxWarp>
            </a:bodyPr>
            <a:lstStyle/>
            <a:p>
              <a:endParaRPr lang="en-GB" dirty="0">
                <a:solidFill>
                  <a:srgbClr val="000000"/>
                </a:solidFill>
              </a:endParaRPr>
            </a:p>
          </p:txBody>
        </p:sp>
        <p:sp>
          <p:nvSpPr>
            <p:cNvPr id="50" name="Freeform 112"/>
            <p:cNvSpPr>
              <a:spLocks/>
            </p:cNvSpPr>
            <p:nvPr/>
          </p:nvSpPr>
          <p:spPr bwMode="auto">
            <a:xfrm rot="3822378">
              <a:off x="2635427" y="2642084"/>
              <a:ext cx="230188" cy="171450"/>
            </a:xfrm>
            <a:custGeom>
              <a:avLst/>
              <a:gdLst/>
              <a:ahLst/>
              <a:cxnLst>
                <a:cxn ang="0">
                  <a:pos x="114" y="8"/>
                </a:cxn>
                <a:cxn ang="0">
                  <a:pos x="112" y="0"/>
                </a:cxn>
                <a:cxn ang="0">
                  <a:pos x="104" y="3"/>
                </a:cxn>
                <a:cxn ang="0">
                  <a:pos x="69" y="17"/>
                </a:cxn>
                <a:cxn ang="0">
                  <a:pos x="74" y="30"/>
                </a:cxn>
                <a:cxn ang="0">
                  <a:pos x="90" y="23"/>
                </a:cxn>
                <a:cxn ang="0">
                  <a:pos x="73" y="48"/>
                </a:cxn>
                <a:cxn ang="0">
                  <a:pos x="36" y="71"/>
                </a:cxn>
                <a:cxn ang="0">
                  <a:pos x="5" y="75"/>
                </a:cxn>
                <a:cxn ang="0">
                  <a:pos x="1" y="75"/>
                </a:cxn>
                <a:cxn ang="0">
                  <a:pos x="0" y="75"/>
                </a:cxn>
                <a:cxn ang="0">
                  <a:pos x="0" y="75"/>
                </a:cxn>
                <a:cxn ang="0">
                  <a:pos x="0" y="88"/>
                </a:cxn>
                <a:cxn ang="0">
                  <a:pos x="5" y="89"/>
                </a:cxn>
                <a:cxn ang="0">
                  <a:pos x="54" y="78"/>
                </a:cxn>
                <a:cxn ang="0">
                  <a:pos x="83" y="58"/>
                </a:cxn>
                <a:cxn ang="0">
                  <a:pos x="103" y="29"/>
                </a:cxn>
                <a:cxn ang="0">
                  <a:pos x="106" y="46"/>
                </a:cxn>
                <a:cxn ang="0">
                  <a:pos x="119" y="44"/>
                </a:cxn>
                <a:cxn ang="0">
                  <a:pos x="114" y="8"/>
                </a:cxn>
              </a:cxnLst>
              <a:rect l="0" t="0" r="r" b="b"/>
              <a:pathLst>
                <a:path w="119" h="89">
                  <a:moveTo>
                    <a:pt x="114" y="8"/>
                  </a:moveTo>
                  <a:cubicBezTo>
                    <a:pt x="112" y="0"/>
                    <a:pt x="112" y="0"/>
                    <a:pt x="112" y="0"/>
                  </a:cubicBezTo>
                  <a:cubicBezTo>
                    <a:pt x="104" y="3"/>
                    <a:pt x="104" y="3"/>
                    <a:pt x="104" y="3"/>
                  </a:cubicBezTo>
                  <a:cubicBezTo>
                    <a:pt x="93" y="8"/>
                    <a:pt x="81" y="12"/>
                    <a:pt x="69" y="17"/>
                  </a:cubicBezTo>
                  <a:cubicBezTo>
                    <a:pt x="74" y="30"/>
                    <a:pt x="74" y="30"/>
                    <a:pt x="74" y="30"/>
                  </a:cubicBezTo>
                  <a:cubicBezTo>
                    <a:pt x="80" y="27"/>
                    <a:pt x="85" y="25"/>
                    <a:pt x="90" y="23"/>
                  </a:cubicBezTo>
                  <a:cubicBezTo>
                    <a:pt x="86" y="33"/>
                    <a:pt x="80" y="42"/>
                    <a:pt x="73" y="48"/>
                  </a:cubicBezTo>
                  <a:cubicBezTo>
                    <a:pt x="62" y="60"/>
                    <a:pt x="48" y="67"/>
                    <a:pt x="36" y="71"/>
                  </a:cubicBezTo>
                  <a:cubicBezTo>
                    <a:pt x="23" y="74"/>
                    <a:pt x="12" y="75"/>
                    <a:pt x="5" y="75"/>
                  </a:cubicBezTo>
                  <a:cubicBezTo>
                    <a:pt x="4" y="75"/>
                    <a:pt x="2" y="75"/>
                    <a:pt x="1" y="75"/>
                  </a:cubicBezTo>
                  <a:cubicBezTo>
                    <a:pt x="1" y="75"/>
                    <a:pt x="0" y="75"/>
                    <a:pt x="0" y="75"/>
                  </a:cubicBezTo>
                  <a:cubicBezTo>
                    <a:pt x="0" y="75"/>
                    <a:pt x="0" y="75"/>
                    <a:pt x="0" y="75"/>
                  </a:cubicBezTo>
                  <a:cubicBezTo>
                    <a:pt x="0" y="88"/>
                    <a:pt x="0" y="88"/>
                    <a:pt x="0" y="88"/>
                  </a:cubicBezTo>
                  <a:cubicBezTo>
                    <a:pt x="1" y="89"/>
                    <a:pt x="3" y="89"/>
                    <a:pt x="5" y="89"/>
                  </a:cubicBezTo>
                  <a:cubicBezTo>
                    <a:pt x="15" y="89"/>
                    <a:pt x="34" y="87"/>
                    <a:pt x="54" y="78"/>
                  </a:cubicBezTo>
                  <a:cubicBezTo>
                    <a:pt x="64" y="74"/>
                    <a:pt x="74" y="67"/>
                    <a:pt x="83" y="58"/>
                  </a:cubicBezTo>
                  <a:cubicBezTo>
                    <a:pt x="91" y="50"/>
                    <a:pt x="98" y="40"/>
                    <a:pt x="103" y="29"/>
                  </a:cubicBezTo>
                  <a:cubicBezTo>
                    <a:pt x="104" y="34"/>
                    <a:pt x="105" y="40"/>
                    <a:pt x="106" y="46"/>
                  </a:cubicBezTo>
                  <a:cubicBezTo>
                    <a:pt x="119" y="44"/>
                    <a:pt x="119" y="44"/>
                    <a:pt x="119" y="44"/>
                  </a:cubicBezTo>
                  <a:cubicBezTo>
                    <a:pt x="117" y="32"/>
                    <a:pt x="116" y="20"/>
                    <a:pt x="114" y="8"/>
                  </a:cubicBezTo>
                  <a:close/>
                </a:path>
              </a:pathLst>
            </a:custGeom>
            <a:grpFill/>
            <a:ln w="9525">
              <a:noFill/>
              <a:round/>
              <a:headEnd/>
              <a:tailEnd/>
            </a:ln>
          </p:spPr>
          <p:txBody>
            <a:bodyPr vert="horz" wrap="square" lIns="89726" tIns="44863" rIns="89726" bIns="44863" numCol="1" anchor="t" anchorCtr="0" compatLnSpc="1">
              <a:prstTxWarp prst="textNoShape">
                <a:avLst/>
              </a:prstTxWarp>
            </a:bodyPr>
            <a:lstStyle/>
            <a:p>
              <a:endParaRPr lang="en-GB" dirty="0">
                <a:solidFill>
                  <a:srgbClr val="000000"/>
                </a:solidFill>
              </a:endParaRPr>
            </a:p>
          </p:txBody>
        </p:sp>
      </p:grpSp>
      <p:sp>
        <p:nvSpPr>
          <p:cNvPr id="2" name="Rechteck 1"/>
          <p:cNvSpPr/>
          <p:nvPr/>
        </p:nvSpPr>
        <p:spPr>
          <a:xfrm>
            <a:off x="1765788" y="2574460"/>
            <a:ext cx="8431824" cy="93551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Aft>
                <a:spcPts val="600"/>
              </a:spcAft>
              <a:buClr>
                <a:srgbClr val="00B0F0"/>
              </a:buClr>
              <a:buFont typeface="Wingdings" panose="05000000000000000000" pitchFamily="2" charset="2"/>
              <a:buChar char="§"/>
              <a:tabLst>
                <a:tab pos="87313" algn="l"/>
              </a:tabLst>
            </a:pPr>
            <a:r>
              <a:rPr lang="lt-LT" sz="1400" dirty="0">
                <a:solidFill>
                  <a:schemeClr val="tx1"/>
                </a:solidFill>
              </a:rPr>
              <a:t>Global Festo Apskaitos </a:t>
            </a:r>
            <a:r>
              <a:rPr lang="lt-LT" sz="1400" b="1" dirty="0">
                <a:solidFill>
                  <a:schemeClr val="tx1"/>
                </a:solidFill>
              </a:rPr>
              <a:t>procesų optimizavimas</a:t>
            </a:r>
          </a:p>
          <a:p>
            <a:pPr marL="171450" indent="-171450">
              <a:spcAft>
                <a:spcPts val="600"/>
              </a:spcAft>
              <a:buClr>
                <a:srgbClr val="00B0F0"/>
              </a:buClr>
              <a:buFont typeface="Wingdings" panose="05000000000000000000" pitchFamily="2" charset="2"/>
              <a:buChar char="§"/>
              <a:tabLst>
                <a:tab pos="87313" algn="l"/>
              </a:tabLst>
            </a:pPr>
            <a:r>
              <a:rPr lang="lt-LT" sz="1400" b="1" dirty="0">
                <a:solidFill>
                  <a:schemeClr val="tx1"/>
                </a:solidFill>
              </a:rPr>
              <a:t>Paslaugų centro struktūros sukūrimas</a:t>
            </a:r>
            <a:r>
              <a:rPr lang="lt-LT" sz="1400" dirty="0">
                <a:solidFill>
                  <a:schemeClr val="tx1"/>
                </a:solidFill>
              </a:rPr>
              <a:t>, apimantis konkrečius apskaitos procesus: Mokėtinos sumos, Gautinos sumos, Didžioji Knyga, Uždarymo procedūros</a:t>
            </a:r>
          </a:p>
        </p:txBody>
      </p:sp>
      <p:sp>
        <p:nvSpPr>
          <p:cNvPr id="51" name="Textfeld 50"/>
          <p:cNvSpPr txBox="1"/>
          <p:nvPr/>
        </p:nvSpPr>
        <p:spPr>
          <a:xfrm>
            <a:off x="2374150" y="4054883"/>
            <a:ext cx="2023373" cy="360867"/>
          </a:xfrm>
          <a:prstGeom prst="rect">
            <a:avLst/>
          </a:prstGeom>
          <a:noFill/>
          <a:ln>
            <a:noFill/>
          </a:ln>
        </p:spPr>
        <p:txBody>
          <a:bodyPr wrap="square" lIns="81519" tIns="32608" rIns="32608" bIns="32608" rtlCol="0">
            <a:noAutofit/>
          </a:bodyPr>
          <a:lstStyle/>
          <a:p>
            <a:r>
              <a:rPr lang="lt-LT" sz="1400" b="1" dirty="0">
                <a:solidFill>
                  <a:srgbClr val="7FC8ED"/>
                </a:solidFill>
                <a:latin typeface="+mj-lt"/>
              </a:rPr>
              <a:t>Kokybiniai tikslai</a:t>
            </a:r>
            <a:endParaRPr lang="en-GB" sz="1400" b="1" dirty="0">
              <a:solidFill>
                <a:srgbClr val="7FC8ED"/>
              </a:solidFill>
              <a:latin typeface="+mj-lt"/>
            </a:endParaRPr>
          </a:p>
        </p:txBody>
      </p:sp>
      <p:sp>
        <p:nvSpPr>
          <p:cNvPr id="52" name="Textfeld 51"/>
          <p:cNvSpPr txBox="1"/>
          <p:nvPr/>
        </p:nvSpPr>
        <p:spPr>
          <a:xfrm>
            <a:off x="8084936" y="4054883"/>
            <a:ext cx="1536611" cy="360867"/>
          </a:xfrm>
          <a:prstGeom prst="rect">
            <a:avLst/>
          </a:prstGeom>
          <a:noFill/>
          <a:ln>
            <a:noFill/>
          </a:ln>
        </p:spPr>
        <p:txBody>
          <a:bodyPr wrap="square" lIns="81519" tIns="32608" rIns="32608" bIns="32608" rtlCol="0">
            <a:noAutofit/>
          </a:bodyPr>
          <a:lstStyle/>
          <a:p>
            <a:r>
              <a:rPr lang="lt-LT" sz="1400" b="1" dirty="0">
                <a:solidFill>
                  <a:srgbClr val="7FC8ED"/>
                </a:solidFill>
                <a:latin typeface="+mj-lt"/>
              </a:rPr>
              <a:t>Kiekybiniai tikslai</a:t>
            </a:r>
            <a:endParaRPr lang="en-GB" sz="1400" b="1" dirty="0">
              <a:solidFill>
                <a:srgbClr val="7FC8ED"/>
              </a:solidFill>
              <a:latin typeface="+mj-lt"/>
            </a:endParaRPr>
          </a:p>
        </p:txBody>
      </p:sp>
      <p:sp>
        <p:nvSpPr>
          <p:cNvPr id="53" name="Rechteck 52"/>
          <p:cNvSpPr/>
          <p:nvPr/>
        </p:nvSpPr>
        <p:spPr>
          <a:xfrm>
            <a:off x="553984" y="4508238"/>
            <a:ext cx="5040000" cy="152076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lvl="0" indent="-171450">
              <a:spcAft>
                <a:spcPts val="600"/>
              </a:spcAft>
              <a:buClr>
                <a:srgbClr val="00B0F0"/>
              </a:buClr>
              <a:buFont typeface="Wingdings" panose="05000000000000000000" pitchFamily="2" charset="2"/>
              <a:buChar char="§"/>
              <a:tabLst>
                <a:tab pos="176213" algn="l"/>
              </a:tabLst>
            </a:pPr>
            <a:r>
              <a:rPr lang="lt-LT" sz="1400" dirty="0">
                <a:solidFill>
                  <a:schemeClr val="tx1"/>
                </a:solidFill>
              </a:rPr>
              <a:t>Atitiktis įstatymams ir standartams, skaidrumas ir stebėsena</a:t>
            </a:r>
          </a:p>
          <a:p>
            <a:pPr marL="171450" lvl="0" indent="-171450">
              <a:spcAft>
                <a:spcPts val="600"/>
              </a:spcAft>
              <a:buClr>
                <a:srgbClr val="00B0F0"/>
              </a:buClr>
              <a:buFont typeface="Wingdings" panose="05000000000000000000" pitchFamily="2" charset="2"/>
              <a:buChar char="§"/>
              <a:tabLst>
                <a:tab pos="176213" algn="l"/>
              </a:tabLst>
            </a:pPr>
            <a:r>
              <a:rPr lang="lt-LT" sz="1400" dirty="0">
                <a:solidFill>
                  <a:schemeClr val="tx1"/>
                </a:solidFill>
              </a:rPr>
              <a:t>Procesų standartizavimas ir harmonizavimas ir </a:t>
            </a:r>
            <a:r>
              <a:rPr lang="lt-LT" b="1" dirty="0">
                <a:solidFill>
                  <a:srgbClr val="7FC8ED"/>
                </a:solidFill>
              </a:rPr>
              <a:t>automatizavimas</a:t>
            </a:r>
            <a:r>
              <a:rPr lang="lt-LT" sz="1400" dirty="0">
                <a:solidFill>
                  <a:srgbClr val="7FC8ED"/>
                </a:solidFill>
              </a:rPr>
              <a:t>,</a:t>
            </a:r>
            <a:r>
              <a:rPr lang="lt-LT" sz="1400" dirty="0">
                <a:solidFill>
                  <a:schemeClr val="tx1"/>
                </a:solidFill>
              </a:rPr>
              <a:t> naudojant IT įrankius</a:t>
            </a:r>
          </a:p>
          <a:p>
            <a:pPr marL="171450" lvl="0" indent="-171450">
              <a:spcAft>
                <a:spcPts val="600"/>
              </a:spcAft>
              <a:buClr>
                <a:srgbClr val="00B0F0"/>
              </a:buClr>
              <a:buFont typeface="Wingdings" panose="05000000000000000000" pitchFamily="2" charset="2"/>
              <a:buChar char="§"/>
              <a:tabLst>
                <a:tab pos="176213" algn="l"/>
              </a:tabLst>
            </a:pPr>
            <a:r>
              <a:rPr lang="lt-LT" sz="1400" dirty="0">
                <a:solidFill>
                  <a:schemeClr val="tx1"/>
                </a:solidFill>
              </a:rPr>
              <a:t>Lankstumas, prieinamumas ir lengvas procesų pritaikymas augant ir plečiantis verslui.</a:t>
            </a:r>
            <a:endParaRPr lang="de-DE" sz="1400" dirty="0">
              <a:solidFill>
                <a:schemeClr val="tx1"/>
              </a:solidFill>
            </a:endParaRPr>
          </a:p>
          <a:p>
            <a:pPr marL="171450" lvl="0" indent="-171450">
              <a:spcAft>
                <a:spcPts val="600"/>
              </a:spcAft>
              <a:buFontTx/>
              <a:buChar char="-"/>
              <a:tabLst>
                <a:tab pos="87313" algn="l"/>
              </a:tabLst>
            </a:pPr>
            <a:endParaRPr lang="de-DE" sz="1200" dirty="0">
              <a:solidFill>
                <a:schemeClr val="tx1"/>
              </a:solidFill>
            </a:endParaRPr>
          </a:p>
        </p:txBody>
      </p:sp>
      <p:sp>
        <p:nvSpPr>
          <p:cNvPr id="54" name="Rechteck 53"/>
          <p:cNvSpPr/>
          <p:nvPr/>
        </p:nvSpPr>
        <p:spPr>
          <a:xfrm>
            <a:off x="6333241" y="4352211"/>
            <a:ext cx="5040000" cy="187739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spcAft>
                <a:spcPts val="600"/>
              </a:spcAft>
              <a:tabLst>
                <a:tab pos="176213" algn="l"/>
              </a:tabLst>
            </a:pPr>
            <a:endParaRPr lang="lt-LT" sz="1200" dirty="0">
              <a:solidFill>
                <a:schemeClr val="tx1"/>
              </a:solidFill>
            </a:endParaRPr>
          </a:p>
          <a:p>
            <a:pPr marL="171450" indent="-171450">
              <a:spcAft>
                <a:spcPts val="600"/>
              </a:spcAft>
              <a:buClr>
                <a:schemeClr val="accent6">
                  <a:lumMod val="60000"/>
                  <a:lumOff val="40000"/>
                </a:schemeClr>
              </a:buClr>
              <a:buFont typeface="Wingdings" panose="05000000000000000000" pitchFamily="2" charset="2"/>
              <a:buChar char="§"/>
              <a:tabLst>
                <a:tab pos="176213" algn="l"/>
              </a:tabLst>
            </a:pPr>
            <a:r>
              <a:rPr lang="lt-LT" sz="1400" dirty="0">
                <a:solidFill>
                  <a:schemeClr val="tx1"/>
                </a:solidFill>
              </a:rPr>
              <a:t>Administracijos </a:t>
            </a:r>
            <a:r>
              <a:rPr lang="lt-LT" b="1" dirty="0">
                <a:solidFill>
                  <a:srgbClr val="7FC8ED"/>
                </a:solidFill>
              </a:rPr>
              <a:t>kaštų mažinimas</a:t>
            </a:r>
            <a:r>
              <a:rPr lang="lt-LT" sz="1400" dirty="0">
                <a:solidFill>
                  <a:schemeClr val="tx1"/>
                </a:solidFill>
              </a:rPr>
              <a:t>, optimizuojant darbuotojų poreikį apskaitos procesams</a:t>
            </a:r>
            <a:endParaRPr lang="lt-LT" sz="1200" dirty="0">
              <a:solidFill>
                <a:schemeClr val="tx1"/>
              </a:solidFill>
            </a:endParaRPr>
          </a:p>
          <a:p>
            <a:pPr marL="171450" indent="-171450">
              <a:spcAft>
                <a:spcPts val="600"/>
              </a:spcAft>
              <a:buClr>
                <a:schemeClr val="accent6">
                  <a:lumMod val="60000"/>
                  <a:lumOff val="40000"/>
                </a:schemeClr>
              </a:buClr>
              <a:buFont typeface="Wingdings" panose="05000000000000000000" pitchFamily="2" charset="2"/>
              <a:buChar char="§"/>
              <a:tabLst>
                <a:tab pos="176213" algn="l"/>
              </a:tabLst>
            </a:pPr>
            <a:r>
              <a:rPr lang="lt-LT" sz="1400" dirty="0">
                <a:solidFill>
                  <a:schemeClr val="tx1"/>
                </a:solidFill>
              </a:rPr>
              <a:t>Administracijos </a:t>
            </a:r>
            <a:r>
              <a:rPr lang="lt-LT" b="1" dirty="0">
                <a:solidFill>
                  <a:srgbClr val="7FC8ED"/>
                </a:solidFill>
              </a:rPr>
              <a:t>kaštų mažinimas</a:t>
            </a:r>
            <a:r>
              <a:rPr lang="lt-LT" sz="1400" dirty="0">
                <a:solidFill>
                  <a:schemeClr val="tx1"/>
                </a:solidFill>
              </a:rPr>
              <a:t>, dėl masto ekonomijos, optimaliai panaudojant darbuotojų darbo laiką ir paslaugų centro išlaikymo kaštus</a:t>
            </a:r>
          </a:p>
          <a:p>
            <a:pPr marL="171450" indent="-171450">
              <a:spcAft>
                <a:spcPts val="600"/>
              </a:spcAft>
              <a:buClr>
                <a:schemeClr val="accent6">
                  <a:lumMod val="60000"/>
                  <a:lumOff val="40000"/>
                </a:schemeClr>
              </a:buClr>
              <a:buFont typeface="Wingdings" panose="05000000000000000000" pitchFamily="2" charset="2"/>
              <a:buChar char="§"/>
              <a:tabLst>
                <a:tab pos="176213" algn="l"/>
              </a:tabLst>
            </a:pPr>
            <a:endParaRPr lang="lt-LT" sz="1400" dirty="0">
              <a:solidFill>
                <a:schemeClr val="tx1"/>
              </a:solidFill>
            </a:endParaRPr>
          </a:p>
        </p:txBody>
      </p:sp>
      <p:sp>
        <p:nvSpPr>
          <p:cNvPr id="7" name="Rechteck 6"/>
          <p:cNvSpPr/>
          <p:nvPr/>
        </p:nvSpPr>
        <p:spPr>
          <a:xfrm>
            <a:off x="1528396" y="2072964"/>
            <a:ext cx="8906608" cy="1606842"/>
          </a:xfrm>
          <a:prstGeom prst="rect">
            <a:avLst/>
          </a:prstGeom>
          <a:noFill/>
          <a:ln w="12700">
            <a:solidFill>
              <a:srgbClr val="7FC8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7" name="Rechteck 26"/>
          <p:cNvSpPr/>
          <p:nvPr/>
        </p:nvSpPr>
        <p:spPr>
          <a:xfrm>
            <a:off x="279955" y="3882366"/>
            <a:ext cx="5580000" cy="2489697"/>
          </a:xfrm>
          <a:prstGeom prst="rect">
            <a:avLst/>
          </a:prstGeom>
          <a:noFill/>
          <a:ln w="12700">
            <a:solidFill>
              <a:srgbClr val="7FC8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8" name="Rechteck 27"/>
          <p:cNvSpPr/>
          <p:nvPr/>
        </p:nvSpPr>
        <p:spPr>
          <a:xfrm>
            <a:off x="6139162" y="3882365"/>
            <a:ext cx="5580000" cy="2489697"/>
          </a:xfrm>
          <a:prstGeom prst="rect">
            <a:avLst/>
          </a:prstGeom>
          <a:noFill/>
          <a:ln w="12700">
            <a:solidFill>
              <a:srgbClr val="7FC8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grpSp>
        <p:nvGrpSpPr>
          <p:cNvPr id="29" name="Group 222"/>
          <p:cNvGrpSpPr/>
          <p:nvPr/>
        </p:nvGrpSpPr>
        <p:grpSpPr>
          <a:xfrm>
            <a:off x="4673090" y="2185210"/>
            <a:ext cx="465708" cy="370246"/>
            <a:chOff x="734758" y="1095428"/>
            <a:chExt cx="1075852" cy="876378"/>
          </a:xfrm>
          <a:solidFill>
            <a:srgbClr val="7FC8ED"/>
          </a:solidFill>
        </p:grpSpPr>
        <p:sp>
          <p:nvSpPr>
            <p:cNvPr id="30" name="Freeform 324"/>
            <p:cNvSpPr>
              <a:spLocks/>
            </p:cNvSpPr>
            <p:nvPr/>
          </p:nvSpPr>
          <p:spPr bwMode="auto">
            <a:xfrm>
              <a:off x="734758" y="1227808"/>
              <a:ext cx="757340" cy="743998"/>
            </a:xfrm>
            <a:custGeom>
              <a:avLst/>
              <a:gdLst>
                <a:gd name="connsiteX0" fmla="*/ 1084803 w 2169606"/>
                <a:gd name="connsiteY0" fmla="*/ 0 h 2131386"/>
                <a:gd name="connsiteX1" fmla="*/ 1851875 w 2169606"/>
                <a:gd name="connsiteY1" fmla="*/ 312134 h 2131386"/>
                <a:gd name="connsiteX2" fmla="*/ 1947352 w 2169606"/>
                <a:gd name="connsiteY2" fmla="*/ 425816 h 2131386"/>
                <a:gd name="connsiteX3" fmla="*/ 1816338 w 2169606"/>
                <a:gd name="connsiteY3" fmla="*/ 521003 h 2131386"/>
                <a:gd name="connsiteX4" fmla="*/ 1735462 w 2169606"/>
                <a:gd name="connsiteY4" fmla="*/ 424391 h 2131386"/>
                <a:gd name="connsiteX5" fmla="*/ 1084803 w 2169606"/>
                <a:gd name="connsiteY5" fmla="*/ 158754 h 2131386"/>
                <a:gd name="connsiteX6" fmla="*/ 164632 w 2169606"/>
                <a:gd name="connsiteY6" fmla="*/ 1065695 h 2131386"/>
                <a:gd name="connsiteX7" fmla="*/ 1084803 w 2169606"/>
                <a:gd name="connsiteY7" fmla="*/ 1972636 h 2131386"/>
                <a:gd name="connsiteX8" fmla="*/ 2004974 w 2169606"/>
                <a:gd name="connsiteY8" fmla="*/ 1065695 h 2131386"/>
                <a:gd name="connsiteX9" fmla="*/ 1932663 w 2169606"/>
                <a:gd name="connsiteY9" fmla="*/ 712673 h 2131386"/>
                <a:gd name="connsiteX10" fmla="*/ 1899396 w 2169606"/>
                <a:gd name="connsiteY10" fmla="*/ 652265 h 2131386"/>
                <a:gd name="connsiteX11" fmla="*/ 2031924 w 2169606"/>
                <a:gd name="connsiteY11" fmla="*/ 555978 h 2131386"/>
                <a:gd name="connsiteX12" fmla="*/ 2084357 w 2169606"/>
                <a:gd name="connsiteY12" fmla="*/ 650877 h 2131386"/>
                <a:gd name="connsiteX13" fmla="*/ 2169606 w 2169606"/>
                <a:gd name="connsiteY13" fmla="*/ 1065693 h 2131386"/>
                <a:gd name="connsiteX14" fmla="*/ 1084803 w 2169606"/>
                <a:gd name="connsiteY14" fmla="*/ 2131386 h 2131386"/>
                <a:gd name="connsiteX15" fmla="*/ 0 w 2169606"/>
                <a:gd name="connsiteY15" fmla="*/ 1065693 h 2131386"/>
                <a:gd name="connsiteX16" fmla="*/ 1084803 w 2169606"/>
                <a:gd name="connsiteY16" fmla="*/ 0 h 2131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69606" h="2131386">
                  <a:moveTo>
                    <a:pt x="1084803" y="0"/>
                  </a:moveTo>
                  <a:cubicBezTo>
                    <a:pt x="1384363" y="0"/>
                    <a:pt x="1655564" y="119282"/>
                    <a:pt x="1851875" y="312134"/>
                  </a:cubicBezTo>
                  <a:lnTo>
                    <a:pt x="1947352" y="425816"/>
                  </a:lnTo>
                  <a:lnTo>
                    <a:pt x="1816338" y="521003"/>
                  </a:lnTo>
                  <a:lnTo>
                    <a:pt x="1735462" y="424391"/>
                  </a:lnTo>
                  <a:cubicBezTo>
                    <a:pt x="1568944" y="260267"/>
                    <a:pt x="1338901" y="158754"/>
                    <a:pt x="1084803" y="158754"/>
                  </a:cubicBezTo>
                  <a:cubicBezTo>
                    <a:pt x="576607" y="158754"/>
                    <a:pt x="164632" y="564805"/>
                    <a:pt x="164632" y="1065695"/>
                  </a:cubicBezTo>
                  <a:cubicBezTo>
                    <a:pt x="164632" y="1566585"/>
                    <a:pt x="576607" y="1972636"/>
                    <a:pt x="1084803" y="1972636"/>
                  </a:cubicBezTo>
                  <a:cubicBezTo>
                    <a:pt x="1592999" y="1972636"/>
                    <a:pt x="2004974" y="1566585"/>
                    <a:pt x="2004974" y="1065695"/>
                  </a:cubicBezTo>
                  <a:cubicBezTo>
                    <a:pt x="2004974" y="940473"/>
                    <a:pt x="1979226" y="821178"/>
                    <a:pt x="1932663" y="712673"/>
                  </a:cubicBezTo>
                  <a:lnTo>
                    <a:pt x="1899396" y="652265"/>
                  </a:lnTo>
                  <a:lnTo>
                    <a:pt x="2031924" y="555978"/>
                  </a:lnTo>
                  <a:lnTo>
                    <a:pt x="2084357" y="650877"/>
                  </a:lnTo>
                  <a:cubicBezTo>
                    <a:pt x="2139251" y="778375"/>
                    <a:pt x="2169606" y="918552"/>
                    <a:pt x="2169606" y="1065693"/>
                  </a:cubicBezTo>
                  <a:cubicBezTo>
                    <a:pt x="2169606" y="1654259"/>
                    <a:pt x="1683923" y="2131386"/>
                    <a:pt x="1084803" y="2131386"/>
                  </a:cubicBezTo>
                  <a:cubicBezTo>
                    <a:pt x="485683" y="2131386"/>
                    <a:pt x="0" y="1654259"/>
                    <a:pt x="0" y="1065693"/>
                  </a:cubicBezTo>
                  <a:cubicBezTo>
                    <a:pt x="0" y="477127"/>
                    <a:pt x="485683" y="0"/>
                    <a:pt x="108480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dirty="0">
                <a:solidFill>
                  <a:prstClr val="black"/>
                </a:solidFill>
              </a:endParaRPr>
            </a:p>
          </p:txBody>
        </p:sp>
        <p:sp>
          <p:nvSpPr>
            <p:cNvPr id="31" name="Freeform 325"/>
            <p:cNvSpPr>
              <a:spLocks/>
            </p:cNvSpPr>
            <p:nvPr/>
          </p:nvSpPr>
          <p:spPr bwMode="auto">
            <a:xfrm>
              <a:off x="849694" y="1340690"/>
              <a:ext cx="527469" cy="518232"/>
            </a:xfrm>
            <a:custGeom>
              <a:avLst/>
              <a:gdLst>
                <a:gd name="connsiteX0" fmla="*/ 755539 w 1511078"/>
                <a:gd name="connsiteY0" fmla="*/ 0 h 1484618"/>
                <a:gd name="connsiteX1" fmla="*/ 1289786 w 1511078"/>
                <a:gd name="connsiteY1" fmla="*/ 217417 h 1484618"/>
                <a:gd name="connsiteX2" fmla="*/ 1354220 w 1511078"/>
                <a:gd name="connsiteY2" fmla="*/ 294144 h 1484618"/>
                <a:gd name="connsiteX3" fmla="*/ 1225262 w 1511078"/>
                <a:gd name="connsiteY3" fmla="*/ 387838 h 1484618"/>
                <a:gd name="connsiteX4" fmla="*/ 1175452 w 1511078"/>
                <a:gd name="connsiteY4" fmla="*/ 328813 h 1484618"/>
                <a:gd name="connsiteX5" fmla="*/ 755538 w 1511078"/>
                <a:gd name="connsiteY5" fmla="*/ 158753 h 1484618"/>
                <a:gd name="connsiteX6" fmla="*/ 161690 w 1511078"/>
                <a:gd name="connsiteY6" fmla="*/ 739373 h 1484618"/>
                <a:gd name="connsiteX7" fmla="*/ 755538 w 1511078"/>
                <a:gd name="connsiteY7" fmla="*/ 1319993 h 1484618"/>
                <a:gd name="connsiteX8" fmla="*/ 1349386 w 1511078"/>
                <a:gd name="connsiteY8" fmla="*/ 739373 h 1484618"/>
                <a:gd name="connsiteX9" fmla="*/ 1337321 w 1511078"/>
                <a:gd name="connsiteY9" fmla="*/ 622358 h 1484618"/>
                <a:gd name="connsiteX10" fmla="*/ 1305247 w 1511078"/>
                <a:gd name="connsiteY10" fmla="*/ 521332 h 1484618"/>
                <a:gd name="connsiteX11" fmla="*/ 1436549 w 1511078"/>
                <a:gd name="connsiteY11" fmla="*/ 425936 h 1484618"/>
                <a:gd name="connsiteX12" fmla="*/ 1451704 w 1511078"/>
                <a:gd name="connsiteY12" fmla="*/ 453369 h 1484618"/>
                <a:gd name="connsiteX13" fmla="*/ 1511078 w 1511078"/>
                <a:gd name="connsiteY13" fmla="*/ 742309 h 1484618"/>
                <a:gd name="connsiteX14" fmla="*/ 755539 w 1511078"/>
                <a:gd name="connsiteY14" fmla="*/ 1484618 h 1484618"/>
                <a:gd name="connsiteX15" fmla="*/ 0 w 1511078"/>
                <a:gd name="connsiteY15" fmla="*/ 742309 h 1484618"/>
                <a:gd name="connsiteX16" fmla="*/ 755539 w 1511078"/>
                <a:gd name="connsiteY16" fmla="*/ 0 h 1484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11078" h="1484618">
                  <a:moveTo>
                    <a:pt x="755539" y="0"/>
                  </a:moveTo>
                  <a:cubicBezTo>
                    <a:pt x="964176" y="0"/>
                    <a:pt x="1153061" y="83086"/>
                    <a:pt x="1289786" y="217417"/>
                  </a:cubicBezTo>
                  <a:lnTo>
                    <a:pt x="1354220" y="294144"/>
                  </a:lnTo>
                  <a:lnTo>
                    <a:pt x="1225262" y="387838"/>
                  </a:lnTo>
                  <a:lnTo>
                    <a:pt x="1175452" y="328813"/>
                  </a:lnTo>
                  <a:cubicBezTo>
                    <a:pt x="1067987" y="223741"/>
                    <a:pt x="919525" y="158753"/>
                    <a:pt x="755538" y="158753"/>
                  </a:cubicBezTo>
                  <a:cubicBezTo>
                    <a:pt x="427565" y="158753"/>
                    <a:pt x="161690" y="418705"/>
                    <a:pt x="161690" y="739373"/>
                  </a:cubicBezTo>
                  <a:cubicBezTo>
                    <a:pt x="161690" y="1060041"/>
                    <a:pt x="427565" y="1319993"/>
                    <a:pt x="755538" y="1319993"/>
                  </a:cubicBezTo>
                  <a:cubicBezTo>
                    <a:pt x="1083511" y="1319993"/>
                    <a:pt x="1349386" y="1060041"/>
                    <a:pt x="1349386" y="739373"/>
                  </a:cubicBezTo>
                  <a:cubicBezTo>
                    <a:pt x="1349386" y="699290"/>
                    <a:pt x="1345232" y="660155"/>
                    <a:pt x="1337321" y="622358"/>
                  </a:cubicBezTo>
                  <a:lnTo>
                    <a:pt x="1305247" y="521332"/>
                  </a:lnTo>
                  <a:lnTo>
                    <a:pt x="1436549" y="425936"/>
                  </a:lnTo>
                  <a:lnTo>
                    <a:pt x="1451704" y="453369"/>
                  </a:lnTo>
                  <a:cubicBezTo>
                    <a:pt x="1489937" y="542178"/>
                    <a:pt x="1511078" y="639818"/>
                    <a:pt x="1511078" y="742309"/>
                  </a:cubicBezTo>
                  <a:cubicBezTo>
                    <a:pt x="1511078" y="1152275"/>
                    <a:pt x="1172812" y="1484618"/>
                    <a:pt x="755539" y="1484618"/>
                  </a:cubicBezTo>
                  <a:cubicBezTo>
                    <a:pt x="338266" y="1484618"/>
                    <a:pt x="0" y="1152275"/>
                    <a:pt x="0" y="742309"/>
                  </a:cubicBezTo>
                  <a:cubicBezTo>
                    <a:pt x="0" y="332343"/>
                    <a:pt x="338266" y="0"/>
                    <a:pt x="75553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dirty="0">
                <a:solidFill>
                  <a:prstClr val="black"/>
                </a:solidFill>
              </a:endParaRPr>
            </a:p>
          </p:txBody>
        </p:sp>
        <p:sp>
          <p:nvSpPr>
            <p:cNvPr id="32" name="Freeform 326"/>
            <p:cNvSpPr>
              <a:spLocks/>
            </p:cNvSpPr>
            <p:nvPr/>
          </p:nvSpPr>
          <p:spPr bwMode="auto">
            <a:xfrm>
              <a:off x="869767" y="1464860"/>
              <a:ext cx="381171" cy="283384"/>
            </a:xfrm>
            <a:custGeom>
              <a:avLst/>
              <a:gdLst>
                <a:gd name="connsiteX0" fmla="*/ 395409 w 790818"/>
                <a:gd name="connsiteY0" fmla="*/ 0 h 776120"/>
                <a:gd name="connsiteX1" fmla="*/ 675006 w 790818"/>
                <a:gd name="connsiteY1" fmla="*/ 113660 h 776120"/>
                <a:gd name="connsiteX2" fmla="*/ 705099 w 790818"/>
                <a:gd name="connsiteY2" fmla="*/ 149456 h 776120"/>
                <a:gd name="connsiteX3" fmla="*/ 565281 w 790818"/>
                <a:gd name="connsiteY3" fmla="*/ 251040 h 776120"/>
                <a:gd name="connsiteX4" fmla="*/ 535329 w 790818"/>
                <a:gd name="connsiteY4" fmla="*/ 331314 h 776120"/>
                <a:gd name="connsiteX5" fmla="*/ 548134 w 790818"/>
                <a:gd name="connsiteY5" fmla="*/ 359301 h 776120"/>
                <a:gd name="connsiteX6" fmla="*/ 548134 w 790818"/>
                <a:gd name="connsiteY6" fmla="*/ 359301 h 776120"/>
                <a:gd name="connsiteX7" fmla="*/ 548134 w 790818"/>
                <a:gd name="connsiteY7" fmla="*/ 359302 h 776120"/>
                <a:gd name="connsiteX8" fmla="*/ 548134 w 790818"/>
                <a:gd name="connsiteY8" fmla="*/ 359301 h 776120"/>
                <a:gd name="connsiteX9" fmla="*/ 570795 w 790818"/>
                <a:gd name="connsiteY9" fmla="*/ 380128 h 776120"/>
                <a:gd name="connsiteX10" fmla="*/ 656396 w 790818"/>
                <a:gd name="connsiteY10" fmla="*/ 376448 h 776120"/>
                <a:gd name="connsiteX11" fmla="*/ 776296 w 790818"/>
                <a:gd name="connsiteY11" fmla="*/ 289336 h 776120"/>
                <a:gd name="connsiteX12" fmla="*/ 782785 w 790818"/>
                <a:gd name="connsiteY12" fmla="*/ 309852 h 776120"/>
                <a:gd name="connsiteX13" fmla="*/ 790818 w 790818"/>
                <a:gd name="connsiteY13" fmla="*/ 388060 h 776120"/>
                <a:gd name="connsiteX14" fmla="*/ 395409 w 790818"/>
                <a:gd name="connsiteY14" fmla="*/ 776120 h 776120"/>
                <a:gd name="connsiteX15" fmla="*/ 0 w 790818"/>
                <a:gd name="connsiteY15" fmla="*/ 388060 h 776120"/>
                <a:gd name="connsiteX16" fmla="*/ 395409 w 790818"/>
                <a:gd name="connsiteY16" fmla="*/ 0 h 77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0818" h="776120">
                  <a:moveTo>
                    <a:pt x="395409" y="0"/>
                  </a:moveTo>
                  <a:cubicBezTo>
                    <a:pt x="504598" y="0"/>
                    <a:pt x="603451" y="43435"/>
                    <a:pt x="675006" y="113660"/>
                  </a:cubicBezTo>
                  <a:lnTo>
                    <a:pt x="705099" y="149456"/>
                  </a:lnTo>
                  <a:lnTo>
                    <a:pt x="565281" y="251040"/>
                  </a:lnTo>
                  <a:cubicBezTo>
                    <a:pt x="539308" y="269910"/>
                    <a:pt x="528497" y="301893"/>
                    <a:pt x="535329" y="331314"/>
                  </a:cubicBezTo>
                  <a:lnTo>
                    <a:pt x="548134" y="359301"/>
                  </a:lnTo>
                  <a:lnTo>
                    <a:pt x="548134" y="359301"/>
                  </a:lnTo>
                  <a:lnTo>
                    <a:pt x="548134" y="359302"/>
                  </a:lnTo>
                  <a:lnTo>
                    <a:pt x="548134" y="359301"/>
                  </a:lnTo>
                  <a:lnTo>
                    <a:pt x="570795" y="380128"/>
                  </a:lnTo>
                  <a:cubicBezTo>
                    <a:pt x="596665" y="395718"/>
                    <a:pt x="630423" y="395318"/>
                    <a:pt x="656396" y="376448"/>
                  </a:cubicBezTo>
                  <a:lnTo>
                    <a:pt x="776296" y="289336"/>
                  </a:lnTo>
                  <a:lnTo>
                    <a:pt x="782785" y="309852"/>
                  </a:lnTo>
                  <a:cubicBezTo>
                    <a:pt x="788052" y="335114"/>
                    <a:pt x="790818" y="361270"/>
                    <a:pt x="790818" y="388060"/>
                  </a:cubicBezTo>
                  <a:cubicBezTo>
                    <a:pt x="790818" y="602380"/>
                    <a:pt x="613787" y="776120"/>
                    <a:pt x="395409" y="776120"/>
                  </a:cubicBezTo>
                  <a:cubicBezTo>
                    <a:pt x="177031" y="776120"/>
                    <a:pt x="0" y="602380"/>
                    <a:pt x="0" y="388060"/>
                  </a:cubicBezTo>
                  <a:cubicBezTo>
                    <a:pt x="0" y="173740"/>
                    <a:pt x="177031" y="0"/>
                    <a:pt x="39540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dirty="0">
                <a:solidFill>
                  <a:prstClr val="black"/>
                </a:solidFill>
              </a:endParaRPr>
            </a:p>
          </p:txBody>
        </p:sp>
        <p:sp>
          <p:nvSpPr>
            <p:cNvPr id="33" name="Freeform 125"/>
            <p:cNvSpPr>
              <a:spLocks/>
            </p:cNvSpPr>
            <p:nvPr/>
          </p:nvSpPr>
          <p:spPr bwMode="auto">
            <a:xfrm>
              <a:off x="1463358" y="1215499"/>
              <a:ext cx="327360" cy="208319"/>
            </a:xfrm>
            <a:custGeom>
              <a:avLst/>
              <a:gdLst>
                <a:gd name="T0" fmla="*/ 267 w 319"/>
                <a:gd name="T1" fmla="*/ 0 h 203"/>
                <a:gd name="T2" fmla="*/ 319 w 319"/>
                <a:gd name="T3" fmla="*/ 70 h 203"/>
                <a:gd name="T4" fmla="*/ 138 w 319"/>
                <a:gd name="T5" fmla="*/ 203 h 203"/>
                <a:gd name="T6" fmla="*/ 0 w 319"/>
                <a:gd name="T7" fmla="*/ 196 h 203"/>
                <a:gd name="T8" fmla="*/ 267 w 319"/>
                <a:gd name="T9" fmla="*/ 0 h 203"/>
              </a:gdLst>
              <a:ahLst/>
              <a:cxnLst>
                <a:cxn ang="0">
                  <a:pos x="T0" y="T1"/>
                </a:cxn>
                <a:cxn ang="0">
                  <a:pos x="T2" y="T3"/>
                </a:cxn>
                <a:cxn ang="0">
                  <a:pos x="T4" y="T5"/>
                </a:cxn>
                <a:cxn ang="0">
                  <a:pos x="T6" y="T7"/>
                </a:cxn>
                <a:cxn ang="0">
                  <a:pos x="T8" y="T9"/>
                </a:cxn>
              </a:cxnLst>
              <a:rect l="0" t="0" r="r" b="b"/>
              <a:pathLst>
                <a:path w="319" h="203">
                  <a:moveTo>
                    <a:pt x="267" y="0"/>
                  </a:moveTo>
                  <a:lnTo>
                    <a:pt x="319" y="70"/>
                  </a:lnTo>
                  <a:lnTo>
                    <a:pt x="138" y="203"/>
                  </a:lnTo>
                  <a:lnTo>
                    <a:pt x="0" y="196"/>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34" name="Freeform 126"/>
            <p:cNvSpPr>
              <a:spLocks/>
            </p:cNvSpPr>
            <p:nvPr/>
          </p:nvSpPr>
          <p:spPr bwMode="auto">
            <a:xfrm>
              <a:off x="1420770" y="1095428"/>
              <a:ext cx="273996" cy="271944"/>
            </a:xfrm>
            <a:custGeom>
              <a:avLst/>
              <a:gdLst>
                <a:gd name="T0" fmla="*/ 215 w 267"/>
                <a:gd name="T1" fmla="*/ 0 h 265"/>
                <a:gd name="T2" fmla="*/ 267 w 267"/>
                <a:gd name="T3" fmla="*/ 70 h 265"/>
                <a:gd name="T4" fmla="*/ 0 w 267"/>
                <a:gd name="T5" fmla="*/ 265 h 265"/>
                <a:gd name="T6" fmla="*/ 34 w 267"/>
                <a:gd name="T7" fmla="*/ 134 h 265"/>
                <a:gd name="T8" fmla="*/ 215 w 267"/>
                <a:gd name="T9" fmla="*/ 0 h 265"/>
              </a:gdLst>
              <a:ahLst/>
              <a:cxnLst>
                <a:cxn ang="0">
                  <a:pos x="T0" y="T1"/>
                </a:cxn>
                <a:cxn ang="0">
                  <a:pos x="T2" y="T3"/>
                </a:cxn>
                <a:cxn ang="0">
                  <a:pos x="T4" y="T5"/>
                </a:cxn>
                <a:cxn ang="0">
                  <a:pos x="T6" y="T7"/>
                </a:cxn>
                <a:cxn ang="0">
                  <a:pos x="T8" y="T9"/>
                </a:cxn>
              </a:cxnLst>
              <a:rect l="0" t="0" r="r" b="b"/>
              <a:pathLst>
                <a:path w="267" h="265">
                  <a:moveTo>
                    <a:pt x="215" y="0"/>
                  </a:moveTo>
                  <a:lnTo>
                    <a:pt x="267" y="70"/>
                  </a:lnTo>
                  <a:lnTo>
                    <a:pt x="0" y="265"/>
                  </a:lnTo>
                  <a:lnTo>
                    <a:pt x="34" y="134"/>
                  </a:lnTo>
                  <a:lnTo>
                    <a:pt x="2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endParaRPr>
            </a:p>
          </p:txBody>
        </p:sp>
        <p:sp>
          <p:nvSpPr>
            <p:cNvPr id="35" name="Rounded Rectangle 329"/>
            <p:cNvSpPr/>
            <p:nvPr/>
          </p:nvSpPr>
          <p:spPr>
            <a:xfrm rot="19440000">
              <a:off x="1110684" y="1357368"/>
              <a:ext cx="699926" cy="40547"/>
            </a:xfrm>
            <a:prstGeom prst="roundRect">
              <a:avLst>
                <a:gd name="adj" fmla="val 50000"/>
              </a:avLst>
            </a:prstGeom>
            <a:grpFill/>
            <a:ln w="12700" cap="flat" cmpd="sng" algn="ctr">
              <a:noFill/>
              <a:prstDash val="solid"/>
              <a:miter lim="800000"/>
            </a:ln>
            <a:effectLst/>
          </p:spPr>
          <p:txBody>
            <a:bodyPr rtlCol="0" anchor="ctr"/>
            <a:lstStyle/>
            <a:p>
              <a:pPr algn="ctr">
                <a:defRPr/>
              </a:pPr>
              <a:endParaRPr lang="en-US" kern="0" dirty="0">
                <a:solidFill>
                  <a:prstClr val="white"/>
                </a:solidFill>
              </a:endParaRPr>
            </a:p>
          </p:txBody>
        </p:sp>
      </p:grpSp>
    </p:spTree>
    <p:extLst>
      <p:ext uri="{BB962C8B-B14F-4D97-AF65-F5344CB8AC3E}">
        <p14:creationId xmlns:p14="http://schemas.microsoft.com/office/powerpoint/2010/main" val="18767005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2100" b="1" dirty="0">
              <a:latin typeface="MetaPlusLF" panose="02000503060000020004" pitchFamily="2" charset="0"/>
              <a:sym typeface="MetaPlusLF" panose="02000503060000020004" pitchFamily="2" charset="0"/>
            </a:endParaRPr>
          </a:p>
        </p:txBody>
      </p:sp>
      <p:sp>
        <p:nvSpPr>
          <p:cNvPr id="10" name="Textfeld 9"/>
          <p:cNvSpPr txBox="1"/>
          <p:nvPr/>
        </p:nvSpPr>
        <p:spPr>
          <a:xfrm>
            <a:off x="648497" y="2915800"/>
            <a:ext cx="5886309" cy="360867"/>
          </a:xfrm>
          <a:prstGeom prst="rect">
            <a:avLst/>
          </a:prstGeom>
          <a:noFill/>
          <a:ln>
            <a:noFill/>
          </a:ln>
        </p:spPr>
        <p:txBody>
          <a:bodyPr wrap="square" lIns="81519" tIns="32608" rIns="32608" bIns="32608" rtlCol="0">
            <a:noAutofit/>
          </a:bodyPr>
          <a:lstStyle/>
          <a:p>
            <a:r>
              <a:rPr lang="lt-LT" sz="1400" b="1" dirty="0">
                <a:solidFill>
                  <a:srgbClr val="7FC8ED"/>
                </a:solidFill>
                <a:latin typeface="+mj-lt"/>
              </a:rPr>
              <a:t>Teigiamos pusės Festo įmonėms visame pasaulyje</a:t>
            </a:r>
            <a:endParaRPr lang="en-GB" sz="1400" b="1" dirty="0">
              <a:solidFill>
                <a:srgbClr val="7FC8ED"/>
              </a:solidFill>
              <a:latin typeface="+mj-lt"/>
            </a:endParaRPr>
          </a:p>
        </p:txBody>
      </p:sp>
      <p:sp>
        <p:nvSpPr>
          <p:cNvPr id="12" name="Gleichschenkliges Dreieck 63"/>
          <p:cNvSpPr/>
          <p:nvPr/>
        </p:nvSpPr>
        <p:spPr>
          <a:xfrm rot="10800000">
            <a:off x="1765788" y="2475731"/>
            <a:ext cx="8431824" cy="370932"/>
          </a:xfrm>
          <a:prstGeom prst="triangle">
            <a:avLst/>
          </a:prstGeom>
          <a:solidFill>
            <a:srgbClr val="7FC8E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049" tIns="36525" rIns="73049" bIns="36525" numCol="1" spcCol="0" rtlCol="0" fromWordArt="0" anchor="ctr" anchorCtr="0" forceAA="0" compatLnSpc="1">
            <a:prstTxWarp prst="textNoShape">
              <a:avLst/>
            </a:prstTxWarp>
            <a:noAutofit/>
          </a:bodyPr>
          <a:lstStyle/>
          <a:p>
            <a:pPr algn="ctr"/>
            <a:endParaRPr lang="de-DE" sz="1439" dirty="0">
              <a:solidFill>
                <a:schemeClr val="accent1">
                  <a:lumMod val="50000"/>
                </a:schemeClr>
              </a:solidFill>
            </a:endParaRPr>
          </a:p>
        </p:txBody>
      </p:sp>
      <p:sp>
        <p:nvSpPr>
          <p:cNvPr id="2" name="Rechteck 1"/>
          <p:cNvSpPr/>
          <p:nvPr/>
        </p:nvSpPr>
        <p:spPr>
          <a:xfrm>
            <a:off x="252265" y="3276667"/>
            <a:ext cx="11460041" cy="325601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spcAft>
                <a:spcPts val="200"/>
              </a:spcAft>
              <a:buClr>
                <a:srgbClr val="7FC8ED"/>
              </a:buClr>
            </a:pPr>
            <a:endParaRPr lang="lt-LT" sz="1200" b="1" dirty="0">
              <a:solidFill>
                <a:schemeClr val="tx1"/>
              </a:solidFill>
            </a:endParaRPr>
          </a:p>
          <a:p>
            <a:pPr marL="171450" lvl="0" indent="-171450">
              <a:spcAft>
                <a:spcPts val="200"/>
              </a:spcAft>
              <a:buClr>
                <a:srgbClr val="7FC8ED"/>
              </a:buClr>
              <a:buFont typeface="Wingdings" panose="05000000000000000000" pitchFamily="2" charset="2"/>
              <a:buChar char="§"/>
            </a:pPr>
            <a:r>
              <a:rPr lang="lt-LT" sz="1600" dirty="0">
                <a:solidFill>
                  <a:schemeClr val="tx1"/>
                </a:solidFill>
              </a:rPr>
              <a:t>Koncentracija į svarbius klientų aptarnavimo uždavinius</a:t>
            </a:r>
          </a:p>
          <a:p>
            <a:pPr lvl="0">
              <a:spcAft>
                <a:spcPts val="200"/>
              </a:spcAft>
              <a:buClr>
                <a:srgbClr val="7FC8ED"/>
              </a:buClr>
            </a:pPr>
            <a:endParaRPr lang="lt-LT" sz="1600" dirty="0">
              <a:solidFill>
                <a:schemeClr val="tx1"/>
              </a:solidFill>
            </a:endParaRPr>
          </a:p>
          <a:p>
            <a:pPr marL="171450" indent="-171450">
              <a:spcAft>
                <a:spcPts val="200"/>
              </a:spcAft>
              <a:buClr>
                <a:srgbClr val="7FC8ED"/>
              </a:buClr>
              <a:buFont typeface="Wingdings" panose="05000000000000000000" pitchFamily="2" charset="2"/>
              <a:buChar char="§"/>
            </a:pPr>
            <a:r>
              <a:rPr lang="lt-LT" sz="1600" dirty="0">
                <a:solidFill>
                  <a:schemeClr val="tx1"/>
                </a:solidFill>
              </a:rPr>
              <a:t>Kaštų taupymo nauda</a:t>
            </a:r>
          </a:p>
          <a:p>
            <a:pPr marL="171450" indent="-171450">
              <a:spcAft>
                <a:spcPts val="200"/>
              </a:spcAft>
              <a:buClr>
                <a:srgbClr val="7FC8ED"/>
              </a:buClr>
              <a:buFont typeface="Wingdings" panose="05000000000000000000" pitchFamily="2" charset="2"/>
              <a:buChar char="§"/>
            </a:pPr>
            <a:endParaRPr lang="lt-LT" sz="1600" dirty="0">
              <a:solidFill>
                <a:schemeClr val="tx1"/>
              </a:solidFill>
            </a:endParaRPr>
          </a:p>
          <a:p>
            <a:pPr marL="171450" indent="-171450">
              <a:spcAft>
                <a:spcPts val="200"/>
              </a:spcAft>
              <a:buClr>
                <a:srgbClr val="7FC8ED"/>
              </a:buClr>
              <a:buFont typeface="Wingdings" panose="05000000000000000000" pitchFamily="2" charset="2"/>
              <a:buChar char="§"/>
            </a:pPr>
            <a:r>
              <a:rPr lang="lt-LT" sz="1600" dirty="0">
                <a:solidFill>
                  <a:schemeClr val="tx1"/>
                </a:solidFill>
              </a:rPr>
              <a:t>Rizikos valdymas ir atitiktis</a:t>
            </a:r>
          </a:p>
          <a:p>
            <a:pPr marL="171450" indent="-171450">
              <a:spcAft>
                <a:spcPts val="200"/>
              </a:spcAft>
              <a:buClr>
                <a:srgbClr val="7FC8ED"/>
              </a:buClr>
              <a:buFont typeface="Wingdings" panose="05000000000000000000" pitchFamily="2" charset="2"/>
              <a:buChar char="§"/>
            </a:pPr>
            <a:endParaRPr lang="de-DE" sz="1600" dirty="0">
              <a:solidFill>
                <a:schemeClr val="tx1"/>
              </a:solidFill>
            </a:endParaRPr>
          </a:p>
          <a:p>
            <a:pPr marL="171450" indent="-171450">
              <a:spcAft>
                <a:spcPts val="200"/>
              </a:spcAft>
              <a:buClr>
                <a:srgbClr val="7FC8ED"/>
              </a:buClr>
              <a:buFont typeface="Wingdings" panose="05000000000000000000" pitchFamily="2" charset="2"/>
              <a:buChar char="§"/>
            </a:pPr>
            <a:r>
              <a:rPr lang="lt-LT" sz="1600" dirty="0">
                <a:solidFill>
                  <a:schemeClr val="tx1"/>
                </a:solidFill>
              </a:rPr>
              <a:t>Geriausios praktikos ir įrankių diegimas </a:t>
            </a:r>
            <a:r>
              <a:rPr lang="en-US" sz="1600" dirty="0">
                <a:solidFill>
                  <a:schemeClr val="tx1"/>
                </a:solidFill>
              </a:rPr>
              <a:t>(FIT, YAMBS)</a:t>
            </a:r>
          </a:p>
          <a:p>
            <a:pPr lvl="0">
              <a:spcAft>
                <a:spcPts val="200"/>
              </a:spcAft>
              <a:buClr>
                <a:srgbClr val="7FC8ED"/>
              </a:buClr>
            </a:pPr>
            <a:endParaRPr lang="lt-LT" sz="1200" b="1" dirty="0">
              <a:solidFill>
                <a:schemeClr val="tx1"/>
              </a:solidFill>
            </a:endParaRPr>
          </a:p>
          <a:p>
            <a:pPr marL="171450" lvl="0" indent="-171450">
              <a:spcAft>
                <a:spcPts val="200"/>
              </a:spcAft>
              <a:buClr>
                <a:srgbClr val="7FC8ED"/>
              </a:buClr>
              <a:buFont typeface="Wingdings" panose="05000000000000000000" pitchFamily="2" charset="2"/>
              <a:buChar char="§"/>
            </a:pPr>
            <a:endParaRPr lang="lt-LT" sz="1200" b="1" dirty="0">
              <a:solidFill>
                <a:schemeClr val="tx1"/>
              </a:solidFill>
            </a:endParaRPr>
          </a:p>
          <a:p>
            <a:pPr marL="171450" lvl="0" indent="-171450">
              <a:spcAft>
                <a:spcPts val="200"/>
              </a:spcAft>
              <a:buClr>
                <a:srgbClr val="7FC8ED"/>
              </a:buClr>
              <a:buFont typeface="Wingdings" panose="05000000000000000000" pitchFamily="2" charset="2"/>
              <a:buChar char="§"/>
            </a:pPr>
            <a:endParaRPr lang="lt-LT" sz="1200" b="1" dirty="0">
              <a:solidFill>
                <a:schemeClr val="tx1"/>
              </a:solidFill>
            </a:endParaRPr>
          </a:p>
        </p:txBody>
      </p:sp>
      <p:grpSp>
        <p:nvGrpSpPr>
          <p:cNvPr id="8" name="Gruppieren 7"/>
          <p:cNvGrpSpPr/>
          <p:nvPr/>
        </p:nvGrpSpPr>
        <p:grpSpPr>
          <a:xfrm>
            <a:off x="251092" y="2678953"/>
            <a:ext cx="397405" cy="546498"/>
            <a:chOff x="6036815" y="243148"/>
            <a:chExt cx="583837" cy="892539"/>
          </a:xfrm>
          <a:solidFill>
            <a:srgbClr val="7FC8ED"/>
          </a:solidFill>
        </p:grpSpPr>
        <p:sp>
          <p:nvSpPr>
            <p:cNvPr id="37" name="Freeform 5"/>
            <p:cNvSpPr>
              <a:spLocks/>
            </p:cNvSpPr>
            <p:nvPr/>
          </p:nvSpPr>
          <p:spPr bwMode="auto">
            <a:xfrm>
              <a:off x="6036815" y="578398"/>
              <a:ext cx="583837" cy="557289"/>
            </a:xfrm>
            <a:custGeom>
              <a:avLst/>
              <a:gdLst/>
              <a:ahLst/>
              <a:cxnLst>
                <a:cxn ang="0">
                  <a:pos x="5133" y="2766"/>
                </a:cxn>
                <a:cxn ang="0">
                  <a:pos x="5159" y="2919"/>
                </a:cxn>
                <a:cxn ang="0">
                  <a:pos x="4998" y="2515"/>
                </a:cxn>
                <a:cxn ang="0">
                  <a:pos x="4686" y="2320"/>
                </a:cxn>
                <a:cxn ang="0">
                  <a:pos x="4411" y="2760"/>
                </a:cxn>
                <a:cxn ang="0">
                  <a:pos x="4236" y="3084"/>
                </a:cxn>
                <a:cxn ang="0">
                  <a:pos x="4055" y="2695"/>
                </a:cxn>
                <a:cxn ang="0">
                  <a:pos x="3823" y="2450"/>
                </a:cxn>
                <a:cxn ang="0">
                  <a:pos x="3446" y="2356"/>
                </a:cxn>
                <a:cxn ang="0">
                  <a:pos x="2945" y="2263"/>
                </a:cxn>
                <a:cxn ang="0">
                  <a:pos x="2727" y="2234"/>
                </a:cxn>
                <a:cxn ang="0">
                  <a:pos x="3025" y="2436"/>
                </a:cxn>
                <a:cxn ang="0">
                  <a:pos x="3046" y="2875"/>
                </a:cxn>
                <a:cxn ang="0">
                  <a:pos x="2422" y="3142"/>
                </a:cxn>
                <a:cxn ang="0">
                  <a:pos x="2299" y="2782"/>
                </a:cxn>
                <a:cxn ang="0">
                  <a:pos x="2176" y="2508"/>
                </a:cxn>
                <a:cxn ang="0">
                  <a:pos x="1886" y="2075"/>
                </a:cxn>
                <a:cxn ang="0">
                  <a:pos x="2139" y="2782"/>
                </a:cxn>
                <a:cxn ang="0">
                  <a:pos x="2415" y="3171"/>
                </a:cxn>
                <a:cxn ang="0">
                  <a:pos x="2865" y="3221"/>
                </a:cxn>
                <a:cxn ang="0">
                  <a:pos x="2705" y="3589"/>
                </a:cxn>
                <a:cxn ang="0">
                  <a:pos x="2422" y="3827"/>
                </a:cxn>
                <a:cxn ang="0">
                  <a:pos x="2263" y="4425"/>
                </a:cxn>
                <a:cxn ang="0">
                  <a:pos x="2016" y="4771"/>
                </a:cxn>
                <a:cxn ang="0">
                  <a:pos x="1668" y="5074"/>
                </a:cxn>
                <a:cxn ang="0">
                  <a:pos x="1232" y="4807"/>
                </a:cxn>
                <a:cxn ang="0">
                  <a:pos x="964" y="4461"/>
                </a:cxn>
                <a:cxn ang="0">
                  <a:pos x="855" y="3978"/>
                </a:cxn>
                <a:cxn ang="0">
                  <a:pos x="739" y="3762"/>
                </a:cxn>
                <a:cxn ang="0">
                  <a:pos x="667" y="3495"/>
                </a:cxn>
                <a:cxn ang="0">
                  <a:pos x="282" y="3120"/>
                </a:cxn>
                <a:cxn ang="0">
                  <a:pos x="13" y="2378"/>
                </a:cxn>
                <a:cxn ang="0">
                  <a:pos x="144" y="1953"/>
                </a:cxn>
                <a:cxn ang="0">
                  <a:pos x="471" y="1556"/>
                </a:cxn>
                <a:cxn ang="0">
                  <a:pos x="913" y="1513"/>
                </a:cxn>
                <a:cxn ang="0">
                  <a:pos x="1247" y="1938"/>
                </a:cxn>
                <a:cxn ang="0">
                  <a:pos x="1675" y="1989"/>
                </a:cxn>
                <a:cxn ang="0">
                  <a:pos x="2052" y="1895"/>
                </a:cxn>
                <a:cxn ang="0">
                  <a:pos x="1798" y="1693"/>
                </a:cxn>
                <a:cxn ang="0">
                  <a:pos x="1632" y="1448"/>
                </a:cxn>
                <a:cxn ang="0">
                  <a:pos x="1486" y="1383"/>
                </a:cxn>
                <a:cxn ang="0">
                  <a:pos x="1363" y="1325"/>
                </a:cxn>
                <a:cxn ang="0">
                  <a:pos x="1305" y="1390"/>
                </a:cxn>
                <a:cxn ang="0">
                  <a:pos x="761" y="1412"/>
                </a:cxn>
                <a:cxn ang="0">
                  <a:pos x="746" y="1116"/>
                </a:cxn>
                <a:cxn ang="0">
                  <a:pos x="1022" y="951"/>
                </a:cxn>
                <a:cxn ang="0">
                  <a:pos x="1443" y="742"/>
                </a:cxn>
                <a:cxn ang="0">
                  <a:pos x="1530" y="706"/>
                </a:cxn>
                <a:cxn ang="0">
                  <a:pos x="2052" y="576"/>
                </a:cxn>
                <a:cxn ang="0">
                  <a:pos x="2139" y="352"/>
                </a:cxn>
                <a:cxn ang="0">
                  <a:pos x="1777" y="626"/>
                </a:cxn>
                <a:cxn ang="0">
                  <a:pos x="1675" y="424"/>
                </a:cxn>
                <a:cxn ang="0">
                  <a:pos x="2096" y="251"/>
                </a:cxn>
                <a:cxn ang="0">
                  <a:pos x="2393" y="259"/>
                </a:cxn>
                <a:cxn ang="0">
                  <a:pos x="2597" y="367"/>
                </a:cxn>
                <a:cxn ang="0">
                  <a:pos x="3032" y="172"/>
                </a:cxn>
                <a:cxn ang="0">
                  <a:pos x="3155" y="208"/>
                </a:cxn>
                <a:cxn ang="0">
                  <a:pos x="3395" y="28"/>
                </a:cxn>
                <a:cxn ang="0">
                  <a:pos x="5194" y="2241"/>
                </a:cxn>
                <a:cxn ang="0">
                  <a:pos x="5339" y="2565"/>
                </a:cxn>
              </a:cxnLst>
              <a:rect l="0" t="0" r="r" b="b"/>
              <a:pathLst>
                <a:path w="5340" h="5093">
                  <a:moveTo>
                    <a:pt x="5325" y="2623"/>
                  </a:moveTo>
                  <a:cubicBezTo>
                    <a:pt x="5319" y="2639"/>
                    <a:pt x="5319" y="2656"/>
                    <a:pt x="5303" y="2674"/>
                  </a:cubicBezTo>
                  <a:cubicBezTo>
                    <a:pt x="5309" y="2721"/>
                    <a:pt x="5290" y="2742"/>
                    <a:pt x="5281" y="2774"/>
                  </a:cubicBezTo>
                  <a:cubicBezTo>
                    <a:pt x="5265" y="2771"/>
                    <a:pt x="5278" y="2739"/>
                    <a:pt x="5274" y="2724"/>
                  </a:cubicBezTo>
                  <a:cubicBezTo>
                    <a:pt x="5269" y="2714"/>
                    <a:pt x="5258" y="2711"/>
                    <a:pt x="5245" y="2710"/>
                  </a:cubicBezTo>
                  <a:cubicBezTo>
                    <a:pt x="5238" y="2705"/>
                    <a:pt x="5237" y="2693"/>
                    <a:pt x="5223" y="2695"/>
                  </a:cubicBezTo>
                  <a:cubicBezTo>
                    <a:pt x="5227" y="2672"/>
                    <a:pt x="5213" y="2667"/>
                    <a:pt x="5209" y="2652"/>
                  </a:cubicBezTo>
                  <a:cubicBezTo>
                    <a:pt x="5198" y="2652"/>
                    <a:pt x="5179" y="2625"/>
                    <a:pt x="5172" y="2645"/>
                  </a:cubicBezTo>
                  <a:cubicBezTo>
                    <a:pt x="5157" y="2644"/>
                    <a:pt x="5157" y="2627"/>
                    <a:pt x="5158" y="2609"/>
                  </a:cubicBezTo>
                  <a:cubicBezTo>
                    <a:pt x="5110" y="2611"/>
                    <a:pt x="5138" y="2657"/>
                    <a:pt x="5136" y="2688"/>
                  </a:cubicBezTo>
                  <a:cubicBezTo>
                    <a:pt x="5133" y="2731"/>
                    <a:pt x="5119" y="2705"/>
                    <a:pt x="5122" y="2750"/>
                  </a:cubicBezTo>
                  <a:cubicBezTo>
                    <a:pt x="5120" y="2765"/>
                    <a:pt x="5128" y="2759"/>
                    <a:pt x="5133" y="2766"/>
                  </a:cubicBezTo>
                  <a:cubicBezTo>
                    <a:pt x="5138" y="2771"/>
                    <a:pt x="5140" y="2778"/>
                    <a:pt x="5147" y="2781"/>
                  </a:cubicBezTo>
                  <a:cubicBezTo>
                    <a:pt x="5142" y="2810"/>
                    <a:pt x="5161" y="2819"/>
                    <a:pt x="5157" y="2847"/>
                  </a:cubicBezTo>
                  <a:cubicBezTo>
                    <a:pt x="5161" y="2870"/>
                    <a:pt x="5192" y="2870"/>
                    <a:pt x="5205" y="2886"/>
                  </a:cubicBezTo>
                  <a:cubicBezTo>
                    <a:pt x="5208" y="2900"/>
                    <a:pt x="5216" y="2910"/>
                    <a:pt x="5224" y="2924"/>
                  </a:cubicBezTo>
                  <a:cubicBezTo>
                    <a:pt x="5233" y="2939"/>
                    <a:pt x="5224" y="2984"/>
                    <a:pt x="5224" y="3025"/>
                  </a:cubicBezTo>
                  <a:cubicBezTo>
                    <a:pt x="5225" y="3057"/>
                    <a:pt x="5244" y="3081"/>
                    <a:pt x="5226" y="3097"/>
                  </a:cubicBezTo>
                  <a:cubicBezTo>
                    <a:pt x="5196" y="3097"/>
                    <a:pt x="5191" y="3074"/>
                    <a:pt x="5171" y="3065"/>
                  </a:cubicBezTo>
                  <a:cubicBezTo>
                    <a:pt x="5169" y="3058"/>
                    <a:pt x="5174" y="3050"/>
                    <a:pt x="5172" y="3043"/>
                  </a:cubicBezTo>
                  <a:cubicBezTo>
                    <a:pt x="5170" y="3036"/>
                    <a:pt x="5168" y="3031"/>
                    <a:pt x="5166" y="3021"/>
                  </a:cubicBezTo>
                  <a:cubicBezTo>
                    <a:pt x="5165" y="3013"/>
                    <a:pt x="5163" y="3006"/>
                    <a:pt x="5162" y="2985"/>
                  </a:cubicBezTo>
                  <a:cubicBezTo>
                    <a:pt x="5161" y="2973"/>
                    <a:pt x="5156" y="2972"/>
                    <a:pt x="5156" y="2963"/>
                  </a:cubicBezTo>
                  <a:cubicBezTo>
                    <a:pt x="5155" y="2949"/>
                    <a:pt x="5162" y="2933"/>
                    <a:pt x="5159" y="2919"/>
                  </a:cubicBezTo>
                  <a:cubicBezTo>
                    <a:pt x="5155" y="2899"/>
                    <a:pt x="5143" y="2876"/>
                    <a:pt x="5134" y="2860"/>
                  </a:cubicBezTo>
                  <a:cubicBezTo>
                    <a:pt x="5130" y="2853"/>
                    <a:pt x="5121" y="2845"/>
                    <a:pt x="5121" y="2837"/>
                  </a:cubicBezTo>
                  <a:cubicBezTo>
                    <a:pt x="5121" y="2825"/>
                    <a:pt x="5108" y="2828"/>
                    <a:pt x="5101" y="2814"/>
                  </a:cubicBezTo>
                  <a:cubicBezTo>
                    <a:pt x="5103" y="2745"/>
                    <a:pt x="5121" y="2773"/>
                    <a:pt x="5107" y="2717"/>
                  </a:cubicBezTo>
                  <a:cubicBezTo>
                    <a:pt x="5106" y="2712"/>
                    <a:pt x="5100" y="2710"/>
                    <a:pt x="5100" y="2710"/>
                  </a:cubicBezTo>
                  <a:cubicBezTo>
                    <a:pt x="5097" y="2694"/>
                    <a:pt x="5103" y="2678"/>
                    <a:pt x="5100" y="2666"/>
                  </a:cubicBezTo>
                  <a:cubicBezTo>
                    <a:pt x="5096" y="2651"/>
                    <a:pt x="5085" y="2637"/>
                    <a:pt x="5078" y="2623"/>
                  </a:cubicBezTo>
                  <a:cubicBezTo>
                    <a:pt x="5075" y="2615"/>
                    <a:pt x="5075" y="2605"/>
                    <a:pt x="5071" y="2594"/>
                  </a:cubicBezTo>
                  <a:cubicBezTo>
                    <a:pt x="5069" y="2590"/>
                    <a:pt x="5057" y="2583"/>
                    <a:pt x="5056" y="2580"/>
                  </a:cubicBezTo>
                  <a:cubicBezTo>
                    <a:pt x="5051" y="2564"/>
                    <a:pt x="5054" y="2546"/>
                    <a:pt x="5049" y="2529"/>
                  </a:cubicBezTo>
                  <a:cubicBezTo>
                    <a:pt x="5042" y="2508"/>
                    <a:pt x="5031" y="2497"/>
                    <a:pt x="5020" y="2479"/>
                  </a:cubicBezTo>
                  <a:cubicBezTo>
                    <a:pt x="5004" y="2480"/>
                    <a:pt x="5007" y="2501"/>
                    <a:pt x="4998" y="2515"/>
                  </a:cubicBezTo>
                  <a:cubicBezTo>
                    <a:pt x="4996" y="2518"/>
                    <a:pt x="4992" y="2521"/>
                    <a:pt x="4991" y="2522"/>
                  </a:cubicBezTo>
                  <a:cubicBezTo>
                    <a:pt x="4984" y="2535"/>
                    <a:pt x="4985" y="2566"/>
                    <a:pt x="4962" y="2565"/>
                  </a:cubicBezTo>
                  <a:cubicBezTo>
                    <a:pt x="4925" y="2565"/>
                    <a:pt x="4945" y="2523"/>
                    <a:pt x="4940" y="2501"/>
                  </a:cubicBezTo>
                  <a:cubicBezTo>
                    <a:pt x="4938" y="2489"/>
                    <a:pt x="4937" y="2484"/>
                    <a:pt x="4933" y="2472"/>
                  </a:cubicBezTo>
                  <a:cubicBezTo>
                    <a:pt x="4926" y="2450"/>
                    <a:pt x="4917" y="2414"/>
                    <a:pt x="4889" y="2407"/>
                  </a:cubicBezTo>
                  <a:cubicBezTo>
                    <a:pt x="4895" y="2386"/>
                    <a:pt x="4879" y="2388"/>
                    <a:pt x="4882" y="2371"/>
                  </a:cubicBezTo>
                  <a:cubicBezTo>
                    <a:pt x="4871" y="2360"/>
                    <a:pt x="4854" y="2356"/>
                    <a:pt x="4839" y="2349"/>
                  </a:cubicBezTo>
                  <a:cubicBezTo>
                    <a:pt x="4827" y="2330"/>
                    <a:pt x="4803" y="2315"/>
                    <a:pt x="4795" y="2284"/>
                  </a:cubicBezTo>
                  <a:cubicBezTo>
                    <a:pt x="4791" y="2267"/>
                    <a:pt x="4787" y="2250"/>
                    <a:pt x="4766" y="2241"/>
                  </a:cubicBezTo>
                  <a:cubicBezTo>
                    <a:pt x="4738" y="2242"/>
                    <a:pt x="4746" y="2279"/>
                    <a:pt x="4737" y="2299"/>
                  </a:cubicBezTo>
                  <a:cubicBezTo>
                    <a:pt x="4722" y="2294"/>
                    <a:pt x="4721" y="2309"/>
                    <a:pt x="4715" y="2313"/>
                  </a:cubicBezTo>
                  <a:cubicBezTo>
                    <a:pt x="4708" y="2318"/>
                    <a:pt x="4696" y="2315"/>
                    <a:pt x="4686" y="2320"/>
                  </a:cubicBezTo>
                  <a:cubicBezTo>
                    <a:pt x="4659" y="2335"/>
                    <a:pt x="4641" y="2351"/>
                    <a:pt x="4621" y="2378"/>
                  </a:cubicBezTo>
                  <a:cubicBezTo>
                    <a:pt x="4639" y="2400"/>
                    <a:pt x="4630" y="2410"/>
                    <a:pt x="4628" y="2443"/>
                  </a:cubicBezTo>
                  <a:cubicBezTo>
                    <a:pt x="4618" y="2449"/>
                    <a:pt x="4615" y="2463"/>
                    <a:pt x="4606" y="2472"/>
                  </a:cubicBezTo>
                  <a:cubicBezTo>
                    <a:pt x="4604" y="2474"/>
                    <a:pt x="4594" y="2469"/>
                    <a:pt x="4592" y="2472"/>
                  </a:cubicBezTo>
                  <a:cubicBezTo>
                    <a:pt x="4586" y="2478"/>
                    <a:pt x="4591" y="2495"/>
                    <a:pt x="4577" y="2493"/>
                  </a:cubicBezTo>
                  <a:cubicBezTo>
                    <a:pt x="4566" y="2516"/>
                    <a:pt x="4566" y="2543"/>
                    <a:pt x="4556" y="2565"/>
                  </a:cubicBezTo>
                  <a:cubicBezTo>
                    <a:pt x="4554" y="2569"/>
                    <a:pt x="4549" y="2565"/>
                    <a:pt x="4548" y="2573"/>
                  </a:cubicBezTo>
                  <a:cubicBezTo>
                    <a:pt x="4548" y="2582"/>
                    <a:pt x="4537" y="2582"/>
                    <a:pt x="4534" y="2587"/>
                  </a:cubicBezTo>
                  <a:cubicBezTo>
                    <a:pt x="4520" y="2610"/>
                    <a:pt x="4521" y="2641"/>
                    <a:pt x="4490" y="2652"/>
                  </a:cubicBezTo>
                  <a:cubicBezTo>
                    <a:pt x="4490" y="2666"/>
                    <a:pt x="4490" y="2681"/>
                    <a:pt x="4490" y="2695"/>
                  </a:cubicBezTo>
                  <a:cubicBezTo>
                    <a:pt x="4477" y="2698"/>
                    <a:pt x="4477" y="2716"/>
                    <a:pt x="4454" y="2710"/>
                  </a:cubicBezTo>
                  <a:cubicBezTo>
                    <a:pt x="4447" y="2734"/>
                    <a:pt x="4436" y="2754"/>
                    <a:pt x="4411" y="2760"/>
                  </a:cubicBezTo>
                  <a:cubicBezTo>
                    <a:pt x="4411" y="2770"/>
                    <a:pt x="4412" y="2780"/>
                    <a:pt x="4403" y="2782"/>
                  </a:cubicBezTo>
                  <a:cubicBezTo>
                    <a:pt x="4407" y="2848"/>
                    <a:pt x="4440" y="2909"/>
                    <a:pt x="4418" y="2969"/>
                  </a:cubicBezTo>
                  <a:cubicBezTo>
                    <a:pt x="4410" y="2990"/>
                    <a:pt x="4413" y="2998"/>
                    <a:pt x="4418" y="3027"/>
                  </a:cubicBezTo>
                  <a:cubicBezTo>
                    <a:pt x="4420" y="3039"/>
                    <a:pt x="4410" y="3055"/>
                    <a:pt x="4425" y="3063"/>
                  </a:cubicBezTo>
                  <a:cubicBezTo>
                    <a:pt x="4423" y="3078"/>
                    <a:pt x="4406" y="3077"/>
                    <a:pt x="4396" y="3084"/>
                  </a:cubicBezTo>
                  <a:cubicBezTo>
                    <a:pt x="4398" y="3113"/>
                    <a:pt x="4379" y="3121"/>
                    <a:pt x="4381" y="3149"/>
                  </a:cubicBezTo>
                  <a:cubicBezTo>
                    <a:pt x="4367" y="3151"/>
                    <a:pt x="4367" y="3169"/>
                    <a:pt x="4352" y="3171"/>
                  </a:cubicBezTo>
                  <a:cubicBezTo>
                    <a:pt x="4355" y="3188"/>
                    <a:pt x="4351" y="3199"/>
                    <a:pt x="4345" y="3207"/>
                  </a:cubicBezTo>
                  <a:cubicBezTo>
                    <a:pt x="4347" y="3224"/>
                    <a:pt x="4324" y="3215"/>
                    <a:pt x="4323" y="3229"/>
                  </a:cubicBezTo>
                  <a:cubicBezTo>
                    <a:pt x="4311" y="3221"/>
                    <a:pt x="4302" y="3221"/>
                    <a:pt x="4294" y="3214"/>
                  </a:cubicBezTo>
                  <a:cubicBezTo>
                    <a:pt x="4282" y="3203"/>
                    <a:pt x="4271" y="3174"/>
                    <a:pt x="4265" y="3157"/>
                  </a:cubicBezTo>
                  <a:cubicBezTo>
                    <a:pt x="4258" y="3134"/>
                    <a:pt x="4248" y="3109"/>
                    <a:pt x="4236" y="3084"/>
                  </a:cubicBezTo>
                  <a:cubicBezTo>
                    <a:pt x="4232" y="3076"/>
                    <a:pt x="4233" y="3070"/>
                    <a:pt x="4229" y="3063"/>
                  </a:cubicBezTo>
                  <a:cubicBezTo>
                    <a:pt x="4221" y="3049"/>
                    <a:pt x="4204" y="3033"/>
                    <a:pt x="4193" y="3012"/>
                  </a:cubicBezTo>
                  <a:cubicBezTo>
                    <a:pt x="4188" y="3004"/>
                    <a:pt x="4182" y="2996"/>
                    <a:pt x="4178" y="2984"/>
                  </a:cubicBezTo>
                  <a:cubicBezTo>
                    <a:pt x="4176" y="2972"/>
                    <a:pt x="4176" y="2966"/>
                    <a:pt x="4171" y="2955"/>
                  </a:cubicBezTo>
                  <a:cubicBezTo>
                    <a:pt x="4168" y="2947"/>
                    <a:pt x="4166" y="2943"/>
                    <a:pt x="4164" y="2933"/>
                  </a:cubicBezTo>
                  <a:cubicBezTo>
                    <a:pt x="4162" y="2927"/>
                    <a:pt x="4156" y="2915"/>
                    <a:pt x="4149" y="2904"/>
                  </a:cubicBezTo>
                  <a:cubicBezTo>
                    <a:pt x="4143" y="2894"/>
                    <a:pt x="4137" y="2883"/>
                    <a:pt x="4128" y="2868"/>
                  </a:cubicBezTo>
                  <a:cubicBezTo>
                    <a:pt x="4125" y="2864"/>
                    <a:pt x="4115" y="2858"/>
                    <a:pt x="4113" y="2854"/>
                  </a:cubicBezTo>
                  <a:cubicBezTo>
                    <a:pt x="4109" y="2846"/>
                    <a:pt x="4110" y="2839"/>
                    <a:pt x="4106" y="2832"/>
                  </a:cubicBezTo>
                  <a:cubicBezTo>
                    <a:pt x="4099" y="2820"/>
                    <a:pt x="4096" y="2823"/>
                    <a:pt x="4091" y="2803"/>
                  </a:cubicBezTo>
                  <a:cubicBezTo>
                    <a:pt x="4090" y="2797"/>
                    <a:pt x="4086" y="2791"/>
                    <a:pt x="4084" y="2782"/>
                  </a:cubicBezTo>
                  <a:cubicBezTo>
                    <a:pt x="4080" y="2765"/>
                    <a:pt x="4063" y="2720"/>
                    <a:pt x="4055" y="2695"/>
                  </a:cubicBezTo>
                  <a:cubicBezTo>
                    <a:pt x="4049" y="2677"/>
                    <a:pt x="4050" y="2653"/>
                    <a:pt x="4040" y="2637"/>
                  </a:cubicBezTo>
                  <a:cubicBezTo>
                    <a:pt x="4038" y="2634"/>
                    <a:pt x="4035" y="2615"/>
                    <a:pt x="4026" y="2609"/>
                  </a:cubicBezTo>
                  <a:cubicBezTo>
                    <a:pt x="4034" y="2600"/>
                    <a:pt x="4034" y="2583"/>
                    <a:pt x="4033" y="2565"/>
                  </a:cubicBezTo>
                  <a:cubicBezTo>
                    <a:pt x="4032" y="2548"/>
                    <a:pt x="4018" y="2531"/>
                    <a:pt x="4011" y="2515"/>
                  </a:cubicBezTo>
                  <a:cubicBezTo>
                    <a:pt x="4005" y="2499"/>
                    <a:pt x="4011" y="2475"/>
                    <a:pt x="3990" y="2472"/>
                  </a:cubicBezTo>
                  <a:cubicBezTo>
                    <a:pt x="3968" y="2483"/>
                    <a:pt x="3996" y="2503"/>
                    <a:pt x="3990" y="2522"/>
                  </a:cubicBezTo>
                  <a:cubicBezTo>
                    <a:pt x="3984" y="2527"/>
                    <a:pt x="3981" y="2532"/>
                    <a:pt x="3975" y="2537"/>
                  </a:cubicBezTo>
                  <a:cubicBezTo>
                    <a:pt x="3954" y="2553"/>
                    <a:pt x="3933" y="2575"/>
                    <a:pt x="3895" y="2551"/>
                  </a:cubicBezTo>
                  <a:cubicBezTo>
                    <a:pt x="3886" y="2545"/>
                    <a:pt x="3883" y="2537"/>
                    <a:pt x="3874" y="2529"/>
                  </a:cubicBezTo>
                  <a:cubicBezTo>
                    <a:pt x="3858" y="2517"/>
                    <a:pt x="3830" y="2505"/>
                    <a:pt x="3830" y="2486"/>
                  </a:cubicBezTo>
                  <a:cubicBezTo>
                    <a:pt x="3860" y="2484"/>
                    <a:pt x="3875" y="2468"/>
                    <a:pt x="3888" y="2450"/>
                  </a:cubicBezTo>
                  <a:cubicBezTo>
                    <a:pt x="3873" y="2429"/>
                    <a:pt x="3850" y="2460"/>
                    <a:pt x="3823" y="2450"/>
                  </a:cubicBezTo>
                  <a:cubicBezTo>
                    <a:pt x="3812" y="2434"/>
                    <a:pt x="3786" y="2433"/>
                    <a:pt x="3787" y="2407"/>
                  </a:cubicBezTo>
                  <a:cubicBezTo>
                    <a:pt x="3764" y="2410"/>
                    <a:pt x="3761" y="2394"/>
                    <a:pt x="3736" y="2400"/>
                  </a:cubicBezTo>
                  <a:cubicBezTo>
                    <a:pt x="3729" y="2385"/>
                    <a:pt x="3721" y="2371"/>
                    <a:pt x="3714" y="2356"/>
                  </a:cubicBezTo>
                  <a:cubicBezTo>
                    <a:pt x="3713" y="2348"/>
                    <a:pt x="3701" y="2350"/>
                    <a:pt x="3692" y="2349"/>
                  </a:cubicBezTo>
                  <a:cubicBezTo>
                    <a:pt x="3684" y="2334"/>
                    <a:pt x="3683" y="2310"/>
                    <a:pt x="3663" y="2306"/>
                  </a:cubicBezTo>
                  <a:cubicBezTo>
                    <a:pt x="3649" y="2309"/>
                    <a:pt x="3636" y="2314"/>
                    <a:pt x="3620" y="2320"/>
                  </a:cubicBezTo>
                  <a:cubicBezTo>
                    <a:pt x="3611" y="2324"/>
                    <a:pt x="3604" y="2325"/>
                    <a:pt x="3591" y="2327"/>
                  </a:cubicBezTo>
                  <a:cubicBezTo>
                    <a:pt x="3585" y="2329"/>
                    <a:pt x="3584" y="2334"/>
                    <a:pt x="3576" y="2335"/>
                  </a:cubicBezTo>
                  <a:cubicBezTo>
                    <a:pt x="3562" y="2336"/>
                    <a:pt x="3555" y="2326"/>
                    <a:pt x="3547" y="2327"/>
                  </a:cubicBezTo>
                  <a:cubicBezTo>
                    <a:pt x="3526" y="2331"/>
                    <a:pt x="3503" y="2344"/>
                    <a:pt x="3482" y="2349"/>
                  </a:cubicBezTo>
                  <a:cubicBezTo>
                    <a:pt x="3476" y="2350"/>
                    <a:pt x="3449" y="2345"/>
                    <a:pt x="3446" y="2349"/>
                  </a:cubicBezTo>
                  <a:cubicBezTo>
                    <a:pt x="3446" y="2356"/>
                    <a:pt x="3446" y="2356"/>
                    <a:pt x="3446" y="2356"/>
                  </a:cubicBezTo>
                  <a:cubicBezTo>
                    <a:pt x="3433" y="2358"/>
                    <a:pt x="3417" y="2348"/>
                    <a:pt x="3409" y="2364"/>
                  </a:cubicBezTo>
                  <a:cubicBezTo>
                    <a:pt x="3379" y="2348"/>
                    <a:pt x="3335" y="2359"/>
                    <a:pt x="3293" y="2356"/>
                  </a:cubicBezTo>
                  <a:cubicBezTo>
                    <a:pt x="3259" y="2354"/>
                    <a:pt x="3222" y="2347"/>
                    <a:pt x="3192" y="2342"/>
                  </a:cubicBezTo>
                  <a:cubicBezTo>
                    <a:pt x="3179" y="2313"/>
                    <a:pt x="3178" y="2273"/>
                    <a:pt x="3148" y="2263"/>
                  </a:cubicBezTo>
                  <a:cubicBezTo>
                    <a:pt x="3136" y="2263"/>
                    <a:pt x="3124" y="2263"/>
                    <a:pt x="3112" y="2263"/>
                  </a:cubicBezTo>
                  <a:cubicBezTo>
                    <a:pt x="3105" y="2268"/>
                    <a:pt x="3107" y="2282"/>
                    <a:pt x="3097" y="2284"/>
                  </a:cubicBezTo>
                  <a:cubicBezTo>
                    <a:pt x="3079" y="2278"/>
                    <a:pt x="3068" y="2297"/>
                    <a:pt x="3054" y="2299"/>
                  </a:cubicBezTo>
                  <a:cubicBezTo>
                    <a:pt x="3038" y="2300"/>
                    <a:pt x="3035" y="2293"/>
                    <a:pt x="3025" y="2291"/>
                  </a:cubicBezTo>
                  <a:cubicBezTo>
                    <a:pt x="3016" y="2290"/>
                    <a:pt x="3004" y="2294"/>
                    <a:pt x="2996" y="2291"/>
                  </a:cubicBezTo>
                  <a:cubicBezTo>
                    <a:pt x="2993" y="2291"/>
                    <a:pt x="2996" y="2285"/>
                    <a:pt x="2988" y="2284"/>
                  </a:cubicBezTo>
                  <a:cubicBezTo>
                    <a:pt x="2979" y="2284"/>
                    <a:pt x="2979" y="2273"/>
                    <a:pt x="2974" y="2270"/>
                  </a:cubicBezTo>
                  <a:cubicBezTo>
                    <a:pt x="2965" y="2265"/>
                    <a:pt x="2953" y="2269"/>
                    <a:pt x="2945" y="2263"/>
                  </a:cubicBezTo>
                  <a:cubicBezTo>
                    <a:pt x="2938" y="2258"/>
                    <a:pt x="2936" y="2246"/>
                    <a:pt x="2930" y="2241"/>
                  </a:cubicBezTo>
                  <a:cubicBezTo>
                    <a:pt x="2924" y="2235"/>
                    <a:pt x="2911" y="2236"/>
                    <a:pt x="2909" y="2227"/>
                  </a:cubicBezTo>
                  <a:cubicBezTo>
                    <a:pt x="2896" y="2227"/>
                    <a:pt x="2884" y="2227"/>
                    <a:pt x="2872" y="2227"/>
                  </a:cubicBezTo>
                  <a:cubicBezTo>
                    <a:pt x="2858" y="2205"/>
                    <a:pt x="2852" y="2175"/>
                    <a:pt x="2836" y="2154"/>
                  </a:cubicBezTo>
                  <a:cubicBezTo>
                    <a:pt x="2826" y="2152"/>
                    <a:pt x="2828" y="2136"/>
                    <a:pt x="2822" y="2126"/>
                  </a:cubicBezTo>
                  <a:cubicBezTo>
                    <a:pt x="2816" y="2117"/>
                    <a:pt x="2802" y="2104"/>
                    <a:pt x="2792" y="2090"/>
                  </a:cubicBezTo>
                  <a:cubicBezTo>
                    <a:pt x="2776" y="2088"/>
                    <a:pt x="2773" y="2103"/>
                    <a:pt x="2749" y="2097"/>
                  </a:cubicBezTo>
                  <a:cubicBezTo>
                    <a:pt x="2737" y="2094"/>
                    <a:pt x="2741" y="2088"/>
                    <a:pt x="2720" y="2097"/>
                  </a:cubicBezTo>
                  <a:cubicBezTo>
                    <a:pt x="2717" y="2098"/>
                    <a:pt x="2720" y="2104"/>
                    <a:pt x="2713" y="2104"/>
                  </a:cubicBezTo>
                  <a:cubicBezTo>
                    <a:pt x="2711" y="2104"/>
                    <a:pt x="2707" y="2103"/>
                    <a:pt x="2705" y="2104"/>
                  </a:cubicBezTo>
                  <a:cubicBezTo>
                    <a:pt x="2694" y="2111"/>
                    <a:pt x="2698" y="2133"/>
                    <a:pt x="2676" y="2133"/>
                  </a:cubicBezTo>
                  <a:cubicBezTo>
                    <a:pt x="2693" y="2167"/>
                    <a:pt x="2710" y="2200"/>
                    <a:pt x="2727" y="2234"/>
                  </a:cubicBezTo>
                  <a:cubicBezTo>
                    <a:pt x="2733" y="2249"/>
                    <a:pt x="2752" y="2252"/>
                    <a:pt x="2764" y="2263"/>
                  </a:cubicBezTo>
                  <a:cubicBezTo>
                    <a:pt x="2773" y="2271"/>
                    <a:pt x="2774" y="2292"/>
                    <a:pt x="2792" y="2291"/>
                  </a:cubicBezTo>
                  <a:cubicBezTo>
                    <a:pt x="2798" y="2323"/>
                    <a:pt x="2798" y="2349"/>
                    <a:pt x="2814" y="2371"/>
                  </a:cubicBezTo>
                  <a:cubicBezTo>
                    <a:pt x="2816" y="2374"/>
                    <a:pt x="2819" y="2374"/>
                    <a:pt x="2822" y="2378"/>
                  </a:cubicBezTo>
                  <a:cubicBezTo>
                    <a:pt x="2824" y="2382"/>
                    <a:pt x="2821" y="2387"/>
                    <a:pt x="2829" y="2385"/>
                  </a:cubicBezTo>
                  <a:cubicBezTo>
                    <a:pt x="2843" y="2373"/>
                    <a:pt x="2840" y="2344"/>
                    <a:pt x="2858" y="2335"/>
                  </a:cubicBezTo>
                  <a:cubicBezTo>
                    <a:pt x="2876" y="2331"/>
                    <a:pt x="2875" y="2341"/>
                    <a:pt x="2880" y="2356"/>
                  </a:cubicBezTo>
                  <a:cubicBezTo>
                    <a:pt x="2881" y="2361"/>
                    <a:pt x="2872" y="2365"/>
                    <a:pt x="2872" y="2371"/>
                  </a:cubicBezTo>
                  <a:cubicBezTo>
                    <a:pt x="2872" y="2370"/>
                    <a:pt x="2879" y="2373"/>
                    <a:pt x="2880" y="2378"/>
                  </a:cubicBezTo>
                  <a:cubicBezTo>
                    <a:pt x="2880" y="2385"/>
                    <a:pt x="2878" y="2422"/>
                    <a:pt x="2865" y="2428"/>
                  </a:cubicBezTo>
                  <a:cubicBezTo>
                    <a:pt x="2866" y="2447"/>
                    <a:pt x="2893" y="2439"/>
                    <a:pt x="2894" y="2457"/>
                  </a:cubicBezTo>
                  <a:cubicBezTo>
                    <a:pt x="2945" y="2458"/>
                    <a:pt x="2980" y="2441"/>
                    <a:pt x="3025" y="2436"/>
                  </a:cubicBezTo>
                  <a:cubicBezTo>
                    <a:pt x="3063" y="2409"/>
                    <a:pt x="3090" y="2370"/>
                    <a:pt x="3126" y="2335"/>
                  </a:cubicBezTo>
                  <a:cubicBezTo>
                    <a:pt x="3130" y="2331"/>
                    <a:pt x="3132" y="2326"/>
                    <a:pt x="3141" y="2327"/>
                  </a:cubicBezTo>
                  <a:cubicBezTo>
                    <a:pt x="3122" y="2409"/>
                    <a:pt x="3172" y="2478"/>
                    <a:pt x="3264" y="2472"/>
                  </a:cubicBezTo>
                  <a:cubicBezTo>
                    <a:pt x="3291" y="2491"/>
                    <a:pt x="3301" y="2526"/>
                    <a:pt x="3337" y="2537"/>
                  </a:cubicBezTo>
                  <a:cubicBezTo>
                    <a:pt x="3331" y="2591"/>
                    <a:pt x="3289" y="2610"/>
                    <a:pt x="3279" y="2659"/>
                  </a:cubicBezTo>
                  <a:cubicBezTo>
                    <a:pt x="3262" y="2657"/>
                    <a:pt x="3251" y="2660"/>
                    <a:pt x="3242" y="2666"/>
                  </a:cubicBezTo>
                  <a:cubicBezTo>
                    <a:pt x="3241" y="2698"/>
                    <a:pt x="3228" y="2725"/>
                    <a:pt x="3242" y="2753"/>
                  </a:cubicBezTo>
                  <a:cubicBezTo>
                    <a:pt x="3217" y="2747"/>
                    <a:pt x="3214" y="2764"/>
                    <a:pt x="3192" y="2760"/>
                  </a:cubicBezTo>
                  <a:cubicBezTo>
                    <a:pt x="3176" y="2773"/>
                    <a:pt x="3178" y="2805"/>
                    <a:pt x="3163" y="2818"/>
                  </a:cubicBezTo>
                  <a:cubicBezTo>
                    <a:pt x="3145" y="2817"/>
                    <a:pt x="3128" y="2817"/>
                    <a:pt x="3119" y="2825"/>
                  </a:cubicBezTo>
                  <a:cubicBezTo>
                    <a:pt x="3096" y="2831"/>
                    <a:pt x="3110" y="2863"/>
                    <a:pt x="3090" y="2875"/>
                  </a:cubicBezTo>
                  <a:cubicBezTo>
                    <a:pt x="3076" y="2875"/>
                    <a:pt x="3061" y="2875"/>
                    <a:pt x="3046" y="2875"/>
                  </a:cubicBezTo>
                  <a:cubicBezTo>
                    <a:pt x="3034" y="2871"/>
                    <a:pt x="3028" y="2885"/>
                    <a:pt x="3017" y="2890"/>
                  </a:cubicBezTo>
                  <a:cubicBezTo>
                    <a:pt x="2988" y="2902"/>
                    <a:pt x="2952" y="2902"/>
                    <a:pt x="2930" y="2926"/>
                  </a:cubicBezTo>
                  <a:cubicBezTo>
                    <a:pt x="2920" y="2947"/>
                    <a:pt x="2936" y="2950"/>
                    <a:pt x="2923" y="2969"/>
                  </a:cubicBezTo>
                  <a:cubicBezTo>
                    <a:pt x="2873" y="2987"/>
                    <a:pt x="2825" y="3006"/>
                    <a:pt x="2771" y="3020"/>
                  </a:cubicBezTo>
                  <a:cubicBezTo>
                    <a:pt x="2749" y="3029"/>
                    <a:pt x="2738" y="3049"/>
                    <a:pt x="2720" y="3063"/>
                  </a:cubicBezTo>
                  <a:cubicBezTo>
                    <a:pt x="2649" y="3057"/>
                    <a:pt x="2640" y="3113"/>
                    <a:pt x="2560" y="3099"/>
                  </a:cubicBezTo>
                  <a:cubicBezTo>
                    <a:pt x="2542" y="3100"/>
                    <a:pt x="2537" y="3118"/>
                    <a:pt x="2524" y="3128"/>
                  </a:cubicBezTo>
                  <a:cubicBezTo>
                    <a:pt x="2521" y="3130"/>
                    <a:pt x="2511" y="3125"/>
                    <a:pt x="2509" y="3128"/>
                  </a:cubicBezTo>
                  <a:cubicBezTo>
                    <a:pt x="2509" y="3128"/>
                    <a:pt x="2510" y="3134"/>
                    <a:pt x="2509" y="3135"/>
                  </a:cubicBezTo>
                  <a:cubicBezTo>
                    <a:pt x="2502" y="3138"/>
                    <a:pt x="2484" y="3139"/>
                    <a:pt x="2473" y="3142"/>
                  </a:cubicBezTo>
                  <a:cubicBezTo>
                    <a:pt x="2466" y="3144"/>
                    <a:pt x="2458" y="3152"/>
                    <a:pt x="2444" y="3149"/>
                  </a:cubicBezTo>
                  <a:cubicBezTo>
                    <a:pt x="2443" y="3141"/>
                    <a:pt x="2431" y="3143"/>
                    <a:pt x="2422" y="3142"/>
                  </a:cubicBezTo>
                  <a:cubicBezTo>
                    <a:pt x="2424" y="3120"/>
                    <a:pt x="2397" y="3110"/>
                    <a:pt x="2415" y="3092"/>
                  </a:cubicBezTo>
                  <a:cubicBezTo>
                    <a:pt x="2405" y="3078"/>
                    <a:pt x="2405" y="3054"/>
                    <a:pt x="2386" y="3048"/>
                  </a:cubicBezTo>
                  <a:cubicBezTo>
                    <a:pt x="2394" y="3026"/>
                    <a:pt x="2394" y="3014"/>
                    <a:pt x="2386" y="2984"/>
                  </a:cubicBezTo>
                  <a:cubicBezTo>
                    <a:pt x="2385" y="2980"/>
                    <a:pt x="2379" y="2975"/>
                    <a:pt x="2379" y="2976"/>
                  </a:cubicBezTo>
                  <a:cubicBezTo>
                    <a:pt x="2378" y="2966"/>
                    <a:pt x="2399" y="2922"/>
                    <a:pt x="2386" y="2911"/>
                  </a:cubicBezTo>
                  <a:cubicBezTo>
                    <a:pt x="2385" y="2911"/>
                    <a:pt x="2379" y="2912"/>
                    <a:pt x="2379" y="2911"/>
                  </a:cubicBezTo>
                  <a:cubicBezTo>
                    <a:pt x="2378" y="2909"/>
                    <a:pt x="2381" y="2899"/>
                    <a:pt x="2379" y="2897"/>
                  </a:cubicBezTo>
                  <a:cubicBezTo>
                    <a:pt x="2378" y="2896"/>
                    <a:pt x="2372" y="2898"/>
                    <a:pt x="2372" y="2897"/>
                  </a:cubicBezTo>
                  <a:cubicBezTo>
                    <a:pt x="2367" y="2887"/>
                    <a:pt x="2370" y="2877"/>
                    <a:pt x="2364" y="2868"/>
                  </a:cubicBezTo>
                  <a:cubicBezTo>
                    <a:pt x="2353" y="2849"/>
                    <a:pt x="2337" y="2836"/>
                    <a:pt x="2321" y="2825"/>
                  </a:cubicBezTo>
                  <a:cubicBezTo>
                    <a:pt x="2317" y="2814"/>
                    <a:pt x="2319" y="2806"/>
                    <a:pt x="2314" y="2796"/>
                  </a:cubicBezTo>
                  <a:cubicBezTo>
                    <a:pt x="2311" y="2791"/>
                    <a:pt x="2300" y="2785"/>
                    <a:pt x="2299" y="2782"/>
                  </a:cubicBezTo>
                  <a:cubicBezTo>
                    <a:pt x="2297" y="2776"/>
                    <a:pt x="2303" y="2757"/>
                    <a:pt x="2299" y="2753"/>
                  </a:cubicBezTo>
                  <a:cubicBezTo>
                    <a:pt x="2298" y="2752"/>
                    <a:pt x="2292" y="2754"/>
                    <a:pt x="2292" y="2753"/>
                  </a:cubicBezTo>
                  <a:cubicBezTo>
                    <a:pt x="2289" y="2743"/>
                    <a:pt x="2290" y="2732"/>
                    <a:pt x="2285" y="2724"/>
                  </a:cubicBezTo>
                  <a:cubicBezTo>
                    <a:pt x="2275" y="2709"/>
                    <a:pt x="2267" y="2704"/>
                    <a:pt x="2256" y="2695"/>
                  </a:cubicBezTo>
                  <a:cubicBezTo>
                    <a:pt x="2251" y="2692"/>
                    <a:pt x="2245" y="2683"/>
                    <a:pt x="2241" y="2681"/>
                  </a:cubicBezTo>
                  <a:cubicBezTo>
                    <a:pt x="2239" y="2679"/>
                    <a:pt x="2221" y="2676"/>
                    <a:pt x="2219" y="2674"/>
                  </a:cubicBezTo>
                  <a:cubicBezTo>
                    <a:pt x="2217" y="2671"/>
                    <a:pt x="2222" y="2661"/>
                    <a:pt x="2219" y="2659"/>
                  </a:cubicBezTo>
                  <a:cubicBezTo>
                    <a:pt x="2208" y="2650"/>
                    <a:pt x="2208" y="2646"/>
                    <a:pt x="2197" y="2630"/>
                  </a:cubicBezTo>
                  <a:cubicBezTo>
                    <a:pt x="2192" y="2622"/>
                    <a:pt x="2195" y="2616"/>
                    <a:pt x="2190" y="2594"/>
                  </a:cubicBezTo>
                  <a:cubicBezTo>
                    <a:pt x="2189" y="2588"/>
                    <a:pt x="2183" y="2587"/>
                    <a:pt x="2183" y="2580"/>
                  </a:cubicBezTo>
                  <a:cubicBezTo>
                    <a:pt x="2182" y="2560"/>
                    <a:pt x="2196" y="2538"/>
                    <a:pt x="2183" y="2515"/>
                  </a:cubicBezTo>
                  <a:cubicBezTo>
                    <a:pt x="2181" y="2511"/>
                    <a:pt x="2176" y="2516"/>
                    <a:pt x="2176" y="2508"/>
                  </a:cubicBezTo>
                  <a:cubicBezTo>
                    <a:pt x="2174" y="2467"/>
                    <a:pt x="2137" y="2434"/>
                    <a:pt x="2103" y="2414"/>
                  </a:cubicBezTo>
                  <a:cubicBezTo>
                    <a:pt x="2098" y="2382"/>
                    <a:pt x="2100" y="2358"/>
                    <a:pt x="2067" y="2342"/>
                  </a:cubicBezTo>
                  <a:cubicBezTo>
                    <a:pt x="2068" y="2323"/>
                    <a:pt x="2079" y="2324"/>
                    <a:pt x="2067" y="2306"/>
                  </a:cubicBezTo>
                  <a:cubicBezTo>
                    <a:pt x="2064" y="2302"/>
                    <a:pt x="2060" y="2307"/>
                    <a:pt x="2060" y="2299"/>
                  </a:cubicBezTo>
                  <a:cubicBezTo>
                    <a:pt x="2059" y="2289"/>
                    <a:pt x="2057" y="2284"/>
                    <a:pt x="2052" y="2277"/>
                  </a:cubicBezTo>
                  <a:cubicBezTo>
                    <a:pt x="2045" y="2265"/>
                    <a:pt x="2032" y="2240"/>
                    <a:pt x="2023" y="2219"/>
                  </a:cubicBezTo>
                  <a:cubicBezTo>
                    <a:pt x="2018" y="2201"/>
                    <a:pt x="2006" y="2189"/>
                    <a:pt x="1987" y="2183"/>
                  </a:cubicBezTo>
                  <a:cubicBezTo>
                    <a:pt x="1994" y="2159"/>
                    <a:pt x="2000" y="2134"/>
                    <a:pt x="2009" y="2111"/>
                  </a:cubicBezTo>
                  <a:cubicBezTo>
                    <a:pt x="1982" y="2108"/>
                    <a:pt x="1987" y="2138"/>
                    <a:pt x="1980" y="2154"/>
                  </a:cubicBezTo>
                  <a:cubicBezTo>
                    <a:pt x="1976" y="2163"/>
                    <a:pt x="1969" y="2167"/>
                    <a:pt x="1965" y="2176"/>
                  </a:cubicBezTo>
                  <a:cubicBezTo>
                    <a:pt x="1962" y="2185"/>
                    <a:pt x="1970" y="2198"/>
                    <a:pt x="1958" y="2198"/>
                  </a:cubicBezTo>
                  <a:cubicBezTo>
                    <a:pt x="1908" y="2183"/>
                    <a:pt x="1918" y="2108"/>
                    <a:pt x="1886" y="2075"/>
                  </a:cubicBezTo>
                  <a:cubicBezTo>
                    <a:pt x="1874" y="2081"/>
                    <a:pt x="1882" y="2118"/>
                    <a:pt x="1886" y="2133"/>
                  </a:cubicBezTo>
                  <a:cubicBezTo>
                    <a:pt x="1889" y="2147"/>
                    <a:pt x="1901" y="2184"/>
                    <a:pt x="1922" y="2191"/>
                  </a:cubicBezTo>
                  <a:cubicBezTo>
                    <a:pt x="1921" y="2210"/>
                    <a:pt x="1922" y="2225"/>
                    <a:pt x="1929" y="2241"/>
                  </a:cubicBezTo>
                  <a:cubicBezTo>
                    <a:pt x="1933" y="2250"/>
                    <a:pt x="1936" y="2284"/>
                    <a:pt x="1944" y="2306"/>
                  </a:cubicBezTo>
                  <a:cubicBezTo>
                    <a:pt x="1944" y="2308"/>
                    <a:pt x="1950" y="2306"/>
                    <a:pt x="1951" y="2313"/>
                  </a:cubicBezTo>
                  <a:cubicBezTo>
                    <a:pt x="1952" y="2332"/>
                    <a:pt x="1982" y="2367"/>
                    <a:pt x="1980" y="2400"/>
                  </a:cubicBezTo>
                  <a:cubicBezTo>
                    <a:pt x="1986" y="2412"/>
                    <a:pt x="1997" y="2421"/>
                    <a:pt x="2002" y="2436"/>
                  </a:cubicBezTo>
                  <a:cubicBezTo>
                    <a:pt x="2004" y="2462"/>
                    <a:pt x="2013" y="2470"/>
                    <a:pt x="2002" y="2493"/>
                  </a:cubicBezTo>
                  <a:cubicBezTo>
                    <a:pt x="2002" y="2512"/>
                    <a:pt x="2030" y="2504"/>
                    <a:pt x="2031" y="2522"/>
                  </a:cubicBezTo>
                  <a:cubicBezTo>
                    <a:pt x="2050" y="2543"/>
                    <a:pt x="2067" y="2565"/>
                    <a:pt x="2074" y="2601"/>
                  </a:cubicBezTo>
                  <a:cubicBezTo>
                    <a:pt x="2083" y="2648"/>
                    <a:pt x="2063" y="2707"/>
                    <a:pt x="2081" y="2746"/>
                  </a:cubicBezTo>
                  <a:cubicBezTo>
                    <a:pt x="2096" y="2762"/>
                    <a:pt x="2103" y="2787"/>
                    <a:pt x="2139" y="2782"/>
                  </a:cubicBezTo>
                  <a:cubicBezTo>
                    <a:pt x="2137" y="2808"/>
                    <a:pt x="2153" y="2828"/>
                    <a:pt x="2161" y="2854"/>
                  </a:cubicBezTo>
                  <a:cubicBezTo>
                    <a:pt x="2165" y="2865"/>
                    <a:pt x="2166" y="2878"/>
                    <a:pt x="2168" y="2890"/>
                  </a:cubicBezTo>
                  <a:cubicBezTo>
                    <a:pt x="2169" y="2891"/>
                    <a:pt x="2175" y="2891"/>
                    <a:pt x="2176" y="2897"/>
                  </a:cubicBezTo>
                  <a:cubicBezTo>
                    <a:pt x="2177" y="2928"/>
                    <a:pt x="2187" y="2949"/>
                    <a:pt x="2197" y="2976"/>
                  </a:cubicBezTo>
                  <a:cubicBezTo>
                    <a:pt x="2214" y="2985"/>
                    <a:pt x="2219" y="2972"/>
                    <a:pt x="2227" y="2998"/>
                  </a:cubicBezTo>
                  <a:cubicBezTo>
                    <a:pt x="2256" y="2987"/>
                    <a:pt x="2264" y="3026"/>
                    <a:pt x="2285" y="3027"/>
                  </a:cubicBezTo>
                  <a:cubicBezTo>
                    <a:pt x="2287" y="3027"/>
                    <a:pt x="2297" y="3039"/>
                    <a:pt x="2299" y="3041"/>
                  </a:cubicBezTo>
                  <a:cubicBezTo>
                    <a:pt x="2304" y="3046"/>
                    <a:pt x="2311" y="3060"/>
                    <a:pt x="2321" y="3070"/>
                  </a:cubicBezTo>
                  <a:cubicBezTo>
                    <a:pt x="2326" y="3076"/>
                    <a:pt x="2338" y="3078"/>
                    <a:pt x="2343" y="3084"/>
                  </a:cubicBezTo>
                  <a:cubicBezTo>
                    <a:pt x="2346" y="3089"/>
                    <a:pt x="2346" y="3101"/>
                    <a:pt x="2350" y="3106"/>
                  </a:cubicBezTo>
                  <a:cubicBezTo>
                    <a:pt x="2361" y="3118"/>
                    <a:pt x="2377" y="3126"/>
                    <a:pt x="2386" y="3135"/>
                  </a:cubicBezTo>
                  <a:cubicBezTo>
                    <a:pt x="2398" y="3148"/>
                    <a:pt x="2403" y="3160"/>
                    <a:pt x="2415" y="3171"/>
                  </a:cubicBezTo>
                  <a:cubicBezTo>
                    <a:pt x="2408" y="3192"/>
                    <a:pt x="2382" y="3196"/>
                    <a:pt x="2364" y="3207"/>
                  </a:cubicBezTo>
                  <a:cubicBezTo>
                    <a:pt x="2373" y="3220"/>
                    <a:pt x="2402" y="3213"/>
                    <a:pt x="2415" y="3221"/>
                  </a:cubicBezTo>
                  <a:cubicBezTo>
                    <a:pt x="2426" y="3254"/>
                    <a:pt x="2448" y="3276"/>
                    <a:pt x="2480" y="3286"/>
                  </a:cubicBezTo>
                  <a:cubicBezTo>
                    <a:pt x="2524" y="3280"/>
                    <a:pt x="2548" y="3244"/>
                    <a:pt x="2597" y="3265"/>
                  </a:cubicBezTo>
                  <a:cubicBezTo>
                    <a:pt x="2620" y="3262"/>
                    <a:pt x="2633" y="3248"/>
                    <a:pt x="2647" y="3236"/>
                  </a:cubicBezTo>
                  <a:cubicBezTo>
                    <a:pt x="2660" y="3236"/>
                    <a:pt x="2663" y="3244"/>
                    <a:pt x="2676" y="3243"/>
                  </a:cubicBezTo>
                  <a:cubicBezTo>
                    <a:pt x="2689" y="3242"/>
                    <a:pt x="2703" y="3231"/>
                    <a:pt x="2720" y="3229"/>
                  </a:cubicBezTo>
                  <a:cubicBezTo>
                    <a:pt x="2732" y="3227"/>
                    <a:pt x="2745" y="3231"/>
                    <a:pt x="2756" y="3229"/>
                  </a:cubicBezTo>
                  <a:cubicBezTo>
                    <a:pt x="2775" y="3225"/>
                    <a:pt x="2795" y="3209"/>
                    <a:pt x="2814" y="3214"/>
                  </a:cubicBezTo>
                  <a:cubicBezTo>
                    <a:pt x="2821" y="3206"/>
                    <a:pt x="2841" y="3212"/>
                    <a:pt x="2836" y="3193"/>
                  </a:cubicBezTo>
                  <a:cubicBezTo>
                    <a:pt x="2842" y="3188"/>
                    <a:pt x="2856" y="3181"/>
                    <a:pt x="2858" y="3193"/>
                  </a:cubicBezTo>
                  <a:cubicBezTo>
                    <a:pt x="2887" y="3186"/>
                    <a:pt x="2864" y="3211"/>
                    <a:pt x="2865" y="3221"/>
                  </a:cubicBezTo>
                  <a:cubicBezTo>
                    <a:pt x="2866" y="3231"/>
                    <a:pt x="2875" y="3235"/>
                    <a:pt x="2872" y="3257"/>
                  </a:cubicBezTo>
                  <a:cubicBezTo>
                    <a:pt x="2871" y="3268"/>
                    <a:pt x="2862" y="3274"/>
                    <a:pt x="2858" y="3286"/>
                  </a:cubicBezTo>
                  <a:cubicBezTo>
                    <a:pt x="2851" y="3306"/>
                    <a:pt x="2856" y="3329"/>
                    <a:pt x="2851" y="3344"/>
                  </a:cubicBezTo>
                  <a:cubicBezTo>
                    <a:pt x="2849" y="3347"/>
                    <a:pt x="2844" y="3344"/>
                    <a:pt x="2843" y="3351"/>
                  </a:cubicBezTo>
                  <a:cubicBezTo>
                    <a:pt x="2843" y="3353"/>
                    <a:pt x="2838" y="3363"/>
                    <a:pt x="2836" y="3366"/>
                  </a:cubicBezTo>
                  <a:cubicBezTo>
                    <a:pt x="2833" y="3370"/>
                    <a:pt x="2824" y="3376"/>
                    <a:pt x="2822" y="3380"/>
                  </a:cubicBezTo>
                  <a:cubicBezTo>
                    <a:pt x="2817" y="3388"/>
                    <a:pt x="2818" y="3395"/>
                    <a:pt x="2814" y="3402"/>
                  </a:cubicBezTo>
                  <a:cubicBezTo>
                    <a:pt x="2811" y="3408"/>
                    <a:pt x="2803" y="3411"/>
                    <a:pt x="2800" y="3416"/>
                  </a:cubicBezTo>
                  <a:cubicBezTo>
                    <a:pt x="2787" y="3438"/>
                    <a:pt x="2787" y="3454"/>
                    <a:pt x="2771" y="3474"/>
                  </a:cubicBezTo>
                  <a:cubicBezTo>
                    <a:pt x="2768" y="3477"/>
                    <a:pt x="2766" y="3477"/>
                    <a:pt x="2764" y="3481"/>
                  </a:cubicBezTo>
                  <a:cubicBezTo>
                    <a:pt x="2761" y="3485"/>
                    <a:pt x="2764" y="3490"/>
                    <a:pt x="2756" y="3488"/>
                  </a:cubicBezTo>
                  <a:cubicBezTo>
                    <a:pt x="2756" y="3530"/>
                    <a:pt x="2727" y="3558"/>
                    <a:pt x="2705" y="3589"/>
                  </a:cubicBezTo>
                  <a:cubicBezTo>
                    <a:pt x="2703" y="3593"/>
                    <a:pt x="2699" y="3588"/>
                    <a:pt x="2698" y="3596"/>
                  </a:cubicBezTo>
                  <a:cubicBezTo>
                    <a:pt x="2697" y="3615"/>
                    <a:pt x="2651" y="3657"/>
                    <a:pt x="2633" y="3676"/>
                  </a:cubicBezTo>
                  <a:cubicBezTo>
                    <a:pt x="2624" y="3684"/>
                    <a:pt x="2613" y="3695"/>
                    <a:pt x="2604" y="3704"/>
                  </a:cubicBezTo>
                  <a:cubicBezTo>
                    <a:pt x="2593" y="3715"/>
                    <a:pt x="2583" y="3727"/>
                    <a:pt x="2575" y="3733"/>
                  </a:cubicBezTo>
                  <a:cubicBezTo>
                    <a:pt x="2572" y="3735"/>
                    <a:pt x="2562" y="3731"/>
                    <a:pt x="2560" y="3733"/>
                  </a:cubicBezTo>
                  <a:cubicBezTo>
                    <a:pt x="2552" y="3743"/>
                    <a:pt x="2548" y="3746"/>
                    <a:pt x="2531" y="3755"/>
                  </a:cubicBezTo>
                  <a:cubicBezTo>
                    <a:pt x="2525" y="3758"/>
                    <a:pt x="2517" y="3758"/>
                    <a:pt x="2509" y="3762"/>
                  </a:cubicBezTo>
                  <a:cubicBezTo>
                    <a:pt x="2505" y="3765"/>
                    <a:pt x="2499" y="3774"/>
                    <a:pt x="2495" y="3776"/>
                  </a:cubicBezTo>
                  <a:cubicBezTo>
                    <a:pt x="2492" y="3778"/>
                    <a:pt x="2482" y="3774"/>
                    <a:pt x="2480" y="3776"/>
                  </a:cubicBezTo>
                  <a:cubicBezTo>
                    <a:pt x="2478" y="3779"/>
                    <a:pt x="2476" y="3789"/>
                    <a:pt x="2473" y="3791"/>
                  </a:cubicBezTo>
                  <a:cubicBezTo>
                    <a:pt x="2468" y="3795"/>
                    <a:pt x="2457" y="3794"/>
                    <a:pt x="2452" y="3798"/>
                  </a:cubicBezTo>
                  <a:cubicBezTo>
                    <a:pt x="2442" y="3805"/>
                    <a:pt x="2432" y="3819"/>
                    <a:pt x="2422" y="3827"/>
                  </a:cubicBezTo>
                  <a:cubicBezTo>
                    <a:pt x="2378" y="3864"/>
                    <a:pt x="2340" y="3899"/>
                    <a:pt x="2306" y="3949"/>
                  </a:cubicBezTo>
                  <a:cubicBezTo>
                    <a:pt x="2296" y="3960"/>
                    <a:pt x="2265" y="3952"/>
                    <a:pt x="2270" y="3978"/>
                  </a:cubicBezTo>
                  <a:cubicBezTo>
                    <a:pt x="2255" y="3985"/>
                    <a:pt x="2238" y="3989"/>
                    <a:pt x="2227" y="4000"/>
                  </a:cubicBezTo>
                  <a:cubicBezTo>
                    <a:pt x="2234" y="4019"/>
                    <a:pt x="2218" y="4031"/>
                    <a:pt x="2212" y="4043"/>
                  </a:cubicBezTo>
                  <a:cubicBezTo>
                    <a:pt x="2209" y="4049"/>
                    <a:pt x="2209" y="4058"/>
                    <a:pt x="2205" y="4065"/>
                  </a:cubicBezTo>
                  <a:cubicBezTo>
                    <a:pt x="2202" y="4070"/>
                    <a:pt x="2193" y="4075"/>
                    <a:pt x="2190" y="4079"/>
                  </a:cubicBezTo>
                  <a:cubicBezTo>
                    <a:pt x="2177" y="4104"/>
                    <a:pt x="2165" y="4123"/>
                    <a:pt x="2154" y="4151"/>
                  </a:cubicBezTo>
                  <a:cubicBezTo>
                    <a:pt x="2154" y="4189"/>
                    <a:pt x="2193" y="4190"/>
                    <a:pt x="2197" y="4223"/>
                  </a:cubicBezTo>
                  <a:cubicBezTo>
                    <a:pt x="2181" y="4227"/>
                    <a:pt x="2195" y="4259"/>
                    <a:pt x="2190" y="4274"/>
                  </a:cubicBezTo>
                  <a:cubicBezTo>
                    <a:pt x="2194" y="4304"/>
                    <a:pt x="2216" y="4316"/>
                    <a:pt x="2219" y="4346"/>
                  </a:cubicBezTo>
                  <a:cubicBezTo>
                    <a:pt x="2225" y="4364"/>
                    <a:pt x="2249" y="4364"/>
                    <a:pt x="2263" y="4375"/>
                  </a:cubicBezTo>
                  <a:cubicBezTo>
                    <a:pt x="2270" y="4391"/>
                    <a:pt x="2261" y="4405"/>
                    <a:pt x="2263" y="4425"/>
                  </a:cubicBezTo>
                  <a:cubicBezTo>
                    <a:pt x="2264" y="4438"/>
                    <a:pt x="2269" y="4441"/>
                    <a:pt x="2270" y="4454"/>
                  </a:cubicBezTo>
                  <a:cubicBezTo>
                    <a:pt x="2275" y="4495"/>
                    <a:pt x="2279" y="4541"/>
                    <a:pt x="2292" y="4569"/>
                  </a:cubicBezTo>
                  <a:cubicBezTo>
                    <a:pt x="2283" y="4579"/>
                    <a:pt x="2279" y="4594"/>
                    <a:pt x="2270" y="4605"/>
                  </a:cubicBezTo>
                  <a:cubicBezTo>
                    <a:pt x="2267" y="4610"/>
                    <a:pt x="2260" y="4616"/>
                    <a:pt x="2256" y="4620"/>
                  </a:cubicBezTo>
                  <a:cubicBezTo>
                    <a:pt x="2253" y="4623"/>
                    <a:pt x="2244" y="4632"/>
                    <a:pt x="2241" y="4634"/>
                  </a:cubicBezTo>
                  <a:cubicBezTo>
                    <a:pt x="2238" y="4636"/>
                    <a:pt x="2229" y="4632"/>
                    <a:pt x="2227" y="4634"/>
                  </a:cubicBezTo>
                  <a:cubicBezTo>
                    <a:pt x="2226" y="4635"/>
                    <a:pt x="2227" y="4641"/>
                    <a:pt x="2227" y="4642"/>
                  </a:cubicBezTo>
                  <a:cubicBezTo>
                    <a:pt x="2224" y="4643"/>
                    <a:pt x="2214" y="4639"/>
                    <a:pt x="2212" y="4642"/>
                  </a:cubicBezTo>
                  <a:cubicBezTo>
                    <a:pt x="2201" y="4655"/>
                    <a:pt x="2156" y="4654"/>
                    <a:pt x="2132" y="4663"/>
                  </a:cubicBezTo>
                  <a:cubicBezTo>
                    <a:pt x="2106" y="4673"/>
                    <a:pt x="2088" y="4687"/>
                    <a:pt x="2074" y="4706"/>
                  </a:cubicBezTo>
                  <a:cubicBezTo>
                    <a:pt x="2034" y="4703"/>
                    <a:pt x="2034" y="4739"/>
                    <a:pt x="1994" y="4735"/>
                  </a:cubicBezTo>
                  <a:cubicBezTo>
                    <a:pt x="1985" y="4757"/>
                    <a:pt x="2010" y="4762"/>
                    <a:pt x="2016" y="4771"/>
                  </a:cubicBezTo>
                  <a:cubicBezTo>
                    <a:pt x="2021" y="4778"/>
                    <a:pt x="2019" y="4785"/>
                    <a:pt x="2023" y="4793"/>
                  </a:cubicBezTo>
                  <a:cubicBezTo>
                    <a:pt x="2026" y="4797"/>
                    <a:pt x="2036" y="4803"/>
                    <a:pt x="2038" y="4807"/>
                  </a:cubicBezTo>
                  <a:cubicBezTo>
                    <a:pt x="2050" y="4831"/>
                    <a:pt x="2066" y="4852"/>
                    <a:pt x="2060" y="4894"/>
                  </a:cubicBezTo>
                  <a:cubicBezTo>
                    <a:pt x="2035" y="4918"/>
                    <a:pt x="1969" y="4900"/>
                    <a:pt x="1944" y="4923"/>
                  </a:cubicBezTo>
                  <a:cubicBezTo>
                    <a:pt x="1951" y="4943"/>
                    <a:pt x="1964" y="4959"/>
                    <a:pt x="1958" y="5002"/>
                  </a:cubicBezTo>
                  <a:cubicBezTo>
                    <a:pt x="1922" y="5012"/>
                    <a:pt x="1896" y="5031"/>
                    <a:pt x="1878" y="5060"/>
                  </a:cubicBezTo>
                  <a:cubicBezTo>
                    <a:pt x="1837" y="5063"/>
                    <a:pt x="1812" y="5093"/>
                    <a:pt x="1755" y="5088"/>
                  </a:cubicBezTo>
                  <a:cubicBezTo>
                    <a:pt x="1753" y="5088"/>
                    <a:pt x="1742" y="5090"/>
                    <a:pt x="1740" y="5088"/>
                  </a:cubicBezTo>
                  <a:cubicBezTo>
                    <a:pt x="1733" y="5079"/>
                    <a:pt x="1738" y="5089"/>
                    <a:pt x="1733" y="5088"/>
                  </a:cubicBezTo>
                  <a:cubicBezTo>
                    <a:pt x="1720" y="5087"/>
                    <a:pt x="1717" y="5083"/>
                    <a:pt x="1704" y="5081"/>
                  </a:cubicBezTo>
                  <a:cubicBezTo>
                    <a:pt x="1695" y="5080"/>
                    <a:pt x="1684" y="5083"/>
                    <a:pt x="1675" y="5081"/>
                  </a:cubicBezTo>
                  <a:cubicBezTo>
                    <a:pt x="1674" y="5081"/>
                    <a:pt x="1674" y="5074"/>
                    <a:pt x="1668" y="5074"/>
                  </a:cubicBezTo>
                  <a:cubicBezTo>
                    <a:pt x="1665" y="5074"/>
                    <a:pt x="1648" y="5076"/>
                    <a:pt x="1646" y="5074"/>
                  </a:cubicBezTo>
                  <a:cubicBezTo>
                    <a:pt x="1642" y="5069"/>
                    <a:pt x="1621" y="5062"/>
                    <a:pt x="1610" y="5060"/>
                  </a:cubicBezTo>
                  <a:cubicBezTo>
                    <a:pt x="1578" y="5054"/>
                    <a:pt x="1547" y="5060"/>
                    <a:pt x="1523" y="5052"/>
                  </a:cubicBezTo>
                  <a:cubicBezTo>
                    <a:pt x="1520" y="5052"/>
                    <a:pt x="1522" y="5046"/>
                    <a:pt x="1515" y="5045"/>
                  </a:cubicBezTo>
                  <a:cubicBezTo>
                    <a:pt x="1505" y="5045"/>
                    <a:pt x="1500" y="5031"/>
                    <a:pt x="1486" y="5031"/>
                  </a:cubicBezTo>
                  <a:cubicBezTo>
                    <a:pt x="1467" y="5030"/>
                    <a:pt x="1451" y="4995"/>
                    <a:pt x="1428" y="4995"/>
                  </a:cubicBezTo>
                  <a:cubicBezTo>
                    <a:pt x="1428" y="4988"/>
                    <a:pt x="1428" y="4980"/>
                    <a:pt x="1428" y="4973"/>
                  </a:cubicBezTo>
                  <a:cubicBezTo>
                    <a:pt x="1408" y="4954"/>
                    <a:pt x="1384" y="4942"/>
                    <a:pt x="1363" y="4923"/>
                  </a:cubicBezTo>
                  <a:cubicBezTo>
                    <a:pt x="1346" y="4907"/>
                    <a:pt x="1331" y="4881"/>
                    <a:pt x="1312" y="4865"/>
                  </a:cubicBezTo>
                  <a:cubicBezTo>
                    <a:pt x="1307" y="4860"/>
                    <a:pt x="1297" y="4863"/>
                    <a:pt x="1291" y="4858"/>
                  </a:cubicBezTo>
                  <a:cubicBezTo>
                    <a:pt x="1287" y="4855"/>
                    <a:pt x="1287" y="4846"/>
                    <a:pt x="1283" y="4843"/>
                  </a:cubicBezTo>
                  <a:cubicBezTo>
                    <a:pt x="1264" y="4830"/>
                    <a:pt x="1252" y="4826"/>
                    <a:pt x="1232" y="4807"/>
                  </a:cubicBezTo>
                  <a:cubicBezTo>
                    <a:pt x="1226" y="4801"/>
                    <a:pt x="1217" y="4793"/>
                    <a:pt x="1211" y="4786"/>
                  </a:cubicBezTo>
                  <a:cubicBezTo>
                    <a:pt x="1204" y="4779"/>
                    <a:pt x="1196" y="4773"/>
                    <a:pt x="1189" y="4764"/>
                  </a:cubicBezTo>
                  <a:cubicBezTo>
                    <a:pt x="1187" y="4762"/>
                    <a:pt x="1191" y="4752"/>
                    <a:pt x="1189" y="4750"/>
                  </a:cubicBezTo>
                  <a:cubicBezTo>
                    <a:pt x="1186" y="4747"/>
                    <a:pt x="1177" y="4745"/>
                    <a:pt x="1174" y="4742"/>
                  </a:cubicBezTo>
                  <a:cubicBezTo>
                    <a:pt x="1163" y="4728"/>
                    <a:pt x="1157" y="4709"/>
                    <a:pt x="1145" y="4692"/>
                  </a:cubicBezTo>
                  <a:cubicBezTo>
                    <a:pt x="1143" y="4688"/>
                    <a:pt x="1134" y="4688"/>
                    <a:pt x="1131" y="4685"/>
                  </a:cubicBezTo>
                  <a:cubicBezTo>
                    <a:pt x="1129" y="4682"/>
                    <a:pt x="1133" y="4672"/>
                    <a:pt x="1131" y="4670"/>
                  </a:cubicBezTo>
                  <a:cubicBezTo>
                    <a:pt x="1130" y="4670"/>
                    <a:pt x="1124" y="4671"/>
                    <a:pt x="1124" y="4670"/>
                  </a:cubicBezTo>
                  <a:cubicBezTo>
                    <a:pt x="1115" y="4653"/>
                    <a:pt x="1116" y="4638"/>
                    <a:pt x="1102" y="4620"/>
                  </a:cubicBezTo>
                  <a:cubicBezTo>
                    <a:pt x="1086" y="4599"/>
                    <a:pt x="1064" y="4579"/>
                    <a:pt x="1044" y="4555"/>
                  </a:cubicBezTo>
                  <a:cubicBezTo>
                    <a:pt x="1025" y="4533"/>
                    <a:pt x="1011" y="4512"/>
                    <a:pt x="993" y="4490"/>
                  </a:cubicBezTo>
                  <a:cubicBezTo>
                    <a:pt x="985" y="4480"/>
                    <a:pt x="972" y="4470"/>
                    <a:pt x="964" y="4461"/>
                  </a:cubicBezTo>
                  <a:cubicBezTo>
                    <a:pt x="962" y="4459"/>
                    <a:pt x="966" y="4449"/>
                    <a:pt x="964" y="4447"/>
                  </a:cubicBezTo>
                  <a:cubicBezTo>
                    <a:pt x="962" y="4445"/>
                    <a:pt x="951" y="4449"/>
                    <a:pt x="950" y="4447"/>
                  </a:cubicBezTo>
                  <a:cubicBezTo>
                    <a:pt x="945" y="4441"/>
                    <a:pt x="946" y="4431"/>
                    <a:pt x="942" y="4425"/>
                  </a:cubicBezTo>
                  <a:cubicBezTo>
                    <a:pt x="940" y="4421"/>
                    <a:pt x="930" y="4415"/>
                    <a:pt x="928" y="4411"/>
                  </a:cubicBezTo>
                  <a:cubicBezTo>
                    <a:pt x="924" y="4403"/>
                    <a:pt x="923" y="4396"/>
                    <a:pt x="920" y="4389"/>
                  </a:cubicBezTo>
                  <a:cubicBezTo>
                    <a:pt x="906" y="4354"/>
                    <a:pt x="908" y="4289"/>
                    <a:pt x="899" y="4238"/>
                  </a:cubicBezTo>
                  <a:cubicBezTo>
                    <a:pt x="913" y="4239"/>
                    <a:pt x="907" y="4223"/>
                    <a:pt x="913" y="4216"/>
                  </a:cubicBezTo>
                  <a:cubicBezTo>
                    <a:pt x="915" y="4214"/>
                    <a:pt x="926" y="4219"/>
                    <a:pt x="928" y="4216"/>
                  </a:cubicBezTo>
                  <a:cubicBezTo>
                    <a:pt x="931" y="4212"/>
                    <a:pt x="925" y="4200"/>
                    <a:pt x="935" y="4202"/>
                  </a:cubicBezTo>
                  <a:cubicBezTo>
                    <a:pt x="927" y="4187"/>
                    <a:pt x="932" y="4173"/>
                    <a:pt x="928" y="4159"/>
                  </a:cubicBezTo>
                  <a:cubicBezTo>
                    <a:pt x="914" y="4115"/>
                    <a:pt x="865" y="4084"/>
                    <a:pt x="884" y="4036"/>
                  </a:cubicBezTo>
                  <a:cubicBezTo>
                    <a:pt x="875" y="4017"/>
                    <a:pt x="865" y="3999"/>
                    <a:pt x="855" y="3978"/>
                  </a:cubicBezTo>
                  <a:cubicBezTo>
                    <a:pt x="854" y="3976"/>
                    <a:pt x="857" y="3966"/>
                    <a:pt x="855" y="3964"/>
                  </a:cubicBezTo>
                  <a:cubicBezTo>
                    <a:pt x="854" y="3963"/>
                    <a:pt x="848" y="3965"/>
                    <a:pt x="848" y="3964"/>
                  </a:cubicBezTo>
                  <a:cubicBezTo>
                    <a:pt x="847" y="3961"/>
                    <a:pt x="850" y="3951"/>
                    <a:pt x="848" y="3949"/>
                  </a:cubicBezTo>
                  <a:cubicBezTo>
                    <a:pt x="847" y="3949"/>
                    <a:pt x="841" y="3950"/>
                    <a:pt x="841" y="3949"/>
                  </a:cubicBezTo>
                  <a:cubicBezTo>
                    <a:pt x="839" y="3947"/>
                    <a:pt x="843" y="3937"/>
                    <a:pt x="841" y="3935"/>
                  </a:cubicBezTo>
                  <a:cubicBezTo>
                    <a:pt x="827" y="3924"/>
                    <a:pt x="834" y="3931"/>
                    <a:pt x="826" y="3906"/>
                  </a:cubicBezTo>
                  <a:cubicBezTo>
                    <a:pt x="824" y="3900"/>
                    <a:pt x="820" y="3902"/>
                    <a:pt x="819" y="3899"/>
                  </a:cubicBezTo>
                  <a:cubicBezTo>
                    <a:pt x="816" y="3893"/>
                    <a:pt x="815" y="3886"/>
                    <a:pt x="812" y="3877"/>
                  </a:cubicBezTo>
                  <a:cubicBezTo>
                    <a:pt x="803" y="3856"/>
                    <a:pt x="797" y="3842"/>
                    <a:pt x="783" y="3820"/>
                  </a:cubicBezTo>
                  <a:cubicBezTo>
                    <a:pt x="780" y="3816"/>
                    <a:pt x="777" y="3814"/>
                    <a:pt x="775" y="3812"/>
                  </a:cubicBezTo>
                  <a:cubicBezTo>
                    <a:pt x="772" y="3807"/>
                    <a:pt x="772" y="3797"/>
                    <a:pt x="768" y="3791"/>
                  </a:cubicBezTo>
                  <a:cubicBezTo>
                    <a:pt x="762" y="3781"/>
                    <a:pt x="747" y="3774"/>
                    <a:pt x="739" y="3762"/>
                  </a:cubicBezTo>
                  <a:cubicBezTo>
                    <a:pt x="737" y="3759"/>
                    <a:pt x="741" y="3750"/>
                    <a:pt x="739" y="3748"/>
                  </a:cubicBezTo>
                  <a:cubicBezTo>
                    <a:pt x="737" y="3746"/>
                    <a:pt x="726" y="3743"/>
                    <a:pt x="725" y="3740"/>
                  </a:cubicBezTo>
                  <a:cubicBezTo>
                    <a:pt x="720" y="3733"/>
                    <a:pt x="722" y="3725"/>
                    <a:pt x="717" y="3719"/>
                  </a:cubicBezTo>
                  <a:cubicBezTo>
                    <a:pt x="714" y="3714"/>
                    <a:pt x="707" y="3710"/>
                    <a:pt x="703" y="3704"/>
                  </a:cubicBezTo>
                  <a:cubicBezTo>
                    <a:pt x="695" y="3694"/>
                    <a:pt x="679" y="3676"/>
                    <a:pt x="674" y="3654"/>
                  </a:cubicBezTo>
                  <a:cubicBezTo>
                    <a:pt x="673" y="3650"/>
                    <a:pt x="676" y="3643"/>
                    <a:pt x="674" y="3640"/>
                  </a:cubicBezTo>
                  <a:cubicBezTo>
                    <a:pt x="672" y="3635"/>
                    <a:pt x="661" y="3629"/>
                    <a:pt x="659" y="3625"/>
                  </a:cubicBezTo>
                  <a:cubicBezTo>
                    <a:pt x="655" y="3617"/>
                    <a:pt x="657" y="3610"/>
                    <a:pt x="652" y="3603"/>
                  </a:cubicBezTo>
                  <a:cubicBezTo>
                    <a:pt x="659" y="3588"/>
                    <a:pt x="664" y="3577"/>
                    <a:pt x="667" y="3546"/>
                  </a:cubicBezTo>
                  <a:cubicBezTo>
                    <a:pt x="667" y="3541"/>
                    <a:pt x="665" y="3536"/>
                    <a:pt x="667" y="3531"/>
                  </a:cubicBezTo>
                  <a:cubicBezTo>
                    <a:pt x="667" y="3528"/>
                    <a:pt x="674" y="3522"/>
                    <a:pt x="674" y="3524"/>
                  </a:cubicBezTo>
                  <a:cubicBezTo>
                    <a:pt x="674" y="3511"/>
                    <a:pt x="665" y="3509"/>
                    <a:pt x="667" y="3495"/>
                  </a:cubicBezTo>
                  <a:cubicBezTo>
                    <a:pt x="670" y="3463"/>
                    <a:pt x="682" y="3434"/>
                    <a:pt x="681" y="3416"/>
                  </a:cubicBezTo>
                  <a:cubicBezTo>
                    <a:pt x="679" y="3396"/>
                    <a:pt x="675" y="3376"/>
                    <a:pt x="667" y="3358"/>
                  </a:cubicBezTo>
                  <a:cubicBezTo>
                    <a:pt x="662" y="3350"/>
                    <a:pt x="658" y="3350"/>
                    <a:pt x="652" y="3344"/>
                  </a:cubicBezTo>
                  <a:cubicBezTo>
                    <a:pt x="648" y="3340"/>
                    <a:pt x="645" y="3345"/>
                    <a:pt x="645" y="3337"/>
                  </a:cubicBezTo>
                  <a:cubicBezTo>
                    <a:pt x="644" y="3323"/>
                    <a:pt x="631" y="3314"/>
                    <a:pt x="623" y="3301"/>
                  </a:cubicBezTo>
                  <a:cubicBezTo>
                    <a:pt x="592" y="3293"/>
                    <a:pt x="559" y="3288"/>
                    <a:pt x="529" y="3279"/>
                  </a:cubicBezTo>
                  <a:cubicBezTo>
                    <a:pt x="504" y="3236"/>
                    <a:pt x="501" y="3172"/>
                    <a:pt x="471" y="3135"/>
                  </a:cubicBezTo>
                  <a:cubicBezTo>
                    <a:pt x="457" y="3131"/>
                    <a:pt x="441" y="3129"/>
                    <a:pt x="427" y="3120"/>
                  </a:cubicBezTo>
                  <a:cubicBezTo>
                    <a:pt x="418" y="3115"/>
                    <a:pt x="412" y="3116"/>
                    <a:pt x="398" y="3113"/>
                  </a:cubicBezTo>
                  <a:cubicBezTo>
                    <a:pt x="392" y="3112"/>
                    <a:pt x="391" y="3107"/>
                    <a:pt x="384" y="3106"/>
                  </a:cubicBezTo>
                  <a:cubicBezTo>
                    <a:pt x="367" y="3105"/>
                    <a:pt x="350" y="3110"/>
                    <a:pt x="333" y="3113"/>
                  </a:cubicBezTo>
                  <a:cubicBezTo>
                    <a:pt x="315" y="3116"/>
                    <a:pt x="299" y="3124"/>
                    <a:pt x="282" y="3120"/>
                  </a:cubicBezTo>
                  <a:cubicBezTo>
                    <a:pt x="249" y="3113"/>
                    <a:pt x="238" y="3081"/>
                    <a:pt x="209" y="3063"/>
                  </a:cubicBezTo>
                  <a:cubicBezTo>
                    <a:pt x="202" y="3058"/>
                    <a:pt x="190" y="3057"/>
                    <a:pt x="188" y="3048"/>
                  </a:cubicBezTo>
                  <a:cubicBezTo>
                    <a:pt x="168" y="3048"/>
                    <a:pt x="149" y="3048"/>
                    <a:pt x="130" y="3048"/>
                  </a:cubicBezTo>
                  <a:cubicBezTo>
                    <a:pt x="111" y="3006"/>
                    <a:pt x="95" y="2962"/>
                    <a:pt x="79" y="2911"/>
                  </a:cubicBezTo>
                  <a:cubicBezTo>
                    <a:pt x="68" y="2878"/>
                    <a:pt x="52" y="2841"/>
                    <a:pt x="43" y="2803"/>
                  </a:cubicBezTo>
                  <a:cubicBezTo>
                    <a:pt x="41" y="2797"/>
                    <a:pt x="44" y="2788"/>
                    <a:pt x="43" y="2782"/>
                  </a:cubicBezTo>
                  <a:cubicBezTo>
                    <a:pt x="41" y="2776"/>
                    <a:pt x="36" y="2775"/>
                    <a:pt x="35" y="2767"/>
                  </a:cubicBezTo>
                  <a:cubicBezTo>
                    <a:pt x="32" y="2742"/>
                    <a:pt x="38" y="2713"/>
                    <a:pt x="35" y="2688"/>
                  </a:cubicBezTo>
                  <a:cubicBezTo>
                    <a:pt x="34" y="2672"/>
                    <a:pt x="24" y="2653"/>
                    <a:pt x="21" y="2637"/>
                  </a:cubicBezTo>
                  <a:cubicBezTo>
                    <a:pt x="14" y="2601"/>
                    <a:pt x="17" y="2551"/>
                    <a:pt x="6" y="2515"/>
                  </a:cubicBezTo>
                  <a:cubicBezTo>
                    <a:pt x="0" y="2495"/>
                    <a:pt x="0" y="2490"/>
                    <a:pt x="6" y="2464"/>
                  </a:cubicBezTo>
                  <a:cubicBezTo>
                    <a:pt x="11" y="2445"/>
                    <a:pt x="8" y="2409"/>
                    <a:pt x="13" y="2378"/>
                  </a:cubicBezTo>
                  <a:cubicBezTo>
                    <a:pt x="17" y="2359"/>
                    <a:pt x="28" y="2341"/>
                    <a:pt x="35" y="2320"/>
                  </a:cubicBezTo>
                  <a:cubicBezTo>
                    <a:pt x="42" y="2302"/>
                    <a:pt x="44" y="2281"/>
                    <a:pt x="50" y="2263"/>
                  </a:cubicBezTo>
                  <a:cubicBezTo>
                    <a:pt x="51" y="2260"/>
                    <a:pt x="57" y="2262"/>
                    <a:pt x="57" y="2255"/>
                  </a:cubicBezTo>
                  <a:cubicBezTo>
                    <a:pt x="57" y="2254"/>
                    <a:pt x="56" y="2250"/>
                    <a:pt x="57" y="2248"/>
                  </a:cubicBezTo>
                  <a:cubicBezTo>
                    <a:pt x="60" y="2240"/>
                    <a:pt x="61" y="2232"/>
                    <a:pt x="64" y="2219"/>
                  </a:cubicBezTo>
                  <a:cubicBezTo>
                    <a:pt x="66" y="2215"/>
                    <a:pt x="71" y="2213"/>
                    <a:pt x="72" y="2212"/>
                  </a:cubicBezTo>
                  <a:cubicBezTo>
                    <a:pt x="76" y="2192"/>
                    <a:pt x="74" y="2168"/>
                    <a:pt x="79" y="2147"/>
                  </a:cubicBezTo>
                  <a:cubicBezTo>
                    <a:pt x="82" y="2135"/>
                    <a:pt x="91" y="2123"/>
                    <a:pt x="93" y="2111"/>
                  </a:cubicBezTo>
                  <a:cubicBezTo>
                    <a:pt x="98" y="2084"/>
                    <a:pt x="93" y="2057"/>
                    <a:pt x="101" y="2032"/>
                  </a:cubicBezTo>
                  <a:cubicBezTo>
                    <a:pt x="105" y="2017"/>
                    <a:pt x="113" y="2003"/>
                    <a:pt x="122" y="1989"/>
                  </a:cubicBezTo>
                  <a:cubicBezTo>
                    <a:pt x="125" y="1985"/>
                    <a:pt x="129" y="1990"/>
                    <a:pt x="130" y="1981"/>
                  </a:cubicBezTo>
                  <a:cubicBezTo>
                    <a:pt x="130" y="1971"/>
                    <a:pt x="143" y="1966"/>
                    <a:pt x="144" y="1953"/>
                  </a:cubicBezTo>
                  <a:cubicBezTo>
                    <a:pt x="144" y="1948"/>
                    <a:pt x="160" y="1931"/>
                    <a:pt x="166" y="1924"/>
                  </a:cubicBezTo>
                  <a:cubicBezTo>
                    <a:pt x="175" y="1913"/>
                    <a:pt x="177" y="1903"/>
                    <a:pt x="188" y="1902"/>
                  </a:cubicBezTo>
                  <a:cubicBezTo>
                    <a:pt x="189" y="1877"/>
                    <a:pt x="208" y="1870"/>
                    <a:pt x="209" y="1845"/>
                  </a:cubicBezTo>
                  <a:cubicBezTo>
                    <a:pt x="236" y="1823"/>
                    <a:pt x="263" y="1802"/>
                    <a:pt x="275" y="1765"/>
                  </a:cubicBezTo>
                  <a:cubicBezTo>
                    <a:pt x="291" y="1767"/>
                    <a:pt x="306" y="1766"/>
                    <a:pt x="318" y="1758"/>
                  </a:cubicBezTo>
                  <a:cubicBezTo>
                    <a:pt x="322" y="1755"/>
                    <a:pt x="317" y="1751"/>
                    <a:pt x="326" y="1751"/>
                  </a:cubicBezTo>
                  <a:cubicBezTo>
                    <a:pt x="335" y="1750"/>
                    <a:pt x="335" y="1739"/>
                    <a:pt x="340" y="1736"/>
                  </a:cubicBezTo>
                  <a:cubicBezTo>
                    <a:pt x="350" y="1732"/>
                    <a:pt x="368" y="1732"/>
                    <a:pt x="369" y="1715"/>
                  </a:cubicBezTo>
                  <a:cubicBezTo>
                    <a:pt x="370" y="1704"/>
                    <a:pt x="384" y="1704"/>
                    <a:pt x="391" y="1693"/>
                  </a:cubicBezTo>
                  <a:cubicBezTo>
                    <a:pt x="398" y="1682"/>
                    <a:pt x="399" y="1664"/>
                    <a:pt x="405" y="1650"/>
                  </a:cubicBezTo>
                  <a:cubicBezTo>
                    <a:pt x="409" y="1642"/>
                    <a:pt x="419" y="1633"/>
                    <a:pt x="420" y="1621"/>
                  </a:cubicBezTo>
                  <a:cubicBezTo>
                    <a:pt x="421" y="1605"/>
                    <a:pt x="464" y="1578"/>
                    <a:pt x="471" y="1556"/>
                  </a:cubicBezTo>
                  <a:cubicBezTo>
                    <a:pt x="513" y="1545"/>
                    <a:pt x="543" y="1530"/>
                    <a:pt x="572" y="1498"/>
                  </a:cubicBezTo>
                  <a:cubicBezTo>
                    <a:pt x="574" y="1496"/>
                    <a:pt x="570" y="1486"/>
                    <a:pt x="572" y="1484"/>
                  </a:cubicBezTo>
                  <a:cubicBezTo>
                    <a:pt x="581" y="1477"/>
                    <a:pt x="588" y="1466"/>
                    <a:pt x="609" y="1462"/>
                  </a:cubicBezTo>
                  <a:cubicBezTo>
                    <a:pt x="609" y="1474"/>
                    <a:pt x="609" y="1486"/>
                    <a:pt x="609" y="1498"/>
                  </a:cubicBezTo>
                  <a:cubicBezTo>
                    <a:pt x="618" y="1508"/>
                    <a:pt x="633" y="1505"/>
                    <a:pt x="645" y="1513"/>
                  </a:cubicBezTo>
                  <a:cubicBezTo>
                    <a:pt x="647" y="1515"/>
                    <a:pt x="643" y="1525"/>
                    <a:pt x="645" y="1527"/>
                  </a:cubicBezTo>
                  <a:cubicBezTo>
                    <a:pt x="651" y="1532"/>
                    <a:pt x="662" y="1529"/>
                    <a:pt x="667" y="1535"/>
                  </a:cubicBezTo>
                  <a:cubicBezTo>
                    <a:pt x="677" y="1534"/>
                    <a:pt x="681" y="1531"/>
                    <a:pt x="688" y="1527"/>
                  </a:cubicBezTo>
                  <a:cubicBezTo>
                    <a:pt x="693" y="1525"/>
                    <a:pt x="700" y="1514"/>
                    <a:pt x="703" y="1513"/>
                  </a:cubicBezTo>
                  <a:cubicBezTo>
                    <a:pt x="711" y="1510"/>
                    <a:pt x="723" y="1515"/>
                    <a:pt x="732" y="1513"/>
                  </a:cubicBezTo>
                  <a:cubicBezTo>
                    <a:pt x="747" y="1509"/>
                    <a:pt x="753" y="1493"/>
                    <a:pt x="768" y="1491"/>
                  </a:cubicBezTo>
                  <a:cubicBezTo>
                    <a:pt x="822" y="1493"/>
                    <a:pt x="890" y="1481"/>
                    <a:pt x="913" y="1513"/>
                  </a:cubicBezTo>
                  <a:cubicBezTo>
                    <a:pt x="930" y="1513"/>
                    <a:pt x="935" y="1501"/>
                    <a:pt x="957" y="1506"/>
                  </a:cubicBezTo>
                  <a:cubicBezTo>
                    <a:pt x="966" y="1516"/>
                    <a:pt x="985" y="1517"/>
                    <a:pt x="993" y="1527"/>
                  </a:cubicBezTo>
                  <a:cubicBezTo>
                    <a:pt x="1022" y="1532"/>
                    <a:pt x="1034" y="1520"/>
                    <a:pt x="1058" y="1520"/>
                  </a:cubicBezTo>
                  <a:cubicBezTo>
                    <a:pt x="1073" y="1525"/>
                    <a:pt x="1054" y="1563"/>
                    <a:pt x="1080" y="1556"/>
                  </a:cubicBezTo>
                  <a:cubicBezTo>
                    <a:pt x="1075" y="1573"/>
                    <a:pt x="1056" y="1575"/>
                    <a:pt x="1051" y="1592"/>
                  </a:cubicBezTo>
                  <a:cubicBezTo>
                    <a:pt x="1053" y="1609"/>
                    <a:pt x="1063" y="1619"/>
                    <a:pt x="1058" y="1643"/>
                  </a:cubicBezTo>
                  <a:cubicBezTo>
                    <a:pt x="1040" y="1663"/>
                    <a:pt x="1011" y="1672"/>
                    <a:pt x="993" y="1693"/>
                  </a:cubicBezTo>
                  <a:cubicBezTo>
                    <a:pt x="1005" y="1736"/>
                    <a:pt x="1034" y="1763"/>
                    <a:pt x="1058" y="1794"/>
                  </a:cubicBezTo>
                  <a:cubicBezTo>
                    <a:pt x="1111" y="1788"/>
                    <a:pt x="1120" y="1824"/>
                    <a:pt x="1153" y="1837"/>
                  </a:cubicBezTo>
                  <a:cubicBezTo>
                    <a:pt x="1143" y="1846"/>
                    <a:pt x="1143" y="1871"/>
                    <a:pt x="1153" y="1881"/>
                  </a:cubicBezTo>
                  <a:cubicBezTo>
                    <a:pt x="1158" y="1904"/>
                    <a:pt x="1189" y="1902"/>
                    <a:pt x="1211" y="1909"/>
                  </a:cubicBezTo>
                  <a:cubicBezTo>
                    <a:pt x="1216" y="1926"/>
                    <a:pt x="1233" y="1931"/>
                    <a:pt x="1247" y="1938"/>
                  </a:cubicBezTo>
                  <a:cubicBezTo>
                    <a:pt x="1247" y="1959"/>
                    <a:pt x="1264" y="1965"/>
                    <a:pt x="1276" y="1974"/>
                  </a:cubicBezTo>
                  <a:cubicBezTo>
                    <a:pt x="1303" y="1975"/>
                    <a:pt x="1318" y="1963"/>
                    <a:pt x="1334" y="1953"/>
                  </a:cubicBezTo>
                  <a:cubicBezTo>
                    <a:pt x="1334" y="1931"/>
                    <a:pt x="1334" y="1909"/>
                    <a:pt x="1334" y="1888"/>
                  </a:cubicBezTo>
                  <a:cubicBezTo>
                    <a:pt x="1358" y="1861"/>
                    <a:pt x="1391" y="1844"/>
                    <a:pt x="1443" y="1845"/>
                  </a:cubicBezTo>
                  <a:cubicBezTo>
                    <a:pt x="1448" y="1854"/>
                    <a:pt x="1458" y="1858"/>
                    <a:pt x="1472" y="1859"/>
                  </a:cubicBezTo>
                  <a:cubicBezTo>
                    <a:pt x="1478" y="1867"/>
                    <a:pt x="1482" y="1878"/>
                    <a:pt x="1479" y="1895"/>
                  </a:cubicBezTo>
                  <a:cubicBezTo>
                    <a:pt x="1512" y="1891"/>
                    <a:pt x="1510" y="1922"/>
                    <a:pt x="1544" y="1917"/>
                  </a:cubicBezTo>
                  <a:cubicBezTo>
                    <a:pt x="1549" y="1932"/>
                    <a:pt x="1560" y="1940"/>
                    <a:pt x="1566" y="1953"/>
                  </a:cubicBezTo>
                  <a:cubicBezTo>
                    <a:pt x="1581" y="1953"/>
                    <a:pt x="1595" y="1953"/>
                    <a:pt x="1610" y="1953"/>
                  </a:cubicBezTo>
                  <a:cubicBezTo>
                    <a:pt x="1618" y="1964"/>
                    <a:pt x="1634" y="1967"/>
                    <a:pt x="1646" y="1974"/>
                  </a:cubicBezTo>
                  <a:cubicBezTo>
                    <a:pt x="1653" y="1978"/>
                    <a:pt x="1655" y="1985"/>
                    <a:pt x="1661" y="1989"/>
                  </a:cubicBezTo>
                  <a:cubicBezTo>
                    <a:pt x="1663" y="1990"/>
                    <a:pt x="1673" y="1986"/>
                    <a:pt x="1675" y="1989"/>
                  </a:cubicBezTo>
                  <a:cubicBezTo>
                    <a:pt x="1682" y="1997"/>
                    <a:pt x="1697" y="1989"/>
                    <a:pt x="1704" y="1996"/>
                  </a:cubicBezTo>
                  <a:cubicBezTo>
                    <a:pt x="1707" y="1999"/>
                    <a:pt x="1716" y="2010"/>
                    <a:pt x="1733" y="2010"/>
                  </a:cubicBezTo>
                  <a:cubicBezTo>
                    <a:pt x="1773" y="2010"/>
                    <a:pt x="1797" y="1972"/>
                    <a:pt x="1842" y="1981"/>
                  </a:cubicBezTo>
                  <a:cubicBezTo>
                    <a:pt x="1862" y="1975"/>
                    <a:pt x="1861" y="2002"/>
                    <a:pt x="1878" y="2003"/>
                  </a:cubicBezTo>
                  <a:cubicBezTo>
                    <a:pt x="1887" y="2004"/>
                    <a:pt x="1891" y="2003"/>
                    <a:pt x="1893" y="2010"/>
                  </a:cubicBezTo>
                  <a:cubicBezTo>
                    <a:pt x="1937" y="2013"/>
                    <a:pt x="1963" y="2011"/>
                    <a:pt x="1987" y="1996"/>
                  </a:cubicBezTo>
                  <a:cubicBezTo>
                    <a:pt x="1988" y="1995"/>
                    <a:pt x="2001" y="1990"/>
                    <a:pt x="2002" y="1989"/>
                  </a:cubicBezTo>
                  <a:cubicBezTo>
                    <a:pt x="2003" y="1985"/>
                    <a:pt x="1999" y="1978"/>
                    <a:pt x="2002" y="1974"/>
                  </a:cubicBezTo>
                  <a:cubicBezTo>
                    <a:pt x="2003" y="1972"/>
                    <a:pt x="2015" y="1969"/>
                    <a:pt x="2016" y="1967"/>
                  </a:cubicBezTo>
                  <a:cubicBezTo>
                    <a:pt x="2022" y="1953"/>
                    <a:pt x="2025" y="1945"/>
                    <a:pt x="2031" y="1931"/>
                  </a:cubicBezTo>
                  <a:cubicBezTo>
                    <a:pt x="2035" y="1921"/>
                    <a:pt x="2033" y="1912"/>
                    <a:pt x="2038" y="1902"/>
                  </a:cubicBezTo>
                  <a:cubicBezTo>
                    <a:pt x="2040" y="1899"/>
                    <a:pt x="2051" y="1898"/>
                    <a:pt x="2052" y="1895"/>
                  </a:cubicBezTo>
                  <a:cubicBezTo>
                    <a:pt x="2062" y="1873"/>
                    <a:pt x="2071" y="1838"/>
                    <a:pt x="2096" y="1823"/>
                  </a:cubicBezTo>
                  <a:cubicBezTo>
                    <a:pt x="2091" y="1788"/>
                    <a:pt x="2109" y="1775"/>
                    <a:pt x="2096" y="1751"/>
                  </a:cubicBezTo>
                  <a:cubicBezTo>
                    <a:pt x="2097" y="1748"/>
                    <a:pt x="2110" y="1738"/>
                    <a:pt x="2110" y="1736"/>
                  </a:cubicBezTo>
                  <a:cubicBezTo>
                    <a:pt x="2112" y="1726"/>
                    <a:pt x="2100" y="1721"/>
                    <a:pt x="2103" y="1715"/>
                  </a:cubicBezTo>
                  <a:cubicBezTo>
                    <a:pt x="2107" y="1706"/>
                    <a:pt x="2129" y="1708"/>
                    <a:pt x="2125" y="1686"/>
                  </a:cubicBezTo>
                  <a:cubicBezTo>
                    <a:pt x="2112" y="1673"/>
                    <a:pt x="2104" y="1689"/>
                    <a:pt x="2089" y="1693"/>
                  </a:cubicBezTo>
                  <a:cubicBezTo>
                    <a:pt x="2033" y="1665"/>
                    <a:pt x="2019" y="1726"/>
                    <a:pt x="1958" y="1715"/>
                  </a:cubicBezTo>
                  <a:cubicBezTo>
                    <a:pt x="1931" y="1720"/>
                    <a:pt x="1942" y="1687"/>
                    <a:pt x="1922" y="1686"/>
                  </a:cubicBezTo>
                  <a:cubicBezTo>
                    <a:pt x="1907" y="1682"/>
                    <a:pt x="1901" y="1668"/>
                    <a:pt x="1878" y="1672"/>
                  </a:cubicBezTo>
                  <a:cubicBezTo>
                    <a:pt x="1855" y="1665"/>
                    <a:pt x="1863" y="1690"/>
                    <a:pt x="1849" y="1693"/>
                  </a:cubicBezTo>
                  <a:cubicBezTo>
                    <a:pt x="1843" y="1704"/>
                    <a:pt x="1826" y="1704"/>
                    <a:pt x="1813" y="1708"/>
                  </a:cubicBezTo>
                  <a:cubicBezTo>
                    <a:pt x="1811" y="1700"/>
                    <a:pt x="1799" y="1703"/>
                    <a:pt x="1798" y="1693"/>
                  </a:cubicBezTo>
                  <a:cubicBezTo>
                    <a:pt x="1800" y="1681"/>
                    <a:pt x="1792" y="1681"/>
                    <a:pt x="1791" y="1672"/>
                  </a:cubicBezTo>
                  <a:cubicBezTo>
                    <a:pt x="1764" y="1673"/>
                    <a:pt x="1756" y="1653"/>
                    <a:pt x="1733" y="1650"/>
                  </a:cubicBezTo>
                  <a:cubicBezTo>
                    <a:pt x="1730" y="1627"/>
                    <a:pt x="1743" y="1588"/>
                    <a:pt x="1719" y="1585"/>
                  </a:cubicBezTo>
                  <a:cubicBezTo>
                    <a:pt x="1734" y="1573"/>
                    <a:pt x="1728" y="1541"/>
                    <a:pt x="1740" y="1527"/>
                  </a:cubicBezTo>
                  <a:cubicBezTo>
                    <a:pt x="1748" y="1500"/>
                    <a:pt x="1713" y="1516"/>
                    <a:pt x="1719" y="1491"/>
                  </a:cubicBezTo>
                  <a:cubicBezTo>
                    <a:pt x="1728" y="1488"/>
                    <a:pt x="1734" y="1482"/>
                    <a:pt x="1733" y="1470"/>
                  </a:cubicBezTo>
                  <a:cubicBezTo>
                    <a:pt x="1767" y="1469"/>
                    <a:pt x="1803" y="1483"/>
                    <a:pt x="1835" y="1477"/>
                  </a:cubicBezTo>
                  <a:cubicBezTo>
                    <a:pt x="1847" y="1474"/>
                    <a:pt x="1855" y="1453"/>
                    <a:pt x="1871" y="1462"/>
                  </a:cubicBezTo>
                  <a:cubicBezTo>
                    <a:pt x="1866" y="1439"/>
                    <a:pt x="1834" y="1438"/>
                    <a:pt x="1806" y="1441"/>
                  </a:cubicBezTo>
                  <a:cubicBezTo>
                    <a:pt x="1784" y="1443"/>
                    <a:pt x="1775" y="1454"/>
                    <a:pt x="1762" y="1455"/>
                  </a:cubicBezTo>
                  <a:cubicBezTo>
                    <a:pt x="1726" y="1444"/>
                    <a:pt x="1689" y="1409"/>
                    <a:pt x="1646" y="1426"/>
                  </a:cubicBezTo>
                  <a:cubicBezTo>
                    <a:pt x="1631" y="1423"/>
                    <a:pt x="1632" y="1437"/>
                    <a:pt x="1632" y="1448"/>
                  </a:cubicBezTo>
                  <a:cubicBezTo>
                    <a:pt x="1604" y="1456"/>
                    <a:pt x="1611" y="1430"/>
                    <a:pt x="1588" y="1434"/>
                  </a:cubicBezTo>
                  <a:cubicBezTo>
                    <a:pt x="1581" y="1440"/>
                    <a:pt x="1573" y="1480"/>
                    <a:pt x="1588" y="1484"/>
                  </a:cubicBezTo>
                  <a:cubicBezTo>
                    <a:pt x="1577" y="1493"/>
                    <a:pt x="1577" y="1511"/>
                    <a:pt x="1566" y="1520"/>
                  </a:cubicBezTo>
                  <a:cubicBezTo>
                    <a:pt x="1562" y="1548"/>
                    <a:pt x="1624" y="1533"/>
                    <a:pt x="1603" y="1556"/>
                  </a:cubicBezTo>
                  <a:cubicBezTo>
                    <a:pt x="1596" y="1603"/>
                    <a:pt x="1562" y="1549"/>
                    <a:pt x="1544" y="1542"/>
                  </a:cubicBezTo>
                  <a:cubicBezTo>
                    <a:pt x="1521" y="1546"/>
                    <a:pt x="1511" y="1537"/>
                    <a:pt x="1494" y="1535"/>
                  </a:cubicBezTo>
                  <a:cubicBezTo>
                    <a:pt x="1494" y="1523"/>
                    <a:pt x="1490" y="1507"/>
                    <a:pt x="1501" y="1506"/>
                  </a:cubicBezTo>
                  <a:cubicBezTo>
                    <a:pt x="1499" y="1494"/>
                    <a:pt x="1485" y="1491"/>
                    <a:pt x="1479" y="1477"/>
                  </a:cubicBezTo>
                  <a:cubicBezTo>
                    <a:pt x="1475" y="1467"/>
                    <a:pt x="1481" y="1452"/>
                    <a:pt x="1479" y="1441"/>
                  </a:cubicBezTo>
                  <a:cubicBezTo>
                    <a:pt x="1479" y="1440"/>
                    <a:pt x="1472" y="1439"/>
                    <a:pt x="1472" y="1434"/>
                  </a:cubicBezTo>
                  <a:cubicBezTo>
                    <a:pt x="1472" y="1427"/>
                    <a:pt x="1471" y="1419"/>
                    <a:pt x="1472" y="1412"/>
                  </a:cubicBezTo>
                  <a:cubicBezTo>
                    <a:pt x="1473" y="1399"/>
                    <a:pt x="1481" y="1394"/>
                    <a:pt x="1486" y="1383"/>
                  </a:cubicBezTo>
                  <a:cubicBezTo>
                    <a:pt x="1492" y="1371"/>
                    <a:pt x="1488" y="1356"/>
                    <a:pt x="1501" y="1354"/>
                  </a:cubicBezTo>
                  <a:cubicBezTo>
                    <a:pt x="1494" y="1315"/>
                    <a:pt x="1454" y="1310"/>
                    <a:pt x="1450" y="1268"/>
                  </a:cubicBezTo>
                  <a:cubicBezTo>
                    <a:pt x="1432" y="1254"/>
                    <a:pt x="1413" y="1243"/>
                    <a:pt x="1399" y="1225"/>
                  </a:cubicBezTo>
                  <a:cubicBezTo>
                    <a:pt x="1396" y="1200"/>
                    <a:pt x="1402" y="1184"/>
                    <a:pt x="1407" y="1167"/>
                  </a:cubicBezTo>
                  <a:cubicBezTo>
                    <a:pt x="1397" y="1138"/>
                    <a:pt x="1392" y="1169"/>
                    <a:pt x="1370" y="1167"/>
                  </a:cubicBezTo>
                  <a:cubicBezTo>
                    <a:pt x="1369" y="1149"/>
                    <a:pt x="1382" y="1145"/>
                    <a:pt x="1385" y="1131"/>
                  </a:cubicBezTo>
                  <a:cubicBezTo>
                    <a:pt x="1370" y="1131"/>
                    <a:pt x="1356" y="1131"/>
                    <a:pt x="1341" y="1131"/>
                  </a:cubicBezTo>
                  <a:cubicBezTo>
                    <a:pt x="1321" y="1123"/>
                    <a:pt x="1336" y="1153"/>
                    <a:pt x="1327" y="1160"/>
                  </a:cubicBezTo>
                  <a:cubicBezTo>
                    <a:pt x="1324" y="1162"/>
                    <a:pt x="1306" y="1174"/>
                    <a:pt x="1305" y="1189"/>
                  </a:cubicBezTo>
                  <a:cubicBezTo>
                    <a:pt x="1305" y="1213"/>
                    <a:pt x="1315" y="1227"/>
                    <a:pt x="1327" y="1239"/>
                  </a:cubicBezTo>
                  <a:cubicBezTo>
                    <a:pt x="1317" y="1248"/>
                    <a:pt x="1320" y="1270"/>
                    <a:pt x="1320" y="1289"/>
                  </a:cubicBezTo>
                  <a:cubicBezTo>
                    <a:pt x="1329" y="1306"/>
                    <a:pt x="1332" y="1330"/>
                    <a:pt x="1363" y="1325"/>
                  </a:cubicBezTo>
                  <a:cubicBezTo>
                    <a:pt x="1365" y="1337"/>
                    <a:pt x="1358" y="1363"/>
                    <a:pt x="1370" y="1369"/>
                  </a:cubicBezTo>
                  <a:cubicBezTo>
                    <a:pt x="1374" y="1370"/>
                    <a:pt x="1382" y="1366"/>
                    <a:pt x="1385" y="1369"/>
                  </a:cubicBezTo>
                  <a:cubicBezTo>
                    <a:pt x="1391" y="1374"/>
                    <a:pt x="1394" y="1384"/>
                    <a:pt x="1399" y="1390"/>
                  </a:cubicBezTo>
                  <a:cubicBezTo>
                    <a:pt x="1407" y="1400"/>
                    <a:pt x="1426" y="1408"/>
                    <a:pt x="1421" y="1434"/>
                  </a:cubicBezTo>
                  <a:cubicBezTo>
                    <a:pt x="1395" y="1435"/>
                    <a:pt x="1407" y="1400"/>
                    <a:pt x="1378" y="1405"/>
                  </a:cubicBezTo>
                  <a:cubicBezTo>
                    <a:pt x="1350" y="1399"/>
                    <a:pt x="1362" y="1432"/>
                    <a:pt x="1341" y="1434"/>
                  </a:cubicBezTo>
                  <a:cubicBezTo>
                    <a:pt x="1336" y="1456"/>
                    <a:pt x="1361" y="1447"/>
                    <a:pt x="1356" y="1470"/>
                  </a:cubicBezTo>
                  <a:cubicBezTo>
                    <a:pt x="1333" y="1488"/>
                    <a:pt x="1312" y="1507"/>
                    <a:pt x="1291" y="1527"/>
                  </a:cubicBezTo>
                  <a:cubicBezTo>
                    <a:pt x="1270" y="1509"/>
                    <a:pt x="1317" y="1496"/>
                    <a:pt x="1320" y="1477"/>
                  </a:cubicBezTo>
                  <a:cubicBezTo>
                    <a:pt x="1321" y="1454"/>
                    <a:pt x="1320" y="1430"/>
                    <a:pt x="1312" y="1412"/>
                  </a:cubicBezTo>
                  <a:cubicBezTo>
                    <a:pt x="1311" y="1409"/>
                    <a:pt x="1307" y="1411"/>
                    <a:pt x="1305" y="1405"/>
                  </a:cubicBezTo>
                  <a:cubicBezTo>
                    <a:pt x="1304" y="1401"/>
                    <a:pt x="1307" y="1394"/>
                    <a:pt x="1305" y="1390"/>
                  </a:cubicBezTo>
                  <a:cubicBezTo>
                    <a:pt x="1292" y="1365"/>
                    <a:pt x="1269" y="1345"/>
                    <a:pt x="1247" y="1333"/>
                  </a:cubicBezTo>
                  <a:cubicBezTo>
                    <a:pt x="1246" y="1298"/>
                    <a:pt x="1236" y="1272"/>
                    <a:pt x="1225" y="1246"/>
                  </a:cubicBezTo>
                  <a:cubicBezTo>
                    <a:pt x="1234" y="1233"/>
                    <a:pt x="1227" y="1204"/>
                    <a:pt x="1240" y="1196"/>
                  </a:cubicBezTo>
                  <a:cubicBezTo>
                    <a:pt x="1235" y="1176"/>
                    <a:pt x="1219" y="1168"/>
                    <a:pt x="1211" y="1153"/>
                  </a:cubicBezTo>
                  <a:cubicBezTo>
                    <a:pt x="1199" y="1149"/>
                    <a:pt x="1192" y="1162"/>
                    <a:pt x="1182" y="1167"/>
                  </a:cubicBezTo>
                  <a:cubicBezTo>
                    <a:pt x="1155" y="1178"/>
                    <a:pt x="1128" y="1174"/>
                    <a:pt x="1109" y="1196"/>
                  </a:cubicBezTo>
                  <a:cubicBezTo>
                    <a:pt x="1081" y="1193"/>
                    <a:pt x="1078" y="1164"/>
                    <a:pt x="1051" y="1160"/>
                  </a:cubicBezTo>
                  <a:cubicBezTo>
                    <a:pt x="1008" y="1167"/>
                    <a:pt x="995" y="1205"/>
                    <a:pt x="979" y="1239"/>
                  </a:cubicBezTo>
                  <a:cubicBezTo>
                    <a:pt x="951" y="1246"/>
                    <a:pt x="927" y="1255"/>
                    <a:pt x="899" y="1261"/>
                  </a:cubicBezTo>
                  <a:cubicBezTo>
                    <a:pt x="872" y="1282"/>
                    <a:pt x="847" y="1305"/>
                    <a:pt x="819" y="1325"/>
                  </a:cubicBezTo>
                  <a:cubicBezTo>
                    <a:pt x="819" y="1342"/>
                    <a:pt x="806" y="1347"/>
                    <a:pt x="812" y="1369"/>
                  </a:cubicBezTo>
                  <a:cubicBezTo>
                    <a:pt x="786" y="1371"/>
                    <a:pt x="779" y="1399"/>
                    <a:pt x="761" y="1412"/>
                  </a:cubicBezTo>
                  <a:cubicBezTo>
                    <a:pt x="756" y="1415"/>
                    <a:pt x="744" y="1409"/>
                    <a:pt x="739" y="1412"/>
                  </a:cubicBezTo>
                  <a:cubicBezTo>
                    <a:pt x="732" y="1415"/>
                    <a:pt x="724" y="1440"/>
                    <a:pt x="703" y="1441"/>
                  </a:cubicBezTo>
                  <a:cubicBezTo>
                    <a:pt x="678" y="1431"/>
                    <a:pt x="645" y="1418"/>
                    <a:pt x="616" y="1434"/>
                  </a:cubicBezTo>
                  <a:cubicBezTo>
                    <a:pt x="618" y="1394"/>
                    <a:pt x="633" y="1363"/>
                    <a:pt x="587" y="1362"/>
                  </a:cubicBezTo>
                  <a:cubicBezTo>
                    <a:pt x="598" y="1323"/>
                    <a:pt x="627" y="1300"/>
                    <a:pt x="630" y="1253"/>
                  </a:cubicBezTo>
                  <a:cubicBezTo>
                    <a:pt x="643" y="1242"/>
                    <a:pt x="662" y="1230"/>
                    <a:pt x="674" y="1217"/>
                  </a:cubicBezTo>
                  <a:cubicBezTo>
                    <a:pt x="680" y="1210"/>
                    <a:pt x="681" y="1197"/>
                    <a:pt x="688" y="1189"/>
                  </a:cubicBezTo>
                  <a:cubicBezTo>
                    <a:pt x="693" y="1183"/>
                    <a:pt x="706" y="1180"/>
                    <a:pt x="710" y="1174"/>
                  </a:cubicBezTo>
                  <a:cubicBezTo>
                    <a:pt x="716" y="1166"/>
                    <a:pt x="712" y="1155"/>
                    <a:pt x="717" y="1145"/>
                  </a:cubicBezTo>
                  <a:cubicBezTo>
                    <a:pt x="719" y="1142"/>
                    <a:pt x="724" y="1146"/>
                    <a:pt x="725" y="1138"/>
                  </a:cubicBezTo>
                  <a:cubicBezTo>
                    <a:pt x="725" y="1135"/>
                    <a:pt x="730" y="1127"/>
                    <a:pt x="732" y="1124"/>
                  </a:cubicBezTo>
                  <a:cubicBezTo>
                    <a:pt x="734" y="1121"/>
                    <a:pt x="745" y="1119"/>
                    <a:pt x="746" y="1116"/>
                  </a:cubicBezTo>
                  <a:cubicBezTo>
                    <a:pt x="752" y="1105"/>
                    <a:pt x="747" y="1096"/>
                    <a:pt x="754" y="1080"/>
                  </a:cubicBezTo>
                  <a:cubicBezTo>
                    <a:pt x="774" y="1079"/>
                    <a:pt x="784" y="1067"/>
                    <a:pt x="804" y="1066"/>
                  </a:cubicBezTo>
                  <a:cubicBezTo>
                    <a:pt x="795" y="1089"/>
                    <a:pt x="834" y="1081"/>
                    <a:pt x="841" y="1095"/>
                  </a:cubicBezTo>
                  <a:cubicBezTo>
                    <a:pt x="842" y="1097"/>
                    <a:pt x="839" y="1108"/>
                    <a:pt x="841" y="1109"/>
                  </a:cubicBezTo>
                  <a:cubicBezTo>
                    <a:pt x="843" y="1111"/>
                    <a:pt x="853" y="1107"/>
                    <a:pt x="855" y="1109"/>
                  </a:cubicBezTo>
                  <a:cubicBezTo>
                    <a:pt x="856" y="1110"/>
                    <a:pt x="854" y="1116"/>
                    <a:pt x="855" y="1116"/>
                  </a:cubicBezTo>
                  <a:cubicBezTo>
                    <a:pt x="858" y="1118"/>
                    <a:pt x="868" y="1114"/>
                    <a:pt x="870" y="1116"/>
                  </a:cubicBezTo>
                  <a:cubicBezTo>
                    <a:pt x="871" y="1118"/>
                    <a:pt x="880" y="1137"/>
                    <a:pt x="891" y="1138"/>
                  </a:cubicBezTo>
                  <a:cubicBezTo>
                    <a:pt x="927" y="1134"/>
                    <a:pt x="939" y="1103"/>
                    <a:pt x="957" y="1080"/>
                  </a:cubicBezTo>
                  <a:cubicBezTo>
                    <a:pt x="974" y="1058"/>
                    <a:pt x="987" y="1033"/>
                    <a:pt x="1008" y="1016"/>
                  </a:cubicBezTo>
                  <a:cubicBezTo>
                    <a:pt x="1012" y="993"/>
                    <a:pt x="994" y="993"/>
                    <a:pt x="1008" y="979"/>
                  </a:cubicBezTo>
                  <a:cubicBezTo>
                    <a:pt x="1018" y="975"/>
                    <a:pt x="1009" y="952"/>
                    <a:pt x="1022" y="951"/>
                  </a:cubicBezTo>
                  <a:cubicBezTo>
                    <a:pt x="1012" y="930"/>
                    <a:pt x="1003" y="909"/>
                    <a:pt x="1015" y="886"/>
                  </a:cubicBezTo>
                  <a:cubicBezTo>
                    <a:pt x="1027" y="886"/>
                    <a:pt x="1039" y="886"/>
                    <a:pt x="1051" y="886"/>
                  </a:cubicBezTo>
                  <a:cubicBezTo>
                    <a:pt x="1047" y="902"/>
                    <a:pt x="1065" y="896"/>
                    <a:pt x="1066" y="907"/>
                  </a:cubicBezTo>
                  <a:cubicBezTo>
                    <a:pt x="1081" y="898"/>
                    <a:pt x="1093" y="886"/>
                    <a:pt x="1102" y="871"/>
                  </a:cubicBezTo>
                  <a:cubicBezTo>
                    <a:pt x="1125" y="895"/>
                    <a:pt x="1148" y="865"/>
                    <a:pt x="1167" y="864"/>
                  </a:cubicBezTo>
                  <a:cubicBezTo>
                    <a:pt x="1191" y="863"/>
                    <a:pt x="1216" y="833"/>
                    <a:pt x="1232" y="821"/>
                  </a:cubicBezTo>
                  <a:cubicBezTo>
                    <a:pt x="1262" y="815"/>
                    <a:pt x="1293" y="818"/>
                    <a:pt x="1320" y="806"/>
                  </a:cubicBezTo>
                  <a:cubicBezTo>
                    <a:pt x="1323" y="805"/>
                    <a:pt x="1319" y="800"/>
                    <a:pt x="1327" y="799"/>
                  </a:cubicBezTo>
                  <a:cubicBezTo>
                    <a:pt x="1337" y="799"/>
                    <a:pt x="1342" y="786"/>
                    <a:pt x="1356" y="785"/>
                  </a:cubicBezTo>
                  <a:cubicBezTo>
                    <a:pt x="1366" y="784"/>
                    <a:pt x="1394" y="769"/>
                    <a:pt x="1392" y="749"/>
                  </a:cubicBezTo>
                  <a:cubicBezTo>
                    <a:pt x="1407" y="743"/>
                    <a:pt x="1412" y="757"/>
                    <a:pt x="1421" y="756"/>
                  </a:cubicBezTo>
                  <a:cubicBezTo>
                    <a:pt x="1431" y="755"/>
                    <a:pt x="1432" y="742"/>
                    <a:pt x="1443" y="742"/>
                  </a:cubicBezTo>
                  <a:cubicBezTo>
                    <a:pt x="1458" y="740"/>
                    <a:pt x="1471" y="758"/>
                    <a:pt x="1486" y="742"/>
                  </a:cubicBezTo>
                  <a:cubicBezTo>
                    <a:pt x="1500" y="741"/>
                    <a:pt x="1496" y="729"/>
                    <a:pt x="1501" y="720"/>
                  </a:cubicBezTo>
                  <a:cubicBezTo>
                    <a:pt x="1504" y="716"/>
                    <a:pt x="1514" y="709"/>
                    <a:pt x="1515" y="706"/>
                  </a:cubicBezTo>
                  <a:cubicBezTo>
                    <a:pt x="1517" y="703"/>
                    <a:pt x="1513" y="693"/>
                    <a:pt x="1515" y="691"/>
                  </a:cubicBezTo>
                  <a:cubicBezTo>
                    <a:pt x="1517" y="690"/>
                    <a:pt x="1530" y="685"/>
                    <a:pt x="1530" y="684"/>
                  </a:cubicBezTo>
                  <a:cubicBezTo>
                    <a:pt x="1533" y="676"/>
                    <a:pt x="1526" y="662"/>
                    <a:pt x="1530" y="655"/>
                  </a:cubicBezTo>
                  <a:cubicBezTo>
                    <a:pt x="1534" y="649"/>
                    <a:pt x="1546" y="646"/>
                    <a:pt x="1552" y="641"/>
                  </a:cubicBezTo>
                  <a:cubicBezTo>
                    <a:pt x="1556" y="636"/>
                    <a:pt x="1561" y="622"/>
                    <a:pt x="1566" y="619"/>
                  </a:cubicBezTo>
                  <a:cubicBezTo>
                    <a:pt x="1582" y="611"/>
                    <a:pt x="1603" y="629"/>
                    <a:pt x="1617" y="605"/>
                  </a:cubicBezTo>
                  <a:cubicBezTo>
                    <a:pt x="1625" y="606"/>
                    <a:pt x="1621" y="612"/>
                    <a:pt x="1617" y="612"/>
                  </a:cubicBezTo>
                  <a:cubicBezTo>
                    <a:pt x="1614" y="626"/>
                    <a:pt x="1596" y="625"/>
                    <a:pt x="1603" y="648"/>
                  </a:cubicBezTo>
                  <a:cubicBezTo>
                    <a:pt x="1574" y="663"/>
                    <a:pt x="1546" y="679"/>
                    <a:pt x="1530" y="706"/>
                  </a:cubicBezTo>
                  <a:cubicBezTo>
                    <a:pt x="1525" y="728"/>
                    <a:pt x="1543" y="727"/>
                    <a:pt x="1537" y="749"/>
                  </a:cubicBezTo>
                  <a:cubicBezTo>
                    <a:pt x="1574" y="746"/>
                    <a:pt x="1608" y="746"/>
                    <a:pt x="1610" y="778"/>
                  </a:cubicBezTo>
                  <a:cubicBezTo>
                    <a:pt x="1623" y="761"/>
                    <a:pt x="1650" y="768"/>
                    <a:pt x="1668" y="763"/>
                  </a:cubicBezTo>
                  <a:cubicBezTo>
                    <a:pt x="1690" y="757"/>
                    <a:pt x="1708" y="739"/>
                    <a:pt x="1733" y="742"/>
                  </a:cubicBezTo>
                  <a:cubicBezTo>
                    <a:pt x="1756" y="735"/>
                    <a:pt x="1748" y="760"/>
                    <a:pt x="1762" y="763"/>
                  </a:cubicBezTo>
                  <a:cubicBezTo>
                    <a:pt x="1778" y="765"/>
                    <a:pt x="1788" y="763"/>
                    <a:pt x="1798" y="756"/>
                  </a:cubicBezTo>
                  <a:cubicBezTo>
                    <a:pt x="1809" y="749"/>
                    <a:pt x="1825" y="740"/>
                    <a:pt x="1849" y="734"/>
                  </a:cubicBezTo>
                  <a:cubicBezTo>
                    <a:pt x="1863" y="693"/>
                    <a:pt x="1881" y="655"/>
                    <a:pt x="1922" y="641"/>
                  </a:cubicBezTo>
                  <a:cubicBezTo>
                    <a:pt x="1947" y="635"/>
                    <a:pt x="1934" y="667"/>
                    <a:pt x="1951" y="669"/>
                  </a:cubicBezTo>
                  <a:cubicBezTo>
                    <a:pt x="1987" y="677"/>
                    <a:pt x="1980" y="640"/>
                    <a:pt x="2002" y="633"/>
                  </a:cubicBezTo>
                  <a:cubicBezTo>
                    <a:pt x="1999" y="608"/>
                    <a:pt x="1982" y="616"/>
                    <a:pt x="1994" y="590"/>
                  </a:cubicBezTo>
                  <a:cubicBezTo>
                    <a:pt x="2018" y="580"/>
                    <a:pt x="2028" y="575"/>
                    <a:pt x="2052" y="576"/>
                  </a:cubicBezTo>
                  <a:cubicBezTo>
                    <a:pt x="2068" y="577"/>
                    <a:pt x="2087" y="591"/>
                    <a:pt x="2103" y="590"/>
                  </a:cubicBezTo>
                  <a:cubicBezTo>
                    <a:pt x="2128" y="589"/>
                    <a:pt x="2147" y="570"/>
                    <a:pt x="2176" y="576"/>
                  </a:cubicBezTo>
                  <a:cubicBezTo>
                    <a:pt x="2186" y="548"/>
                    <a:pt x="2143" y="574"/>
                    <a:pt x="2154" y="547"/>
                  </a:cubicBezTo>
                  <a:cubicBezTo>
                    <a:pt x="2095" y="540"/>
                    <a:pt x="2036" y="559"/>
                    <a:pt x="1994" y="547"/>
                  </a:cubicBezTo>
                  <a:cubicBezTo>
                    <a:pt x="1995" y="535"/>
                    <a:pt x="1989" y="528"/>
                    <a:pt x="1980" y="525"/>
                  </a:cubicBezTo>
                  <a:cubicBezTo>
                    <a:pt x="1979" y="500"/>
                    <a:pt x="2004" y="502"/>
                    <a:pt x="2009" y="482"/>
                  </a:cubicBezTo>
                  <a:cubicBezTo>
                    <a:pt x="2009" y="460"/>
                    <a:pt x="2024" y="454"/>
                    <a:pt x="2031" y="439"/>
                  </a:cubicBezTo>
                  <a:cubicBezTo>
                    <a:pt x="2047" y="436"/>
                    <a:pt x="2059" y="431"/>
                    <a:pt x="2074" y="424"/>
                  </a:cubicBezTo>
                  <a:cubicBezTo>
                    <a:pt x="2085" y="420"/>
                    <a:pt x="2099" y="416"/>
                    <a:pt x="2110" y="410"/>
                  </a:cubicBezTo>
                  <a:cubicBezTo>
                    <a:pt x="2115" y="408"/>
                    <a:pt x="2121" y="398"/>
                    <a:pt x="2125" y="396"/>
                  </a:cubicBezTo>
                  <a:cubicBezTo>
                    <a:pt x="2140" y="388"/>
                    <a:pt x="2168" y="392"/>
                    <a:pt x="2176" y="367"/>
                  </a:cubicBezTo>
                  <a:cubicBezTo>
                    <a:pt x="2177" y="344"/>
                    <a:pt x="2147" y="359"/>
                    <a:pt x="2139" y="352"/>
                  </a:cubicBezTo>
                  <a:cubicBezTo>
                    <a:pt x="2131" y="344"/>
                    <a:pt x="2129" y="348"/>
                    <a:pt x="2118" y="352"/>
                  </a:cubicBezTo>
                  <a:cubicBezTo>
                    <a:pt x="2113" y="355"/>
                    <a:pt x="2102" y="356"/>
                    <a:pt x="2096" y="360"/>
                  </a:cubicBezTo>
                  <a:cubicBezTo>
                    <a:pt x="2083" y="367"/>
                    <a:pt x="2078" y="379"/>
                    <a:pt x="2067" y="388"/>
                  </a:cubicBezTo>
                  <a:cubicBezTo>
                    <a:pt x="2063" y="392"/>
                    <a:pt x="2056" y="400"/>
                    <a:pt x="2052" y="403"/>
                  </a:cubicBezTo>
                  <a:cubicBezTo>
                    <a:pt x="2050" y="405"/>
                    <a:pt x="2040" y="400"/>
                    <a:pt x="2038" y="403"/>
                  </a:cubicBezTo>
                  <a:cubicBezTo>
                    <a:pt x="2032" y="410"/>
                    <a:pt x="2015" y="411"/>
                    <a:pt x="1994" y="417"/>
                  </a:cubicBezTo>
                  <a:cubicBezTo>
                    <a:pt x="1954" y="430"/>
                    <a:pt x="1907" y="463"/>
                    <a:pt x="1886" y="497"/>
                  </a:cubicBezTo>
                  <a:cubicBezTo>
                    <a:pt x="1884" y="514"/>
                    <a:pt x="1889" y="526"/>
                    <a:pt x="1900" y="533"/>
                  </a:cubicBezTo>
                  <a:cubicBezTo>
                    <a:pt x="1892" y="553"/>
                    <a:pt x="1876" y="554"/>
                    <a:pt x="1864" y="561"/>
                  </a:cubicBezTo>
                  <a:cubicBezTo>
                    <a:pt x="1860" y="564"/>
                    <a:pt x="1865" y="568"/>
                    <a:pt x="1856" y="569"/>
                  </a:cubicBezTo>
                  <a:cubicBezTo>
                    <a:pt x="1841" y="569"/>
                    <a:pt x="1803" y="591"/>
                    <a:pt x="1791" y="605"/>
                  </a:cubicBezTo>
                  <a:cubicBezTo>
                    <a:pt x="1787" y="609"/>
                    <a:pt x="1777" y="620"/>
                    <a:pt x="1777" y="626"/>
                  </a:cubicBezTo>
                  <a:cubicBezTo>
                    <a:pt x="1776" y="629"/>
                    <a:pt x="1751" y="662"/>
                    <a:pt x="1740" y="669"/>
                  </a:cubicBezTo>
                  <a:cubicBezTo>
                    <a:pt x="1738" y="671"/>
                    <a:pt x="1728" y="667"/>
                    <a:pt x="1726" y="669"/>
                  </a:cubicBezTo>
                  <a:cubicBezTo>
                    <a:pt x="1718" y="679"/>
                    <a:pt x="1713" y="671"/>
                    <a:pt x="1690" y="677"/>
                  </a:cubicBezTo>
                  <a:cubicBezTo>
                    <a:pt x="1670" y="681"/>
                    <a:pt x="1654" y="708"/>
                    <a:pt x="1632" y="698"/>
                  </a:cubicBezTo>
                  <a:cubicBezTo>
                    <a:pt x="1640" y="683"/>
                    <a:pt x="1640" y="659"/>
                    <a:pt x="1661" y="655"/>
                  </a:cubicBezTo>
                  <a:cubicBezTo>
                    <a:pt x="1661" y="605"/>
                    <a:pt x="1688" y="582"/>
                    <a:pt x="1697" y="540"/>
                  </a:cubicBezTo>
                  <a:cubicBezTo>
                    <a:pt x="1647" y="539"/>
                    <a:pt x="1633" y="572"/>
                    <a:pt x="1581" y="569"/>
                  </a:cubicBezTo>
                  <a:cubicBezTo>
                    <a:pt x="1566" y="547"/>
                    <a:pt x="1583" y="538"/>
                    <a:pt x="1595" y="518"/>
                  </a:cubicBezTo>
                  <a:cubicBezTo>
                    <a:pt x="1601" y="509"/>
                    <a:pt x="1609" y="503"/>
                    <a:pt x="1617" y="489"/>
                  </a:cubicBezTo>
                  <a:cubicBezTo>
                    <a:pt x="1623" y="480"/>
                    <a:pt x="1630" y="474"/>
                    <a:pt x="1639" y="460"/>
                  </a:cubicBezTo>
                  <a:cubicBezTo>
                    <a:pt x="1646" y="448"/>
                    <a:pt x="1655" y="451"/>
                    <a:pt x="1668" y="439"/>
                  </a:cubicBezTo>
                  <a:cubicBezTo>
                    <a:pt x="1671" y="436"/>
                    <a:pt x="1672" y="427"/>
                    <a:pt x="1675" y="424"/>
                  </a:cubicBezTo>
                  <a:cubicBezTo>
                    <a:pt x="1678" y="422"/>
                    <a:pt x="1688" y="427"/>
                    <a:pt x="1690" y="424"/>
                  </a:cubicBezTo>
                  <a:cubicBezTo>
                    <a:pt x="1702" y="409"/>
                    <a:pt x="1752" y="404"/>
                    <a:pt x="1784" y="396"/>
                  </a:cubicBezTo>
                  <a:cubicBezTo>
                    <a:pt x="1786" y="395"/>
                    <a:pt x="1784" y="389"/>
                    <a:pt x="1791" y="388"/>
                  </a:cubicBezTo>
                  <a:cubicBezTo>
                    <a:pt x="1818" y="387"/>
                    <a:pt x="1832" y="377"/>
                    <a:pt x="1856" y="367"/>
                  </a:cubicBezTo>
                  <a:cubicBezTo>
                    <a:pt x="1882" y="356"/>
                    <a:pt x="1900" y="354"/>
                    <a:pt x="1922" y="338"/>
                  </a:cubicBezTo>
                  <a:cubicBezTo>
                    <a:pt x="1926" y="334"/>
                    <a:pt x="1932" y="326"/>
                    <a:pt x="1936" y="323"/>
                  </a:cubicBezTo>
                  <a:cubicBezTo>
                    <a:pt x="1946" y="318"/>
                    <a:pt x="1955" y="321"/>
                    <a:pt x="1965" y="316"/>
                  </a:cubicBezTo>
                  <a:cubicBezTo>
                    <a:pt x="1970" y="314"/>
                    <a:pt x="1976" y="304"/>
                    <a:pt x="1980" y="302"/>
                  </a:cubicBezTo>
                  <a:cubicBezTo>
                    <a:pt x="1996" y="294"/>
                    <a:pt x="2016" y="295"/>
                    <a:pt x="2031" y="287"/>
                  </a:cubicBezTo>
                  <a:cubicBezTo>
                    <a:pt x="2039" y="283"/>
                    <a:pt x="2044" y="263"/>
                    <a:pt x="2067" y="266"/>
                  </a:cubicBezTo>
                  <a:cubicBezTo>
                    <a:pt x="2078" y="263"/>
                    <a:pt x="2064" y="257"/>
                    <a:pt x="2067" y="244"/>
                  </a:cubicBezTo>
                  <a:cubicBezTo>
                    <a:pt x="2082" y="241"/>
                    <a:pt x="2086" y="249"/>
                    <a:pt x="2096" y="251"/>
                  </a:cubicBezTo>
                  <a:cubicBezTo>
                    <a:pt x="2109" y="250"/>
                    <a:pt x="2120" y="234"/>
                    <a:pt x="2132" y="230"/>
                  </a:cubicBezTo>
                  <a:cubicBezTo>
                    <a:pt x="2141" y="226"/>
                    <a:pt x="2154" y="234"/>
                    <a:pt x="2154" y="223"/>
                  </a:cubicBezTo>
                  <a:cubicBezTo>
                    <a:pt x="2178" y="232"/>
                    <a:pt x="2194" y="221"/>
                    <a:pt x="2227" y="215"/>
                  </a:cubicBezTo>
                  <a:cubicBezTo>
                    <a:pt x="2232" y="214"/>
                    <a:pt x="2234" y="224"/>
                    <a:pt x="2241" y="223"/>
                  </a:cubicBezTo>
                  <a:cubicBezTo>
                    <a:pt x="2241" y="223"/>
                    <a:pt x="2244" y="216"/>
                    <a:pt x="2248" y="215"/>
                  </a:cubicBezTo>
                  <a:cubicBezTo>
                    <a:pt x="2257" y="213"/>
                    <a:pt x="2263" y="208"/>
                    <a:pt x="2270" y="208"/>
                  </a:cubicBezTo>
                  <a:cubicBezTo>
                    <a:pt x="2287" y="207"/>
                    <a:pt x="2294" y="220"/>
                    <a:pt x="2321" y="215"/>
                  </a:cubicBezTo>
                  <a:cubicBezTo>
                    <a:pt x="2320" y="216"/>
                    <a:pt x="2324" y="203"/>
                    <a:pt x="2328" y="208"/>
                  </a:cubicBezTo>
                  <a:cubicBezTo>
                    <a:pt x="2334" y="215"/>
                    <a:pt x="2344" y="213"/>
                    <a:pt x="2364" y="223"/>
                  </a:cubicBezTo>
                  <a:cubicBezTo>
                    <a:pt x="2363" y="230"/>
                    <a:pt x="2350" y="227"/>
                    <a:pt x="2350" y="237"/>
                  </a:cubicBezTo>
                  <a:cubicBezTo>
                    <a:pt x="2355" y="254"/>
                    <a:pt x="2381" y="237"/>
                    <a:pt x="2393" y="244"/>
                  </a:cubicBezTo>
                  <a:cubicBezTo>
                    <a:pt x="2395" y="245"/>
                    <a:pt x="2392" y="258"/>
                    <a:pt x="2393" y="259"/>
                  </a:cubicBezTo>
                  <a:cubicBezTo>
                    <a:pt x="2414" y="264"/>
                    <a:pt x="2434" y="260"/>
                    <a:pt x="2459" y="266"/>
                  </a:cubicBezTo>
                  <a:cubicBezTo>
                    <a:pt x="2477" y="298"/>
                    <a:pt x="2531" y="295"/>
                    <a:pt x="2539" y="338"/>
                  </a:cubicBezTo>
                  <a:cubicBezTo>
                    <a:pt x="2535" y="345"/>
                    <a:pt x="2524" y="341"/>
                    <a:pt x="2517" y="345"/>
                  </a:cubicBezTo>
                  <a:cubicBezTo>
                    <a:pt x="2514" y="347"/>
                    <a:pt x="2504" y="359"/>
                    <a:pt x="2502" y="360"/>
                  </a:cubicBezTo>
                  <a:cubicBezTo>
                    <a:pt x="2457" y="370"/>
                    <a:pt x="2404" y="337"/>
                    <a:pt x="2364" y="331"/>
                  </a:cubicBezTo>
                  <a:cubicBezTo>
                    <a:pt x="2340" y="346"/>
                    <a:pt x="2386" y="352"/>
                    <a:pt x="2379" y="374"/>
                  </a:cubicBezTo>
                  <a:cubicBezTo>
                    <a:pt x="2363" y="373"/>
                    <a:pt x="2376" y="399"/>
                    <a:pt x="2372" y="410"/>
                  </a:cubicBezTo>
                  <a:cubicBezTo>
                    <a:pt x="2387" y="424"/>
                    <a:pt x="2417" y="452"/>
                    <a:pt x="2444" y="432"/>
                  </a:cubicBezTo>
                  <a:cubicBezTo>
                    <a:pt x="2450" y="407"/>
                    <a:pt x="2415" y="422"/>
                    <a:pt x="2422" y="396"/>
                  </a:cubicBezTo>
                  <a:cubicBezTo>
                    <a:pt x="2448" y="399"/>
                    <a:pt x="2461" y="415"/>
                    <a:pt x="2488" y="417"/>
                  </a:cubicBezTo>
                  <a:cubicBezTo>
                    <a:pt x="2509" y="417"/>
                    <a:pt x="2497" y="383"/>
                    <a:pt x="2509" y="374"/>
                  </a:cubicBezTo>
                  <a:cubicBezTo>
                    <a:pt x="2537" y="367"/>
                    <a:pt x="2567" y="351"/>
                    <a:pt x="2597" y="367"/>
                  </a:cubicBezTo>
                  <a:cubicBezTo>
                    <a:pt x="2612" y="338"/>
                    <a:pt x="2581" y="284"/>
                    <a:pt x="2647" y="295"/>
                  </a:cubicBezTo>
                  <a:cubicBezTo>
                    <a:pt x="2653" y="319"/>
                    <a:pt x="2618" y="304"/>
                    <a:pt x="2626" y="331"/>
                  </a:cubicBezTo>
                  <a:cubicBezTo>
                    <a:pt x="2637" y="353"/>
                    <a:pt x="2688" y="349"/>
                    <a:pt x="2684" y="316"/>
                  </a:cubicBezTo>
                  <a:cubicBezTo>
                    <a:pt x="2703" y="317"/>
                    <a:pt x="2712" y="311"/>
                    <a:pt x="2727" y="302"/>
                  </a:cubicBezTo>
                  <a:cubicBezTo>
                    <a:pt x="2734" y="297"/>
                    <a:pt x="2769" y="294"/>
                    <a:pt x="2785" y="280"/>
                  </a:cubicBezTo>
                  <a:cubicBezTo>
                    <a:pt x="2808" y="275"/>
                    <a:pt x="2799" y="300"/>
                    <a:pt x="2822" y="295"/>
                  </a:cubicBezTo>
                  <a:cubicBezTo>
                    <a:pt x="2854" y="290"/>
                    <a:pt x="2892" y="273"/>
                    <a:pt x="2923" y="287"/>
                  </a:cubicBezTo>
                  <a:cubicBezTo>
                    <a:pt x="2947" y="283"/>
                    <a:pt x="2934" y="260"/>
                    <a:pt x="2930" y="244"/>
                  </a:cubicBezTo>
                  <a:cubicBezTo>
                    <a:pt x="2998" y="244"/>
                    <a:pt x="3044" y="266"/>
                    <a:pt x="3097" y="280"/>
                  </a:cubicBezTo>
                  <a:cubicBezTo>
                    <a:pt x="3101" y="243"/>
                    <a:pt x="3058" y="252"/>
                    <a:pt x="3039" y="237"/>
                  </a:cubicBezTo>
                  <a:cubicBezTo>
                    <a:pt x="3052" y="221"/>
                    <a:pt x="3026" y="215"/>
                    <a:pt x="3025" y="208"/>
                  </a:cubicBezTo>
                  <a:cubicBezTo>
                    <a:pt x="3021" y="194"/>
                    <a:pt x="3031" y="189"/>
                    <a:pt x="3032" y="172"/>
                  </a:cubicBezTo>
                  <a:cubicBezTo>
                    <a:pt x="3032" y="171"/>
                    <a:pt x="3022" y="164"/>
                    <a:pt x="3025" y="158"/>
                  </a:cubicBezTo>
                  <a:cubicBezTo>
                    <a:pt x="3025" y="157"/>
                    <a:pt x="3036" y="157"/>
                    <a:pt x="3032" y="150"/>
                  </a:cubicBezTo>
                  <a:cubicBezTo>
                    <a:pt x="3067" y="151"/>
                    <a:pt x="3089" y="166"/>
                    <a:pt x="3097" y="194"/>
                  </a:cubicBezTo>
                  <a:cubicBezTo>
                    <a:pt x="3123" y="204"/>
                    <a:pt x="3138" y="225"/>
                    <a:pt x="3148" y="251"/>
                  </a:cubicBezTo>
                  <a:cubicBezTo>
                    <a:pt x="3165" y="259"/>
                    <a:pt x="3181" y="266"/>
                    <a:pt x="3192" y="280"/>
                  </a:cubicBezTo>
                  <a:cubicBezTo>
                    <a:pt x="3191" y="304"/>
                    <a:pt x="3194" y="331"/>
                    <a:pt x="3170" y="331"/>
                  </a:cubicBezTo>
                  <a:cubicBezTo>
                    <a:pt x="3184" y="349"/>
                    <a:pt x="3228" y="336"/>
                    <a:pt x="3228" y="316"/>
                  </a:cubicBezTo>
                  <a:cubicBezTo>
                    <a:pt x="3227" y="309"/>
                    <a:pt x="3229" y="302"/>
                    <a:pt x="3228" y="295"/>
                  </a:cubicBezTo>
                  <a:cubicBezTo>
                    <a:pt x="3225" y="272"/>
                    <a:pt x="3212" y="283"/>
                    <a:pt x="3206" y="259"/>
                  </a:cubicBezTo>
                  <a:cubicBezTo>
                    <a:pt x="3229" y="240"/>
                    <a:pt x="3251" y="267"/>
                    <a:pt x="3271" y="273"/>
                  </a:cubicBezTo>
                  <a:cubicBezTo>
                    <a:pt x="3263" y="238"/>
                    <a:pt x="3214" y="243"/>
                    <a:pt x="3170" y="244"/>
                  </a:cubicBezTo>
                  <a:cubicBezTo>
                    <a:pt x="3167" y="230"/>
                    <a:pt x="3149" y="231"/>
                    <a:pt x="3155" y="208"/>
                  </a:cubicBezTo>
                  <a:cubicBezTo>
                    <a:pt x="3144" y="200"/>
                    <a:pt x="3126" y="199"/>
                    <a:pt x="3119" y="187"/>
                  </a:cubicBezTo>
                  <a:cubicBezTo>
                    <a:pt x="3124" y="150"/>
                    <a:pt x="3149" y="200"/>
                    <a:pt x="3177" y="187"/>
                  </a:cubicBezTo>
                  <a:cubicBezTo>
                    <a:pt x="3180" y="169"/>
                    <a:pt x="3144" y="191"/>
                    <a:pt x="3155" y="165"/>
                  </a:cubicBezTo>
                  <a:cubicBezTo>
                    <a:pt x="3179" y="146"/>
                    <a:pt x="3213" y="166"/>
                    <a:pt x="3242" y="165"/>
                  </a:cubicBezTo>
                  <a:cubicBezTo>
                    <a:pt x="3226" y="145"/>
                    <a:pt x="3185" y="150"/>
                    <a:pt x="3170" y="129"/>
                  </a:cubicBezTo>
                  <a:cubicBezTo>
                    <a:pt x="3180" y="118"/>
                    <a:pt x="3198" y="114"/>
                    <a:pt x="3221" y="114"/>
                  </a:cubicBezTo>
                  <a:cubicBezTo>
                    <a:pt x="3227" y="91"/>
                    <a:pt x="3202" y="99"/>
                    <a:pt x="3199" y="86"/>
                  </a:cubicBezTo>
                  <a:cubicBezTo>
                    <a:pt x="3207" y="60"/>
                    <a:pt x="3221" y="40"/>
                    <a:pt x="3257" y="42"/>
                  </a:cubicBezTo>
                  <a:cubicBezTo>
                    <a:pt x="3265" y="21"/>
                    <a:pt x="3222" y="16"/>
                    <a:pt x="3242" y="6"/>
                  </a:cubicBezTo>
                  <a:cubicBezTo>
                    <a:pt x="3259" y="0"/>
                    <a:pt x="3268" y="14"/>
                    <a:pt x="3286" y="14"/>
                  </a:cubicBezTo>
                  <a:cubicBezTo>
                    <a:pt x="3300" y="13"/>
                    <a:pt x="3309" y="5"/>
                    <a:pt x="3322" y="6"/>
                  </a:cubicBezTo>
                  <a:cubicBezTo>
                    <a:pt x="3350" y="10"/>
                    <a:pt x="3368" y="21"/>
                    <a:pt x="3395" y="28"/>
                  </a:cubicBezTo>
                  <a:cubicBezTo>
                    <a:pt x="3401" y="37"/>
                    <a:pt x="3409" y="48"/>
                    <a:pt x="3417" y="57"/>
                  </a:cubicBezTo>
                  <a:cubicBezTo>
                    <a:pt x="3424" y="65"/>
                    <a:pt x="3429" y="82"/>
                    <a:pt x="3446" y="78"/>
                  </a:cubicBezTo>
                  <a:cubicBezTo>
                    <a:pt x="3471" y="78"/>
                    <a:pt x="3430" y="55"/>
                    <a:pt x="3453" y="57"/>
                  </a:cubicBezTo>
                  <a:cubicBezTo>
                    <a:pt x="3463" y="57"/>
                    <a:pt x="3473" y="58"/>
                    <a:pt x="3475" y="50"/>
                  </a:cubicBezTo>
                  <a:cubicBezTo>
                    <a:pt x="3506" y="52"/>
                    <a:pt x="3534" y="67"/>
                    <a:pt x="3562" y="78"/>
                  </a:cubicBezTo>
                  <a:cubicBezTo>
                    <a:pt x="3829" y="185"/>
                    <a:pt x="4124" y="332"/>
                    <a:pt x="4379" y="535"/>
                  </a:cubicBezTo>
                  <a:cubicBezTo>
                    <a:pt x="4812" y="881"/>
                    <a:pt x="5159" y="1356"/>
                    <a:pt x="5281" y="1837"/>
                  </a:cubicBezTo>
                  <a:cubicBezTo>
                    <a:pt x="5286" y="1856"/>
                    <a:pt x="5301" y="1887"/>
                    <a:pt x="5288" y="1917"/>
                  </a:cubicBezTo>
                  <a:cubicBezTo>
                    <a:pt x="5285" y="1924"/>
                    <a:pt x="5282" y="1935"/>
                    <a:pt x="5274" y="1938"/>
                  </a:cubicBezTo>
                  <a:cubicBezTo>
                    <a:pt x="5284" y="1996"/>
                    <a:pt x="5251" y="2012"/>
                    <a:pt x="5252" y="2061"/>
                  </a:cubicBezTo>
                  <a:cubicBezTo>
                    <a:pt x="5229" y="2053"/>
                    <a:pt x="5236" y="2060"/>
                    <a:pt x="5209" y="2061"/>
                  </a:cubicBezTo>
                  <a:cubicBezTo>
                    <a:pt x="5201" y="2127"/>
                    <a:pt x="5179" y="2177"/>
                    <a:pt x="5194" y="2241"/>
                  </a:cubicBezTo>
                  <a:cubicBezTo>
                    <a:pt x="5195" y="2244"/>
                    <a:pt x="5199" y="2257"/>
                    <a:pt x="5201" y="2263"/>
                  </a:cubicBezTo>
                  <a:cubicBezTo>
                    <a:pt x="5204" y="2268"/>
                    <a:pt x="5213" y="2273"/>
                    <a:pt x="5216" y="2277"/>
                  </a:cubicBezTo>
                  <a:cubicBezTo>
                    <a:pt x="5224" y="2290"/>
                    <a:pt x="5230" y="2303"/>
                    <a:pt x="5238" y="2313"/>
                  </a:cubicBezTo>
                  <a:cubicBezTo>
                    <a:pt x="5252" y="2333"/>
                    <a:pt x="5273" y="2345"/>
                    <a:pt x="5288" y="2364"/>
                  </a:cubicBezTo>
                  <a:cubicBezTo>
                    <a:pt x="5291" y="2366"/>
                    <a:pt x="5286" y="2376"/>
                    <a:pt x="5288" y="2378"/>
                  </a:cubicBezTo>
                  <a:cubicBezTo>
                    <a:pt x="5290" y="2379"/>
                    <a:pt x="5302" y="2383"/>
                    <a:pt x="5303" y="2385"/>
                  </a:cubicBezTo>
                  <a:cubicBezTo>
                    <a:pt x="5306" y="2391"/>
                    <a:pt x="5300" y="2401"/>
                    <a:pt x="5303" y="2407"/>
                  </a:cubicBezTo>
                  <a:cubicBezTo>
                    <a:pt x="5304" y="2409"/>
                    <a:pt x="5309" y="2409"/>
                    <a:pt x="5310" y="2414"/>
                  </a:cubicBezTo>
                  <a:cubicBezTo>
                    <a:pt x="5314" y="2426"/>
                    <a:pt x="5314" y="2431"/>
                    <a:pt x="5318" y="2443"/>
                  </a:cubicBezTo>
                  <a:cubicBezTo>
                    <a:pt x="5323" y="2462"/>
                    <a:pt x="5330" y="2478"/>
                    <a:pt x="5332" y="2493"/>
                  </a:cubicBezTo>
                  <a:cubicBezTo>
                    <a:pt x="5334" y="2507"/>
                    <a:pt x="5330" y="2525"/>
                    <a:pt x="5332" y="2537"/>
                  </a:cubicBezTo>
                  <a:cubicBezTo>
                    <a:pt x="5334" y="2549"/>
                    <a:pt x="5340" y="2552"/>
                    <a:pt x="5339" y="2565"/>
                  </a:cubicBezTo>
                  <a:cubicBezTo>
                    <a:pt x="5338" y="2587"/>
                    <a:pt x="5331" y="2604"/>
                    <a:pt x="5325" y="26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38" name="Group 57"/>
            <p:cNvGrpSpPr/>
            <p:nvPr/>
          </p:nvGrpSpPr>
          <p:grpSpPr>
            <a:xfrm>
              <a:off x="6158871" y="243148"/>
              <a:ext cx="339724" cy="533075"/>
              <a:chOff x="2614167" y="3495130"/>
              <a:chExt cx="863600" cy="1257300"/>
            </a:xfrm>
            <a:grpFill/>
          </p:grpSpPr>
          <p:sp>
            <p:nvSpPr>
              <p:cNvPr id="43" name="Freeform 38"/>
              <p:cNvSpPr>
                <a:spLocks noEditPoints="1"/>
              </p:cNvSpPr>
              <p:nvPr/>
            </p:nvSpPr>
            <p:spPr bwMode="auto">
              <a:xfrm>
                <a:off x="2614167" y="3495130"/>
                <a:ext cx="863600" cy="1257300"/>
              </a:xfrm>
              <a:custGeom>
                <a:avLst/>
                <a:gdLst/>
                <a:ahLst/>
                <a:cxnLst>
                  <a:cxn ang="0">
                    <a:pos x="140" y="0"/>
                  </a:cxn>
                  <a:cxn ang="0">
                    <a:pos x="281" y="140"/>
                  </a:cxn>
                  <a:cxn ang="0">
                    <a:pos x="235" y="244"/>
                  </a:cxn>
                  <a:cxn ang="0">
                    <a:pos x="156" y="384"/>
                  </a:cxn>
                  <a:cxn ang="0">
                    <a:pos x="124" y="384"/>
                  </a:cxn>
                  <a:cxn ang="0">
                    <a:pos x="45" y="244"/>
                  </a:cxn>
                  <a:cxn ang="0">
                    <a:pos x="0" y="140"/>
                  </a:cxn>
                  <a:cxn ang="0">
                    <a:pos x="140" y="0"/>
                  </a:cxn>
                  <a:cxn ang="0">
                    <a:pos x="140" y="37"/>
                  </a:cxn>
                  <a:cxn ang="0">
                    <a:pos x="243" y="140"/>
                  </a:cxn>
                  <a:cxn ang="0">
                    <a:pos x="140" y="244"/>
                  </a:cxn>
                  <a:cxn ang="0">
                    <a:pos x="37" y="140"/>
                  </a:cxn>
                  <a:cxn ang="0">
                    <a:pos x="140" y="37"/>
                  </a:cxn>
                </a:cxnLst>
                <a:rect l="0" t="0" r="r" b="b"/>
                <a:pathLst>
                  <a:path w="281" h="409">
                    <a:moveTo>
                      <a:pt x="140" y="0"/>
                    </a:moveTo>
                    <a:cubicBezTo>
                      <a:pt x="218" y="0"/>
                      <a:pt x="281" y="63"/>
                      <a:pt x="281" y="140"/>
                    </a:cubicBezTo>
                    <a:cubicBezTo>
                      <a:pt x="281" y="181"/>
                      <a:pt x="263" y="218"/>
                      <a:pt x="235" y="244"/>
                    </a:cubicBezTo>
                    <a:cubicBezTo>
                      <a:pt x="219" y="258"/>
                      <a:pt x="170" y="358"/>
                      <a:pt x="156" y="384"/>
                    </a:cubicBezTo>
                    <a:cubicBezTo>
                      <a:pt x="143" y="409"/>
                      <a:pt x="137" y="409"/>
                      <a:pt x="124" y="384"/>
                    </a:cubicBezTo>
                    <a:cubicBezTo>
                      <a:pt x="111" y="358"/>
                      <a:pt x="61" y="258"/>
                      <a:pt x="45" y="244"/>
                    </a:cubicBezTo>
                    <a:cubicBezTo>
                      <a:pt x="16" y="217"/>
                      <a:pt x="0" y="180"/>
                      <a:pt x="0" y="140"/>
                    </a:cubicBezTo>
                    <a:cubicBezTo>
                      <a:pt x="0" y="63"/>
                      <a:pt x="62" y="0"/>
                      <a:pt x="140" y="0"/>
                    </a:cubicBezTo>
                    <a:close/>
                    <a:moveTo>
                      <a:pt x="140" y="37"/>
                    </a:moveTo>
                    <a:cubicBezTo>
                      <a:pt x="197" y="37"/>
                      <a:pt x="243" y="83"/>
                      <a:pt x="243" y="140"/>
                    </a:cubicBezTo>
                    <a:cubicBezTo>
                      <a:pt x="243" y="197"/>
                      <a:pt x="197" y="244"/>
                      <a:pt x="140" y="244"/>
                    </a:cubicBezTo>
                    <a:cubicBezTo>
                      <a:pt x="83" y="244"/>
                      <a:pt x="37" y="197"/>
                      <a:pt x="37" y="140"/>
                    </a:cubicBezTo>
                    <a:cubicBezTo>
                      <a:pt x="37" y="83"/>
                      <a:pt x="83" y="37"/>
                      <a:pt x="140" y="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Freeform 39"/>
              <p:cNvSpPr>
                <a:spLocks noEditPoints="1"/>
              </p:cNvSpPr>
              <p:nvPr/>
            </p:nvSpPr>
            <p:spPr bwMode="auto">
              <a:xfrm>
                <a:off x="2820542" y="3664992"/>
                <a:ext cx="449263" cy="587375"/>
              </a:xfrm>
              <a:custGeom>
                <a:avLst/>
                <a:gdLst/>
                <a:ahLst/>
                <a:cxnLst>
                  <a:cxn ang="0">
                    <a:pos x="0" y="147"/>
                  </a:cxn>
                  <a:cxn ang="0">
                    <a:pos x="13" y="92"/>
                  </a:cxn>
                  <a:cxn ang="0">
                    <a:pos x="52" y="72"/>
                  </a:cxn>
                  <a:cxn ang="0">
                    <a:pos x="65" y="83"/>
                  </a:cxn>
                  <a:cxn ang="0">
                    <a:pos x="81" y="83"/>
                  </a:cxn>
                  <a:cxn ang="0">
                    <a:pos x="94" y="72"/>
                  </a:cxn>
                  <a:cxn ang="0">
                    <a:pos x="133" y="92"/>
                  </a:cxn>
                  <a:cxn ang="0">
                    <a:pos x="146" y="147"/>
                  </a:cxn>
                  <a:cxn ang="0">
                    <a:pos x="0" y="147"/>
                  </a:cxn>
                  <a:cxn ang="0">
                    <a:pos x="91" y="68"/>
                  </a:cxn>
                  <a:cxn ang="0">
                    <a:pos x="99" y="52"/>
                  </a:cxn>
                  <a:cxn ang="0">
                    <a:pos x="101" y="50"/>
                  </a:cxn>
                  <a:cxn ang="0">
                    <a:pos x="103" y="36"/>
                  </a:cxn>
                  <a:cxn ang="0">
                    <a:pos x="101" y="34"/>
                  </a:cxn>
                  <a:cxn ang="0">
                    <a:pos x="73" y="0"/>
                  </a:cxn>
                  <a:cxn ang="0">
                    <a:pos x="45" y="34"/>
                  </a:cxn>
                  <a:cxn ang="0">
                    <a:pos x="43" y="36"/>
                  </a:cxn>
                  <a:cxn ang="0">
                    <a:pos x="45" y="50"/>
                  </a:cxn>
                  <a:cxn ang="0">
                    <a:pos x="47" y="52"/>
                  </a:cxn>
                  <a:cxn ang="0">
                    <a:pos x="56" y="68"/>
                  </a:cxn>
                  <a:cxn ang="0">
                    <a:pos x="67" y="77"/>
                  </a:cxn>
                  <a:cxn ang="0">
                    <a:pos x="79" y="77"/>
                  </a:cxn>
                  <a:cxn ang="0">
                    <a:pos x="91" y="68"/>
                  </a:cxn>
                </a:cxnLst>
                <a:rect l="0" t="0" r="r" b="b"/>
                <a:pathLst>
                  <a:path w="146" h="191">
                    <a:moveTo>
                      <a:pt x="0" y="147"/>
                    </a:moveTo>
                    <a:cubicBezTo>
                      <a:pt x="0" y="125"/>
                      <a:pt x="2" y="107"/>
                      <a:pt x="13" y="92"/>
                    </a:cubicBezTo>
                    <a:cubicBezTo>
                      <a:pt x="27" y="75"/>
                      <a:pt x="40" y="81"/>
                      <a:pt x="52" y="72"/>
                    </a:cubicBezTo>
                    <a:cubicBezTo>
                      <a:pt x="55" y="76"/>
                      <a:pt x="59" y="81"/>
                      <a:pt x="65" y="83"/>
                    </a:cubicBezTo>
                    <a:cubicBezTo>
                      <a:pt x="69" y="84"/>
                      <a:pt x="77" y="84"/>
                      <a:pt x="81" y="83"/>
                    </a:cubicBezTo>
                    <a:cubicBezTo>
                      <a:pt x="87" y="80"/>
                      <a:pt x="91" y="76"/>
                      <a:pt x="94" y="72"/>
                    </a:cubicBezTo>
                    <a:cubicBezTo>
                      <a:pt x="106" y="80"/>
                      <a:pt x="120" y="76"/>
                      <a:pt x="133" y="92"/>
                    </a:cubicBezTo>
                    <a:cubicBezTo>
                      <a:pt x="144" y="107"/>
                      <a:pt x="146" y="125"/>
                      <a:pt x="146" y="147"/>
                    </a:cubicBezTo>
                    <a:cubicBezTo>
                      <a:pt x="108" y="191"/>
                      <a:pt x="38" y="191"/>
                      <a:pt x="0" y="147"/>
                    </a:cubicBezTo>
                    <a:close/>
                    <a:moveTo>
                      <a:pt x="91" y="68"/>
                    </a:moveTo>
                    <a:cubicBezTo>
                      <a:pt x="94" y="63"/>
                      <a:pt x="97" y="58"/>
                      <a:pt x="99" y="52"/>
                    </a:cubicBezTo>
                    <a:cubicBezTo>
                      <a:pt x="100" y="52"/>
                      <a:pt x="101" y="51"/>
                      <a:pt x="101" y="50"/>
                    </a:cubicBezTo>
                    <a:cubicBezTo>
                      <a:pt x="102" y="45"/>
                      <a:pt x="103" y="40"/>
                      <a:pt x="103" y="36"/>
                    </a:cubicBezTo>
                    <a:cubicBezTo>
                      <a:pt x="103" y="36"/>
                      <a:pt x="102" y="34"/>
                      <a:pt x="101" y="34"/>
                    </a:cubicBezTo>
                    <a:cubicBezTo>
                      <a:pt x="101" y="16"/>
                      <a:pt x="98" y="0"/>
                      <a:pt x="73" y="0"/>
                    </a:cubicBezTo>
                    <a:cubicBezTo>
                      <a:pt x="48" y="0"/>
                      <a:pt x="45" y="16"/>
                      <a:pt x="45" y="34"/>
                    </a:cubicBezTo>
                    <a:cubicBezTo>
                      <a:pt x="45" y="34"/>
                      <a:pt x="43" y="36"/>
                      <a:pt x="43" y="36"/>
                    </a:cubicBezTo>
                    <a:cubicBezTo>
                      <a:pt x="43" y="40"/>
                      <a:pt x="44" y="45"/>
                      <a:pt x="45" y="50"/>
                    </a:cubicBezTo>
                    <a:cubicBezTo>
                      <a:pt x="45" y="51"/>
                      <a:pt x="46" y="52"/>
                      <a:pt x="47" y="52"/>
                    </a:cubicBezTo>
                    <a:cubicBezTo>
                      <a:pt x="49" y="58"/>
                      <a:pt x="52" y="63"/>
                      <a:pt x="56" y="68"/>
                    </a:cubicBezTo>
                    <a:cubicBezTo>
                      <a:pt x="59" y="72"/>
                      <a:pt x="63" y="76"/>
                      <a:pt x="67" y="77"/>
                    </a:cubicBezTo>
                    <a:cubicBezTo>
                      <a:pt x="70" y="79"/>
                      <a:pt x="76" y="79"/>
                      <a:pt x="79" y="77"/>
                    </a:cubicBezTo>
                    <a:cubicBezTo>
                      <a:pt x="84" y="76"/>
                      <a:pt x="87" y="72"/>
                      <a:pt x="91" y="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sp>
        <p:nvSpPr>
          <p:cNvPr id="14" name="Titel 3">
            <a:extLst>
              <a:ext uri="{FF2B5EF4-FFF2-40B4-BE49-F238E27FC236}">
                <a16:creationId xmlns:a16="http://schemas.microsoft.com/office/drawing/2014/main" id="{5484E2CE-C37C-4FB6-95E4-A42185514C11}"/>
              </a:ext>
            </a:extLst>
          </p:cNvPr>
          <p:cNvSpPr txBox="1">
            <a:spLocks/>
          </p:cNvSpPr>
          <p:nvPr/>
        </p:nvSpPr>
        <p:spPr>
          <a:xfrm>
            <a:off x="279955" y="1564506"/>
            <a:ext cx="11460041" cy="504000"/>
          </a:xfrm>
          <a:prstGeom prst="rect">
            <a:avLst/>
          </a:prstGeom>
        </p:spPr>
        <p:txBody>
          <a:bodyPr lIns="0" tIns="0" rIns="0" bIns="0"/>
          <a:lstStyle>
            <a:lvl1pPr algn="l" rtl="0" eaLnBrk="1" fontAlgn="base" hangingPunct="1">
              <a:spcBef>
                <a:spcPct val="0"/>
              </a:spcBef>
              <a:spcAft>
                <a:spcPct val="0"/>
              </a:spcAft>
              <a:defRPr lang="en-GB" sz="2100" b="1" kern="1200" baseline="0">
                <a:solidFill>
                  <a:schemeClr val="tx1"/>
                </a:solidFill>
                <a:latin typeface="+mn-lt"/>
                <a:ea typeface="+mn-ea"/>
                <a:cs typeface="+mn-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r>
              <a:rPr lang="lt-LT" sz="2000" dirty="0">
                <a:solidFill>
                  <a:schemeClr val="tx1">
                    <a:lumMod val="65000"/>
                    <a:lumOff val="35000"/>
                  </a:schemeClr>
                </a:solidFill>
              </a:rPr>
              <a:t>Global Festo projektas (2017 metai): Finansų ir apskaitos paslaugų centras FSSC | </a:t>
            </a:r>
            <a:r>
              <a:rPr lang="lt-LT" sz="2000" dirty="0">
                <a:solidFill>
                  <a:schemeClr val="accent6">
                    <a:lumMod val="60000"/>
                    <a:lumOff val="40000"/>
                  </a:schemeClr>
                </a:solidFill>
              </a:rPr>
              <a:t>Teigiamos pusės</a:t>
            </a:r>
            <a:endParaRPr lang="lt-LT" dirty="0"/>
          </a:p>
        </p:txBody>
      </p:sp>
      <p:pic>
        <p:nvPicPr>
          <p:cNvPr id="16" name="Grafik 38" descr="Häkchen">
            <a:extLst>
              <a:ext uri="{FF2B5EF4-FFF2-40B4-BE49-F238E27FC236}">
                <a16:creationId xmlns:a16="http://schemas.microsoft.com/office/drawing/2014/main" id="{4D3DCD30-3FD4-4D32-B897-68FCC5ABFA5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41700" y="3489819"/>
            <a:ext cx="395984" cy="395984"/>
          </a:xfrm>
          <a:prstGeom prst="rect">
            <a:avLst/>
          </a:prstGeom>
        </p:spPr>
      </p:pic>
      <p:pic>
        <p:nvPicPr>
          <p:cNvPr id="17" name="Grafik 38" descr="Häkchen">
            <a:extLst>
              <a:ext uri="{FF2B5EF4-FFF2-40B4-BE49-F238E27FC236}">
                <a16:creationId xmlns:a16="http://schemas.microsoft.com/office/drawing/2014/main" id="{00BD959F-828A-421A-B5A0-51DE6B82CE0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41700" y="3977089"/>
            <a:ext cx="395984" cy="395984"/>
          </a:xfrm>
          <a:prstGeom prst="rect">
            <a:avLst/>
          </a:prstGeom>
        </p:spPr>
      </p:pic>
      <p:pic>
        <p:nvPicPr>
          <p:cNvPr id="18" name="Grafik 38" descr="Häkchen">
            <a:extLst>
              <a:ext uri="{FF2B5EF4-FFF2-40B4-BE49-F238E27FC236}">
                <a16:creationId xmlns:a16="http://schemas.microsoft.com/office/drawing/2014/main" id="{5BB8C8AD-709E-44E1-B069-2F351B3B94B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41700" y="4479102"/>
            <a:ext cx="395984" cy="395984"/>
          </a:xfrm>
          <a:prstGeom prst="rect">
            <a:avLst/>
          </a:prstGeom>
        </p:spPr>
      </p:pic>
      <p:pic>
        <p:nvPicPr>
          <p:cNvPr id="19" name="Grafik 38" descr="Häkchen">
            <a:extLst>
              <a:ext uri="{FF2B5EF4-FFF2-40B4-BE49-F238E27FC236}">
                <a16:creationId xmlns:a16="http://schemas.microsoft.com/office/drawing/2014/main" id="{997DACC9-11D8-4D73-BE86-65440E78F3C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41700" y="5023300"/>
            <a:ext cx="395984" cy="395984"/>
          </a:xfrm>
          <a:prstGeom prst="rect">
            <a:avLst/>
          </a:prstGeom>
        </p:spPr>
      </p:pic>
    </p:spTree>
    <p:extLst>
      <p:ext uri="{BB962C8B-B14F-4D97-AF65-F5344CB8AC3E}">
        <p14:creationId xmlns:p14="http://schemas.microsoft.com/office/powerpoint/2010/main" val="2381438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2100" b="1" dirty="0">
              <a:latin typeface="MetaPlusLF" panose="02000503060000020004" pitchFamily="2" charset="0"/>
              <a:sym typeface="MetaPlusLF" panose="02000503060000020004" pitchFamily="2" charset="0"/>
            </a:endParaRPr>
          </a:p>
        </p:txBody>
      </p:sp>
      <p:sp>
        <p:nvSpPr>
          <p:cNvPr id="12" name="Gleichschenkliges Dreieck 63"/>
          <p:cNvSpPr/>
          <p:nvPr/>
        </p:nvSpPr>
        <p:spPr>
          <a:xfrm rot="10800000">
            <a:off x="1765788" y="2475731"/>
            <a:ext cx="8431824" cy="370932"/>
          </a:xfrm>
          <a:prstGeom prst="triangle">
            <a:avLst/>
          </a:prstGeom>
          <a:solidFill>
            <a:srgbClr val="7FC8E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049" tIns="36525" rIns="73049" bIns="36525" numCol="1" spcCol="0" rtlCol="0" fromWordArt="0" anchor="ctr" anchorCtr="0" forceAA="0" compatLnSpc="1">
            <a:prstTxWarp prst="textNoShape">
              <a:avLst/>
            </a:prstTxWarp>
            <a:noAutofit/>
          </a:bodyPr>
          <a:lstStyle/>
          <a:p>
            <a:pPr algn="ctr"/>
            <a:endParaRPr lang="de-DE" sz="1439" dirty="0">
              <a:solidFill>
                <a:schemeClr val="accent1">
                  <a:lumMod val="50000"/>
                </a:schemeClr>
              </a:solidFill>
            </a:endParaRPr>
          </a:p>
        </p:txBody>
      </p:sp>
      <p:sp>
        <p:nvSpPr>
          <p:cNvPr id="2" name="Rechteck 1"/>
          <p:cNvSpPr/>
          <p:nvPr/>
        </p:nvSpPr>
        <p:spPr>
          <a:xfrm>
            <a:off x="252265" y="3276667"/>
            <a:ext cx="11460041" cy="325601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spcAft>
                <a:spcPts val="200"/>
              </a:spcAft>
              <a:buClr>
                <a:srgbClr val="7FC8ED"/>
              </a:buClr>
            </a:pPr>
            <a:endParaRPr lang="lt-LT" sz="1200" dirty="0">
              <a:solidFill>
                <a:schemeClr val="tx1"/>
              </a:solidFill>
            </a:endParaRPr>
          </a:p>
          <a:p>
            <a:pPr marL="171450" lvl="0" indent="-171450">
              <a:spcAft>
                <a:spcPts val="200"/>
              </a:spcAft>
              <a:buClr>
                <a:srgbClr val="7FC8ED"/>
              </a:buClr>
              <a:buFont typeface="Wingdings" panose="05000000000000000000" pitchFamily="2" charset="2"/>
              <a:buChar char="§"/>
            </a:pPr>
            <a:r>
              <a:rPr lang="lt-LT" sz="1600" dirty="0">
                <a:solidFill>
                  <a:schemeClr val="tx1"/>
                </a:solidFill>
              </a:rPr>
              <a:t>Apskaitos procesų harmonizavimas</a:t>
            </a:r>
          </a:p>
          <a:p>
            <a:pPr lvl="0">
              <a:spcAft>
                <a:spcPts val="200"/>
              </a:spcAft>
              <a:buClr>
                <a:srgbClr val="7FC8ED"/>
              </a:buClr>
            </a:pPr>
            <a:endParaRPr lang="lt-LT" sz="1600" dirty="0">
              <a:solidFill>
                <a:schemeClr val="tx1"/>
              </a:solidFill>
            </a:endParaRPr>
          </a:p>
          <a:p>
            <a:pPr marL="171450" indent="-171450">
              <a:spcAft>
                <a:spcPts val="200"/>
              </a:spcAft>
              <a:buClr>
                <a:srgbClr val="7FC8ED"/>
              </a:buClr>
              <a:buFont typeface="Wingdings" panose="05000000000000000000" pitchFamily="2" charset="2"/>
              <a:buChar char="§"/>
            </a:pPr>
            <a:r>
              <a:rPr lang="lt-LT" sz="1600" dirty="0">
                <a:solidFill>
                  <a:schemeClr val="tx1"/>
                </a:solidFill>
              </a:rPr>
              <a:t>Kaštų taupymo nauda</a:t>
            </a:r>
          </a:p>
          <a:p>
            <a:pPr marL="171450" indent="-171450">
              <a:spcAft>
                <a:spcPts val="200"/>
              </a:spcAft>
              <a:buClr>
                <a:srgbClr val="7FC8ED"/>
              </a:buClr>
              <a:buFont typeface="Wingdings" panose="05000000000000000000" pitchFamily="2" charset="2"/>
              <a:buChar char="§"/>
            </a:pPr>
            <a:endParaRPr lang="lt-LT" sz="1600" dirty="0">
              <a:solidFill>
                <a:schemeClr val="tx1"/>
              </a:solidFill>
            </a:endParaRPr>
          </a:p>
          <a:p>
            <a:pPr marL="171450" indent="-171450">
              <a:spcAft>
                <a:spcPts val="200"/>
              </a:spcAft>
              <a:buClr>
                <a:srgbClr val="7FC8ED"/>
              </a:buClr>
              <a:buFont typeface="Wingdings" panose="05000000000000000000" pitchFamily="2" charset="2"/>
              <a:buChar char="§"/>
            </a:pPr>
            <a:r>
              <a:rPr lang="lt-LT" sz="1600" dirty="0">
                <a:solidFill>
                  <a:schemeClr val="tx1"/>
                </a:solidFill>
              </a:rPr>
              <a:t>Didesnis skaidrumas ir atitiktis</a:t>
            </a:r>
          </a:p>
          <a:p>
            <a:pPr marL="171450" indent="-171450">
              <a:spcAft>
                <a:spcPts val="200"/>
              </a:spcAft>
              <a:buClr>
                <a:srgbClr val="7FC8ED"/>
              </a:buClr>
              <a:buFont typeface="Wingdings" panose="05000000000000000000" pitchFamily="2" charset="2"/>
              <a:buChar char="§"/>
            </a:pPr>
            <a:endParaRPr lang="de-DE" sz="1600" dirty="0">
              <a:solidFill>
                <a:schemeClr val="tx1"/>
              </a:solidFill>
            </a:endParaRPr>
          </a:p>
          <a:p>
            <a:pPr marL="171450" indent="-171450">
              <a:spcAft>
                <a:spcPts val="200"/>
              </a:spcAft>
              <a:buClr>
                <a:srgbClr val="7FC8ED"/>
              </a:buClr>
              <a:buFont typeface="Wingdings" panose="05000000000000000000" pitchFamily="2" charset="2"/>
              <a:buChar char="§"/>
            </a:pPr>
            <a:r>
              <a:rPr lang="lt-LT" sz="1600" dirty="0">
                <a:solidFill>
                  <a:schemeClr val="tx1"/>
                </a:solidFill>
              </a:rPr>
              <a:t>Aiški struktūra ir tobulinimo galimybės</a:t>
            </a:r>
            <a:endParaRPr lang="en-US" sz="1600" dirty="0">
              <a:solidFill>
                <a:schemeClr val="tx1"/>
              </a:solidFill>
            </a:endParaRPr>
          </a:p>
          <a:p>
            <a:pPr lvl="0">
              <a:spcAft>
                <a:spcPts val="200"/>
              </a:spcAft>
              <a:buClr>
                <a:srgbClr val="7FC8ED"/>
              </a:buClr>
            </a:pPr>
            <a:endParaRPr lang="lt-LT" sz="1200" b="1" dirty="0">
              <a:solidFill>
                <a:schemeClr val="tx1"/>
              </a:solidFill>
            </a:endParaRPr>
          </a:p>
          <a:p>
            <a:pPr marL="171450" lvl="0" indent="-171450">
              <a:spcAft>
                <a:spcPts val="200"/>
              </a:spcAft>
              <a:buClr>
                <a:srgbClr val="7FC8ED"/>
              </a:buClr>
              <a:buFont typeface="Wingdings" panose="05000000000000000000" pitchFamily="2" charset="2"/>
              <a:buChar char="§"/>
            </a:pPr>
            <a:endParaRPr lang="lt-LT" sz="1200" b="1" dirty="0">
              <a:solidFill>
                <a:schemeClr val="tx1"/>
              </a:solidFill>
            </a:endParaRPr>
          </a:p>
          <a:p>
            <a:pPr marL="171450" lvl="0" indent="-171450">
              <a:spcAft>
                <a:spcPts val="200"/>
              </a:spcAft>
              <a:buClr>
                <a:srgbClr val="7FC8ED"/>
              </a:buClr>
              <a:buFont typeface="Wingdings" panose="05000000000000000000" pitchFamily="2" charset="2"/>
              <a:buChar char="§"/>
            </a:pPr>
            <a:endParaRPr lang="lt-LT" sz="1200" b="1" dirty="0">
              <a:solidFill>
                <a:schemeClr val="tx1"/>
              </a:solidFill>
            </a:endParaRPr>
          </a:p>
        </p:txBody>
      </p:sp>
      <p:sp>
        <p:nvSpPr>
          <p:cNvPr id="14" name="Titel 3">
            <a:extLst>
              <a:ext uri="{FF2B5EF4-FFF2-40B4-BE49-F238E27FC236}">
                <a16:creationId xmlns:a16="http://schemas.microsoft.com/office/drawing/2014/main" id="{5484E2CE-C37C-4FB6-95E4-A42185514C11}"/>
              </a:ext>
            </a:extLst>
          </p:cNvPr>
          <p:cNvSpPr txBox="1">
            <a:spLocks/>
          </p:cNvSpPr>
          <p:nvPr/>
        </p:nvSpPr>
        <p:spPr>
          <a:xfrm>
            <a:off x="279955" y="1564506"/>
            <a:ext cx="11460041" cy="504000"/>
          </a:xfrm>
          <a:prstGeom prst="rect">
            <a:avLst/>
          </a:prstGeom>
        </p:spPr>
        <p:txBody>
          <a:bodyPr lIns="0" tIns="0" rIns="0" bIns="0"/>
          <a:lstStyle>
            <a:lvl1pPr algn="l" rtl="0" eaLnBrk="1" fontAlgn="base" hangingPunct="1">
              <a:spcBef>
                <a:spcPct val="0"/>
              </a:spcBef>
              <a:spcAft>
                <a:spcPct val="0"/>
              </a:spcAft>
              <a:defRPr lang="en-GB" sz="2100" b="1" kern="1200" baseline="0">
                <a:solidFill>
                  <a:schemeClr val="tx1"/>
                </a:solidFill>
                <a:latin typeface="+mn-lt"/>
                <a:ea typeface="+mn-ea"/>
                <a:cs typeface="+mn-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r>
              <a:rPr lang="lt-LT" sz="2000" dirty="0">
                <a:solidFill>
                  <a:schemeClr val="tx1">
                    <a:lumMod val="65000"/>
                    <a:lumOff val="35000"/>
                  </a:schemeClr>
                </a:solidFill>
              </a:rPr>
              <a:t>Global Festo projektas (2017 metai): Finansų ir apskaitos paslaugų centras FSSC | </a:t>
            </a:r>
            <a:r>
              <a:rPr lang="lt-LT" sz="2000" dirty="0">
                <a:solidFill>
                  <a:schemeClr val="accent6">
                    <a:lumMod val="60000"/>
                    <a:lumOff val="40000"/>
                  </a:schemeClr>
                </a:solidFill>
              </a:rPr>
              <a:t>Teigiamos pusės</a:t>
            </a:r>
            <a:endParaRPr lang="lt-LT" dirty="0"/>
          </a:p>
        </p:txBody>
      </p:sp>
      <p:pic>
        <p:nvPicPr>
          <p:cNvPr id="16" name="Grafik 38" descr="Häkchen">
            <a:extLst>
              <a:ext uri="{FF2B5EF4-FFF2-40B4-BE49-F238E27FC236}">
                <a16:creationId xmlns:a16="http://schemas.microsoft.com/office/drawing/2014/main" id="{4D3DCD30-3FD4-4D32-B897-68FCC5ABFA5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41700" y="3489819"/>
            <a:ext cx="395984" cy="395984"/>
          </a:xfrm>
          <a:prstGeom prst="rect">
            <a:avLst/>
          </a:prstGeom>
        </p:spPr>
      </p:pic>
      <p:pic>
        <p:nvPicPr>
          <p:cNvPr id="17" name="Grafik 38" descr="Häkchen">
            <a:extLst>
              <a:ext uri="{FF2B5EF4-FFF2-40B4-BE49-F238E27FC236}">
                <a16:creationId xmlns:a16="http://schemas.microsoft.com/office/drawing/2014/main" id="{00BD959F-828A-421A-B5A0-51DE6B82CE0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41700" y="3977089"/>
            <a:ext cx="395984" cy="395984"/>
          </a:xfrm>
          <a:prstGeom prst="rect">
            <a:avLst/>
          </a:prstGeom>
        </p:spPr>
      </p:pic>
      <p:pic>
        <p:nvPicPr>
          <p:cNvPr id="18" name="Grafik 38" descr="Häkchen">
            <a:extLst>
              <a:ext uri="{FF2B5EF4-FFF2-40B4-BE49-F238E27FC236}">
                <a16:creationId xmlns:a16="http://schemas.microsoft.com/office/drawing/2014/main" id="{5BB8C8AD-709E-44E1-B069-2F351B3B94B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41700" y="4479102"/>
            <a:ext cx="395984" cy="395984"/>
          </a:xfrm>
          <a:prstGeom prst="rect">
            <a:avLst/>
          </a:prstGeom>
        </p:spPr>
      </p:pic>
      <p:pic>
        <p:nvPicPr>
          <p:cNvPr id="19" name="Grafik 38" descr="Häkchen">
            <a:extLst>
              <a:ext uri="{FF2B5EF4-FFF2-40B4-BE49-F238E27FC236}">
                <a16:creationId xmlns:a16="http://schemas.microsoft.com/office/drawing/2014/main" id="{997DACC9-11D8-4D73-BE86-65440E78F3C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41700" y="5023300"/>
            <a:ext cx="395984" cy="395984"/>
          </a:xfrm>
          <a:prstGeom prst="rect">
            <a:avLst/>
          </a:prstGeom>
        </p:spPr>
      </p:pic>
      <p:sp>
        <p:nvSpPr>
          <p:cNvPr id="20" name="Textfeld 9">
            <a:extLst>
              <a:ext uri="{FF2B5EF4-FFF2-40B4-BE49-F238E27FC236}">
                <a16:creationId xmlns:a16="http://schemas.microsoft.com/office/drawing/2014/main" id="{E4C8A194-97E7-4008-B6C6-5C876109C889}"/>
              </a:ext>
            </a:extLst>
          </p:cNvPr>
          <p:cNvSpPr txBox="1"/>
          <p:nvPr/>
        </p:nvSpPr>
        <p:spPr>
          <a:xfrm>
            <a:off x="941140" y="2890192"/>
            <a:ext cx="5886309" cy="360867"/>
          </a:xfrm>
          <a:prstGeom prst="rect">
            <a:avLst/>
          </a:prstGeom>
          <a:noFill/>
          <a:ln>
            <a:noFill/>
          </a:ln>
        </p:spPr>
        <p:txBody>
          <a:bodyPr wrap="square" lIns="81519" tIns="32608" rIns="32608" bIns="32608" rtlCol="0">
            <a:noAutofit/>
          </a:bodyPr>
          <a:lstStyle>
            <a:defPPr>
              <a:defRPr lang="en-US"/>
            </a:defPPr>
            <a:lvl1pPr algn="l" rtl="0" fontAlgn="base">
              <a:spcBef>
                <a:spcPct val="0"/>
              </a:spcBef>
              <a:spcAft>
                <a:spcPct val="0"/>
              </a:spcAft>
              <a:defRPr kern="1200">
                <a:solidFill>
                  <a:schemeClr val="tx1"/>
                </a:solidFill>
                <a:latin typeface="MetaPlusLF" charset="0"/>
                <a:ea typeface="+mn-ea"/>
                <a:cs typeface="MetaPlusLF" charset="0"/>
              </a:defRPr>
            </a:lvl1pPr>
            <a:lvl2pPr marL="457200" algn="l" rtl="0" fontAlgn="base">
              <a:spcBef>
                <a:spcPct val="0"/>
              </a:spcBef>
              <a:spcAft>
                <a:spcPct val="0"/>
              </a:spcAft>
              <a:defRPr kern="1200">
                <a:solidFill>
                  <a:schemeClr val="tx1"/>
                </a:solidFill>
                <a:latin typeface="MetaPlusLF" charset="0"/>
                <a:ea typeface="+mn-ea"/>
                <a:cs typeface="MetaPlusLF" charset="0"/>
              </a:defRPr>
            </a:lvl2pPr>
            <a:lvl3pPr marL="914400" algn="l" rtl="0" fontAlgn="base">
              <a:spcBef>
                <a:spcPct val="0"/>
              </a:spcBef>
              <a:spcAft>
                <a:spcPct val="0"/>
              </a:spcAft>
              <a:defRPr kern="1200">
                <a:solidFill>
                  <a:schemeClr val="tx1"/>
                </a:solidFill>
                <a:latin typeface="MetaPlusLF" charset="0"/>
                <a:ea typeface="+mn-ea"/>
                <a:cs typeface="MetaPlusLF" charset="0"/>
              </a:defRPr>
            </a:lvl3pPr>
            <a:lvl4pPr marL="1371600" algn="l" rtl="0" fontAlgn="base">
              <a:spcBef>
                <a:spcPct val="0"/>
              </a:spcBef>
              <a:spcAft>
                <a:spcPct val="0"/>
              </a:spcAft>
              <a:defRPr kern="1200">
                <a:solidFill>
                  <a:schemeClr val="tx1"/>
                </a:solidFill>
                <a:latin typeface="MetaPlusLF" charset="0"/>
                <a:ea typeface="+mn-ea"/>
                <a:cs typeface="MetaPlusLF" charset="0"/>
              </a:defRPr>
            </a:lvl4pPr>
            <a:lvl5pPr marL="1828800" algn="l" rtl="0" fontAlgn="base">
              <a:spcBef>
                <a:spcPct val="0"/>
              </a:spcBef>
              <a:spcAft>
                <a:spcPct val="0"/>
              </a:spcAft>
              <a:defRPr kern="1200">
                <a:solidFill>
                  <a:schemeClr val="tx1"/>
                </a:solidFill>
                <a:latin typeface="MetaPlusLF" charset="0"/>
                <a:ea typeface="+mn-ea"/>
                <a:cs typeface="MetaPlusLF" charset="0"/>
              </a:defRPr>
            </a:lvl5pPr>
            <a:lvl6pPr marL="2286000" algn="l" defTabSz="914400" rtl="0" eaLnBrk="1" latinLnBrk="0" hangingPunct="1">
              <a:defRPr kern="1200">
                <a:solidFill>
                  <a:schemeClr val="tx1"/>
                </a:solidFill>
                <a:latin typeface="MetaPlusLF" charset="0"/>
                <a:ea typeface="+mn-ea"/>
                <a:cs typeface="MetaPlusLF" charset="0"/>
              </a:defRPr>
            </a:lvl6pPr>
            <a:lvl7pPr marL="2743200" algn="l" defTabSz="914400" rtl="0" eaLnBrk="1" latinLnBrk="0" hangingPunct="1">
              <a:defRPr kern="1200">
                <a:solidFill>
                  <a:schemeClr val="tx1"/>
                </a:solidFill>
                <a:latin typeface="MetaPlusLF" charset="0"/>
                <a:ea typeface="+mn-ea"/>
                <a:cs typeface="MetaPlusLF" charset="0"/>
              </a:defRPr>
            </a:lvl7pPr>
            <a:lvl8pPr marL="3200400" algn="l" defTabSz="914400" rtl="0" eaLnBrk="1" latinLnBrk="0" hangingPunct="1">
              <a:defRPr kern="1200">
                <a:solidFill>
                  <a:schemeClr val="tx1"/>
                </a:solidFill>
                <a:latin typeface="MetaPlusLF" charset="0"/>
                <a:ea typeface="+mn-ea"/>
                <a:cs typeface="MetaPlusLF" charset="0"/>
              </a:defRPr>
            </a:lvl8pPr>
            <a:lvl9pPr marL="3657600" algn="l" defTabSz="914400" rtl="0" eaLnBrk="1" latinLnBrk="0" hangingPunct="1">
              <a:defRPr kern="1200">
                <a:solidFill>
                  <a:schemeClr val="tx1"/>
                </a:solidFill>
                <a:latin typeface="MetaPlusLF" charset="0"/>
                <a:ea typeface="+mn-ea"/>
                <a:cs typeface="MetaPlusLF" charset="0"/>
              </a:defRPr>
            </a:lvl9pPr>
          </a:lstStyle>
          <a:p>
            <a:r>
              <a:rPr lang="lt-LT" sz="1400" b="1" dirty="0">
                <a:solidFill>
                  <a:srgbClr val="7FC8ED"/>
                </a:solidFill>
                <a:latin typeface="+mj-lt"/>
              </a:rPr>
              <a:t>Teigiamos pusės globaliai organizacijai</a:t>
            </a:r>
            <a:endParaRPr lang="en-GB" sz="1400" b="1" dirty="0">
              <a:solidFill>
                <a:srgbClr val="7FC8ED"/>
              </a:solidFill>
              <a:latin typeface="+mj-lt"/>
            </a:endParaRPr>
          </a:p>
        </p:txBody>
      </p:sp>
      <p:grpSp>
        <p:nvGrpSpPr>
          <p:cNvPr id="21" name="Group 106">
            <a:extLst>
              <a:ext uri="{FF2B5EF4-FFF2-40B4-BE49-F238E27FC236}">
                <a16:creationId xmlns:a16="http://schemas.microsoft.com/office/drawing/2014/main" id="{229828BE-243C-4DAA-B436-7579B8927C97}"/>
              </a:ext>
            </a:extLst>
          </p:cNvPr>
          <p:cNvGrpSpPr/>
          <p:nvPr/>
        </p:nvGrpSpPr>
        <p:grpSpPr>
          <a:xfrm>
            <a:off x="268848" y="2837476"/>
            <a:ext cx="415840" cy="399614"/>
            <a:chOff x="5106561" y="462860"/>
            <a:chExt cx="415840" cy="399614"/>
          </a:xfrm>
          <a:solidFill>
            <a:srgbClr val="7FC8ED"/>
          </a:solidFill>
        </p:grpSpPr>
        <p:sp>
          <p:nvSpPr>
            <p:cNvPr id="22" name="Freeform 8">
              <a:extLst>
                <a:ext uri="{FF2B5EF4-FFF2-40B4-BE49-F238E27FC236}">
                  <a16:creationId xmlns:a16="http://schemas.microsoft.com/office/drawing/2014/main" id="{A435F1D1-7F3C-42E1-866D-3863E6C074E6}"/>
                </a:ext>
              </a:extLst>
            </p:cNvPr>
            <p:cNvSpPr/>
            <p:nvPr/>
          </p:nvSpPr>
          <p:spPr>
            <a:xfrm>
              <a:off x="5112136" y="462860"/>
              <a:ext cx="376119" cy="399614"/>
            </a:xfrm>
            <a:custGeom>
              <a:avLst/>
              <a:gdLst>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3197400 w 3362066"/>
                <a:gd name="connsiteY7" fmla="*/ 1869492 h 3391524"/>
                <a:gd name="connsiteX8" fmla="*/ 3362066 w 3362066"/>
                <a:gd name="connsiteY8" fmla="*/ 2004799 h 3391524"/>
                <a:gd name="connsiteX9" fmla="*/ 3357072 w 3362066"/>
                <a:gd name="connsiteY9" fmla="*/ 2037517 h 3391524"/>
                <a:gd name="connsiteX10" fmla="*/ 1695762 w 3362066"/>
                <a:gd name="connsiteY10" fmla="*/ 3391524 h 3391524"/>
                <a:gd name="connsiteX11" fmla="*/ 496678 w 3362066"/>
                <a:gd name="connsiteY11" fmla="*/ 2894847 h 3391524"/>
                <a:gd name="connsiteX12" fmla="*/ 402889 w 3362066"/>
                <a:gd name="connsiteY12" fmla="*/ 2791653 h 3391524"/>
                <a:gd name="connsiteX13" fmla="*/ 459383 w 3362066"/>
                <a:gd name="connsiteY13" fmla="*/ 2806055 h 3391524"/>
                <a:gd name="connsiteX14" fmla="*/ 623945 w 3362066"/>
                <a:gd name="connsiteY14" fmla="*/ 2833135 h 3391524"/>
                <a:gd name="connsiteX15" fmla="*/ 713228 w 3362066"/>
                <a:gd name="connsiteY15" fmla="*/ 2840220 h 3391524"/>
                <a:gd name="connsiteX16" fmla="*/ 814530 w 3362066"/>
                <a:gd name="connsiteY16" fmla="*/ 2924921 h 3391524"/>
                <a:gd name="connsiteX17" fmla="*/ 1214569 w 3362066"/>
                <a:gd name="connsiteY17" fmla="*/ 3129900 h 3391524"/>
                <a:gd name="connsiteX18" fmla="*/ 1235048 w 3362066"/>
                <a:gd name="connsiteY18" fmla="*/ 3135624 h 3391524"/>
                <a:gd name="connsiteX19" fmla="*/ 1192472 w 3362066"/>
                <a:gd name="connsiteY19" fmla="*/ 3088942 h 3391524"/>
                <a:gd name="connsiteX20" fmla="*/ 1054329 w 3362066"/>
                <a:gd name="connsiteY20" fmla="*/ 2883236 h 3391524"/>
                <a:gd name="connsiteX21" fmla="*/ 1033273 w 3362066"/>
                <a:gd name="connsiteY21" fmla="*/ 2841425 h 3391524"/>
                <a:gd name="connsiteX22" fmla="*/ 1153493 w 3362066"/>
                <a:gd name="connsiteY22" fmla="*/ 2831247 h 3391524"/>
                <a:gd name="connsiteX23" fmla="*/ 1160637 w 3362066"/>
                <a:gd name="connsiteY23" fmla="*/ 2845425 h 3391524"/>
                <a:gd name="connsiteX24" fmla="*/ 1469463 w 3362066"/>
                <a:gd name="connsiteY24" fmla="*/ 3180157 h 3391524"/>
                <a:gd name="connsiteX25" fmla="*/ 1499316 w 3362066"/>
                <a:gd name="connsiteY25" fmla="*/ 3194679 h 3391524"/>
                <a:gd name="connsiteX26" fmla="*/ 1514992 w 3362066"/>
                <a:gd name="connsiteY26" fmla="*/ 3197371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042618 w 3362066"/>
                <a:gd name="connsiteY47" fmla="*/ 2384240 h 3391524"/>
                <a:gd name="connsiteX48" fmla="*/ 3179199 w 3362066"/>
                <a:gd name="connsiteY48" fmla="*/ 1991304 h 3391524"/>
                <a:gd name="connsiteX49" fmla="*/ 3053674 w 3362066"/>
                <a:gd name="connsiteY49" fmla="*/ 1751391 h 3391524"/>
                <a:gd name="connsiteX50" fmla="*/ 3109675 w 3362066"/>
                <a:gd name="connsiteY50" fmla="*/ 1797408 h 3391524"/>
                <a:gd name="connsiteX51" fmla="*/ 3000548 w 3362066"/>
                <a:gd name="connsiteY51" fmla="*/ 1797408 h 3391524"/>
                <a:gd name="connsiteX52" fmla="*/ 974651 w 3362066"/>
                <a:gd name="connsiteY52" fmla="*/ 1018941 h 3391524"/>
                <a:gd name="connsiteX53" fmla="*/ 955549 w 3362066"/>
                <a:gd name="connsiteY53" fmla="*/ 1085530 h 3391524"/>
                <a:gd name="connsiteX54" fmla="*/ 907564 w 3362066"/>
                <a:gd name="connsiteY54" fmla="*/ 1378013 h 3391524"/>
                <a:gd name="connsiteX55" fmla="*/ 895917 w 3362066"/>
                <a:gd name="connsiteY55" fmla="*/ 1596595 h 3391524"/>
                <a:gd name="connsiteX56" fmla="*/ 1658571 w 3362066"/>
                <a:gd name="connsiteY56" fmla="*/ 1596595 h 3391524"/>
                <a:gd name="connsiteX57" fmla="*/ 165857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1226253 w 3362066"/>
                <a:gd name="connsiteY66" fmla="*/ 258097 h 3391524"/>
                <a:gd name="connsiteX67" fmla="*/ 1096526 w 3362066"/>
                <a:gd name="connsiteY67" fmla="*/ 306828 h 3391524"/>
                <a:gd name="connsiteX68" fmla="*/ 528798 w 3362066"/>
                <a:gd name="connsiteY68" fmla="*/ 733798 h 3391524"/>
                <a:gd name="connsiteX69" fmla="*/ 465736 w 3362066"/>
                <a:gd name="connsiteY69" fmla="*/ 818129 h 3391524"/>
                <a:gd name="connsiteX70" fmla="*/ 917471 w 3362066"/>
                <a:gd name="connsiteY70" fmla="*/ 818129 h 3391524"/>
                <a:gd name="connsiteX71" fmla="*/ 940351 w 3362066"/>
                <a:gd name="connsiteY71" fmla="*/ 750159 h 3391524"/>
                <a:gd name="connsiteX72" fmla="*/ 1192472 w 3362066"/>
                <a:gd name="connsiteY72" fmla="*/ 295136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95762 w 3362066"/>
                <a:gd name="connsiteY80" fmla="*/ 0 h 3391524"/>
                <a:gd name="connsiteX81" fmla="*/ 2894847 w 3362066"/>
                <a:gd name="connsiteY81" fmla="*/ 496677 h 3391524"/>
                <a:gd name="connsiteX82" fmla="*/ 2952732 w 3362066"/>
                <a:gd name="connsiteY82" fmla="*/ 560367 h 3391524"/>
                <a:gd name="connsiteX83" fmla="*/ 2763757 w 3362066"/>
                <a:gd name="connsiteY83" fmla="*/ 627279 h 3391524"/>
                <a:gd name="connsiteX84" fmla="*/ 2741210 w 3362066"/>
                <a:gd name="connsiteY84" fmla="*/ 603013 h 3391524"/>
                <a:gd name="connsiteX85" fmla="*/ 2294999 w 3362066"/>
                <a:gd name="connsiteY85" fmla="*/ 306828 h 3391524"/>
                <a:gd name="connsiteX86" fmla="*/ 2221829 w 3362066"/>
                <a:gd name="connsiteY86" fmla="*/ 279343 h 3391524"/>
                <a:gd name="connsiteX87" fmla="*/ 2236234 w 3362066"/>
                <a:gd name="connsiteY87" fmla="*/ 295136 h 3391524"/>
                <a:gd name="connsiteX88" fmla="*/ 2434620 w 3362066"/>
                <a:gd name="connsiteY88" fmla="*/ 620472 h 3391524"/>
                <a:gd name="connsiteX89" fmla="*/ 2479189 w 3362066"/>
                <a:gd name="connsiteY89" fmla="*/ 728039 h 3391524"/>
                <a:gd name="connsiteX90" fmla="*/ 2375112 w 3362066"/>
                <a:gd name="connsiteY90" fmla="*/ 764890 h 3391524"/>
                <a:gd name="connsiteX91" fmla="*/ 2349822 w 3362066"/>
                <a:gd name="connsiteY91" fmla="*/ 700898 h 3391524"/>
                <a:gd name="connsiteX92" fmla="*/ 2034904 w 3362066"/>
                <a:gd name="connsiteY92" fmla="*/ 256318 h 3391524"/>
                <a:gd name="connsiteX93" fmla="*/ 1967195 w 3362066"/>
                <a:gd name="connsiteY93" fmla="*/ 209428 h 3391524"/>
                <a:gd name="connsiteX94" fmla="*/ 1869416 w 3362066"/>
                <a:gd name="connsiteY94" fmla="*/ 193323 h 3391524"/>
                <a:gd name="connsiteX95" fmla="*/ 1732947 w 3362066"/>
                <a:gd name="connsiteY95" fmla="*/ 185573 h 3391524"/>
                <a:gd name="connsiteX96" fmla="*/ 1732947 w 3362066"/>
                <a:gd name="connsiteY96" fmla="*/ 818129 h 3391524"/>
                <a:gd name="connsiteX97" fmla="*/ 2224756 w 3362066"/>
                <a:gd name="connsiteY97" fmla="*/ 818129 h 3391524"/>
                <a:gd name="connsiteX98" fmla="*/ 1991143 w 3362066"/>
                <a:gd name="connsiteY98" fmla="*/ 900846 h 3391524"/>
                <a:gd name="connsiteX99" fmla="*/ 2132642 w 3362066"/>
                <a:gd name="connsiteY99" fmla="*/ 1018941 h 3391524"/>
                <a:gd name="connsiteX100" fmla="*/ 1732947 w 3362066"/>
                <a:gd name="connsiteY100" fmla="*/ 1018941 h 3391524"/>
                <a:gd name="connsiteX101" fmla="*/ 1732947 w 3362066"/>
                <a:gd name="connsiteY101" fmla="*/ 1596595 h 3391524"/>
                <a:gd name="connsiteX102" fmla="*/ 2063964 w 3362066"/>
                <a:gd name="connsiteY102" fmla="*/ 1596595 h 3391524"/>
                <a:gd name="connsiteX103" fmla="*/ 1924258 w 3362066"/>
                <a:gd name="connsiteY103" fmla="*/ 1712711 h 3391524"/>
                <a:gd name="connsiteX104" fmla="*/ 1815019 w 3362066"/>
                <a:gd name="connsiteY104" fmla="*/ 1797408 h 3391524"/>
                <a:gd name="connsiteX105" fmla="*/ 1732947 w 3362066"/>
                <a:gd name="connsiteY105" fmla="*/ 1797408 h 3391524"/>
                <a:gd name="connsiteX106" fmla="*/ 1732947 w 3362066"/>
                <a:gd name="connsiteY106" fmla="*/ 1858449 h 3391524"/>
                <a:gd name="connsiteX107" fmla="*/ 1658571 w 3362066"/>
                <a:gd name="connsiteY107" fmla="*/ 1910772 h 3391524"/>
                <a:gd name="connsiteX108" fmla="*/ 1658571 w 3362066"/>
                <a:gd name="connsiteY108" fmla="*/ 1797408 h 3391524"/>
                <a:gd name="connsiteX109" fmla="*/ 896447 w 3362066"/>
                <a:gd name="connsiteY109" fmla="*/ 1797408 h 3391524"/>
                <a:gd name="connsiteX110" fmla="*/ 907564 w 3362066"/>
                <a:gd name="connsiteY110" fmla="*/ 2006064 h 3391524"/>
                <a:gd name="connsiteX111" fmla="*/ 946467 w 3362066"/>
                <a:gd name="connsiteY111" fmla="*/ 2243192 h 3391524"/>
                <a:gd name="connsiteX112" fmla="*/ 910284 w 3362066"/>
                <a:gd name="connsiteY112" fmla="*/ 2252024 h 3391524"/>
                <a:gd name="connsiteX113" fmla="*/ 837993 w 3362066"/>
                <a:gd name="connsiteY113" fmla="*/ 2260760 h 3391524"/>
                <a:gd name="connsiteX114" fmla="*/ 810325 w 3362066"/>
                <a:gd name="connsiteY114" fmla="*/ 2113048 h 3391524"/>
                <a:gd name="connsiteX115" fmla="*/ 785757 w 3362066"/>
                <a:gd name="connsiteY115" fmla="*/ 1864280 h 3391524"/>
                <a:gd name="connsiteX116" fmla="*/ 783886 w 3362066"/>
                <a:gd name="connsiteY116" fmla="*/ 1797408 h 3391524"/>
                <a:gd name="connsiteX117" fmla="*/ 188594 w 3362066"/>
                <a:gd name="connsiteY117" fmla="*/ 1797408 h 3391524"/>
                <a:gd name="connsiteX118" fmla="*/ 191269 w 3362066"/>
                <a:gd name="connsiteY118" fmla="*/ 1850386 h 3391524"/>
                <a:gd name="connsiteX119" fmla="*/ 212326 w 3362066"/>
                <a:gd name="connsiteY119" fmla="*/ 1991304 h 3391524"/>
                <a:gd name="connsiteX120" fmla="*/ 235664 w 3362066"/>
                <a:gd name="connsiteY120" fmla="*/ 2085719 h 3391524"/>
                <a:gd name="connsiteX121" fmla="*/ 223447 w 3362066"/>
                <a:gd name="connsiteY121" fmla="*/ 2076943 h 3391524"/>
                <a:gd name="connsiteX122" fmla="*/ 65563 w 3362066"/>
                <a:gd name="connsiteY122" fmla="*/ 1921896 h 3391524"/>
                <a:gd name="connsiteX123" fmla="*/ 7652 w 3362066"/>
                <a:gd name="connsiteY123" fmla="*/ 1847299 h 3391524"/>
                <a:gd name="connsiteX124" fmla="*/ 0 w 3362066"/>
                <a:gd name="connsiteY124" fmla="*/ 1695762 h 3391524"/>
                <a:gd name="connsiteX125" fmla="*/ 1695762 w 3362066"/>
                <a:gd name="connsiteY125"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3000548 w 3362066"/>
                <a:gd name="connsiteY51" fmla="*/ 1797408 h 3391524"/>
                <a:gd name="connsiteX52" fmla="*/ 3109675 w 3362066"/>
                <a:gd name="connsiteY52" fmla="*/ 1797408 h 3391524"/>
                <a:gd name="connsiteX53" fmla="*/ 3000548 w 3362066"/>
                <a:gd name="connsiteY53" fmla="*/ 1797408 h 3391524"/>
                <a:gd name="connsiteX54" fmla="*/ 974651 w 3362066"/>
                <a:gd name="connsiteY54" fmla="*/ 1018941 h 3391524"/>
                <a:gd name="connsiteX55" fmla="*/ 955549 w 3362066"/>
                <a:gd name="connsiteY55" fmla="*/ 1085530 h 3391524"/>
                <a:gd name="connsiteX56" fmla="*/ 907564 w 3362066"/>
                <a:gd name="connsiteY56" fmla="*/ 1378013 h 3391524"/>
                <a:gd name="connsiteX57" fmla="*/ 895917 w 3362066"/>
                <a:gd name="connsiteY57" fmla="*/ 1596595 h 3391524"/>
                <a:gd name="connsiteX58" fmla="*/ 1658571 w 3362066"/>
                <a:gd name="connsiteY58" fmla="*/ 1596595 h 3391524"/>
                <a:gd name="connsiteX59" fmla="*/ 1658571 w 3362066"/>
                <a:gd name="connsiteY59" fmla="*/ 1018941 h 3391524"/>
                <a:gd name="connsiteX60" fmla="*/ 974651 w 3362066"/>
                <a:gd name="connsiteY60" fmla="*/ 1018941 h 3391524"/>
                <a:gd name="connsiteX61" fmla="*/ 344777 w 3362066"/>
                <a:gd name="connsiteY61" fmla="*/ 1018941 h 3391524"/>
                <a:gd name="connsiteX62" fmla="*/ 302306 w 3362066"/>
                <a:gd name="connsiteY62" fmla="*/ 1107107 h 3391524"/>
                <a:gd name="connsiteX63" fmla="*/ 191269 w 3362066"/>
                <a:gd name="connsiteY63" fmla="*/ 1541138 h 3391524"/>
                <a:gd name="connsiteX64" fmla="*/ 188469 w 3362066"/>
                <a:gd name="connsiteY64" fmla="*/ 1596595 h 3391524"/>
                <a:gd name="connsiteX65" fmla="*/ 783608 w 3362066"/>
                <a:gd name="connsiteY65" fmla="*/ 1596595 h 3391524"/>
                <a:gd name="connsiteX66" fmla="*/ 785757 w 3362066"/>
                <a:gd name="connsiteY66" fmla="*/ 1519797 h 3391524"/>
                <a:gd name="connsiteX67" fmla="*/ 854291 w 3362066"/>
                <a:gd name="connsiteY67" fmla="*/ 1036313 h 3391524"/>
                <a:gd name="connsiteX68" fmla="*/ 858928 w 3362066"/>
                <a:gd name="connsiteY68" fmla="*/ 1018941 h 3391524"/>
                <a:gd name="connsiteX69" fmla="*/ 344777 w 3362066"/>
                <a:gd name="connsiteY69" fmla="*/ 1018941 h 3391524"/>
                <a:gd name="connsiteX70" fmla="*/ 1226253 w 3362066"/>
                <a:gd name="connsiteY70" fmla="*/ 258097 h 3391524"/>
                <a:gd name="connsiteX71" fmla="*/ 1096526 w 3362066"/>
                <a:gd name="connsiteY71" fmla="*/ 306828 h 3391524"/>
                <a:gd name="connsiteX72" fmla="*/ 528798 w 3362066"/>
                <a:gd name="connsiteY72" fmla="*/ 733798 h 3391524"/>
                <a:gd name="connsiteX73" fmla="*/ 465736 w 3362066"/>
                <a:gd name="connsiteY73" fmla="*/ 818129 h 3391524"/>
                <a:gd name="connsiteX74" fmla="*/ 917471 w 3362066"/>
                <a:gd name="connsiteY74" fmla="*/ 818129 h 3391524"/>
                <a:gd name="connsiteX75" fmla="*/ 940351 w 3362066"/>
                <a:gd name="connsiteY75" fmla="*/ 750159 h 3391524"/>
                <a:gd name="connsiteX76" fmla="*/ 1192472 w 3362066"/>
                <a:gd name="connsiteY76" fmla="*/ 295136 h 3391524"/>
                <a:gd name="connsiteX77" fmla="*/ 1226253 w 3362066"/>
                <a:gd name="connsiteY77" fmla="*/ 258097 h 3391524"/>
                <a:gd name="connsiteX78" fmla="*/ 1658571 w 3362066"/>
                <a:gd name="connsiteY78" fmla="*/ 185574 h 3391524"/>
                <a:gd name="connsiteX79" fmla="*/ 1522109 w 3362066"/>
                <a:gd name="connsiteY79" fmla="*/ 193323 h 3391524"/>
                <a:gd name="connsiteX80" fmla="*/ 1475452 w 3362066"/>
                <a:gd name="connsiteY80" fmla="*/ 201008 h 3391524"/>
                <a:gd name="connsiteX81" fmla="*/ 1469463 w 3362066"/>
                <a:gd name="connsiteY81" fmla="*/ 203922 h 3391524"/>
                <a:gd name="connsiteX82" fmla="*/ 1078885 w 3362066"/>
                <a:gd name="connsiteY82" fmla="*/ 700898 h 3391524"/>
                <a:gd name="connsiteX83" fmla="*/ 1032553 w 3362066"/>
                <a:gd name="connsiteY83" fmla="*/ 818129 h 3391524"/>
                <a:gd name="connsiteX84" fmla="*/ 1658571 w 3362066"/>
                <a:gd name="connsiteY84" fmla="*/ 818129 h 3391524"/>
                <a:gd name="connsiteX85" fmla="*/ 1658571 w 3362066"/>
                <a:gd name="connsiteY85" fmla="*/ 185574 h 3391524"/>
                <a:gd name="connsiteX86" fmla="*/ 1695762 w 3362066"/>
                <a:gd name="connsiteY86" fmla="*/ 0 h 3391524"/>
                <a:gd name="connsiteX87" fmla="*/ 2894847 w 3362066"/>
                <a:gd name="connsiteY87" fmla="*/ 496677 h 3391524"/>
                <a:gd name="connsiteX88" fmla="*/ 2952732 w 3362066"/>
                <a:gd name="connsiteY88" fmla="*/ 560367 h 3391524"/>
                <a:gd name="connsiteX89" fmla="*/ 2763757 w 3362066"/>
                <a:gd name="connsiteY89" fmla="*/ 627279 h 3391524"/>
                <a:gd name="connsiteX90" fmla="*/ 2741210 w 3362066"/>
                <a:gd name="connsiteY90" fmla="*/ 603013 h 3391524"/>
                <a:gd name="connsiteX91" fmla="*/ 2294999 w 3362066"/>
                <a:gd name="connsiteY91" fmla="*/ 306828 h 3391524"/>
                <a:gd name="connsiteX92" fmla="*/ 2221829 w 3362066"/>
                <a:gd name="connsiteY92" fmla="*/ 279343 h 3391524"/>
                <a:gd name="connsiteX93" fmla="*/ 2236234 w 3362066"/>
                <a:gd name="connsiteY93" fmla="*/ 295136 h 3391524"/>
                <a:gd name="connsiteX94" fmla="*/ 2434620 w 3362066"/>
                <a:gd name="connsiteY94" fmla="*/ 620472 h 3391524"/>
                <a:gd name="connsiteX95" fmla="*/ 2479189 w 3362066"/>
                <a:gd name="connsiteY95" fmla="*/ 728039 h 3391524"/>
                <a:gd name="connsiteX96" fmla="*/ 2375112 w 3362066"/>
                <a:gd name="connsiteY96" fmla="*/ 764890 h 3391524"/>
                <a:gd name="connsiteX97" fmla="*/ 2349822 w 3362066"/>
                <a:gd name="connsiteY97" fmla="*/ 700898 h 3391524"/>
                <a:gd name="connsiteX98" fmla="*/ 2034904 w 3362066"/>
                <a:gd name="connsiteY98" fmla="*/ 256318 h 3391524"/>
                <a:gd name="connsiteX99" fmla="*/ 1967195 w 3362066"/>
                <a:gd name="connsiteY99" fmla="*/ 209428 h 3391524"/>
                <a:gd name="connsiteX100" fmla="*/ 1869416 w 3362066"/>
                <a:gd name="connsiteY100" fmla="*/ 193323 h 3391524"/>
                <a:gd name="connsiteX101" fmla="*/ 1732947 w 3362066"/>
                <a:gd name="connsiteY101" fmla="*/ 185573 h 3391524"/>
                <a:gd name="connsiteX102" fmla="*/ 1732947 w 3362066"/>
                <a:gd name="connsiteY102" fmla="*/ 818129 h 3391524"/>
                <a:gd name="connsiteX103" fmla="*/ 2224756 w 3362066"/>
                <a:gd name="connsiteY103" fmla="*/ 818129 h 3391524"/>
                <a:gd name="connsiteX104" fmla="*/ 1991143 w 3362066"/>
                <a:gd name="connsiteY104" fmla="*/ 900846 h 3391524"/>
                <a:gd name="connsiteX105" fmla="*/ 2132642 w 3362066"/>
                <a:gd name="connsiteY105" fmla="*/ 1018941 h 3391524"/>
                <a:gd name="connsiteX106" fmla="*/ 1732947 w 3362066"/>
                <a:gd name="connsiteY106" fmla="*/ 1018941 h 3391524"/>
                <a:gd name="connsiteX107" fmla="*/ 1732947 w 3362066"/>
                <a:gd name="connsiteY107" fmla="*/ 1596595 h 3391524"/>
                <a:gd name="connsiteX108" fmla="*/ 2063964 w 3362066"/>
                <a:gd name="connsiteY108" fmla="*/ 1596595 h 3391524"/>
                <a:gd name="connsiteX109" fmla="*/ 1924258 w 3362066"/>
                <a:gd name="connsiteY109" fmla="*/ 1712711 h 3391524"/>
                <a:gd name="connsiteX110" fmla="*/ 1815019 w 3362066"/>
                <a:gd name="connsiteY110" fmla="*/ 1797408 h 3391524"/>
                <a:gd name="connsiteX111" fmla="*/ 1732947 w 3362066"/>
                <a:gd name="connsiteY111" fmla="*/ 1797408 h 3391524"/>
                <a:gd name="connsiteX112" fmla="*/ 1732947 w 3362066"/>
                <a:gd name="connsiteY112" fmla="*/ 1858449 h 3391524"/>
                <a:gd name="connsiteX113" fmla="*/ 1658571 w 3362066"/>
                <a:gd name="connsiteY113" fmla="*/ 1910772 h 3391524"/>
                <a:gd name="connsiteX114" fmla="*/ 1658571 w 3362066"/>
                <a:gd name="connsiteY114" fmla="*/ 1797408 h 3391524"/>
                <a:gd name="connsiteX115" fmla="*/ 896447 w 3362066"/>
                <a:gd name="connsiteY115" fmla="*/ 1797408 h 3391524"/>
                <a:gd name="connsiteX116" fmla="*/ 907564 w 3362066"/>
                <a:gd name="connsiteY116" fmla="*/ 2006064 h 3391524"/>
                <a:gd name="connsiteX117" fmla="*/ 946467 w 3362066"/>
                <a:gd name="connsiteY117" fmla="*/ 2243192 h 3391524"/>
                <a:gd name="connsiteX118" fmla="*/ 910284 w 3362066"/>
                <a:gd name="connsiteY118" fmla="*/ 2252024 h 3391524"/>
                <a:gd name="connsiteX119" fmla="*/ 837993 w 3362066"/>
                <a:gd name="connsiteY119" fmla="*/ 2260760 h 3391524"/>
                <a:gd name="connsiteX120" fmla="*/ 810325 w 3362066"/>
                <a:gd name="connsiteY120" fmla="*/ 2113048 h 3391524"/>
                <a:gd name="connsiteX121" fmla="*/ 785757 w 3362066"/>
                <a:gd name="connsiteY121" fmla="*/ 1864280 h 3391524"/>
                <a:gd name="connsiteX122" fmla="*/ 783886 w 3362066"/>
                <a:gd name="connsiteY122" fmla="*/ 1797408 h 3391524"/>
                <a:gd name="connsiteX123" fmla="*/ 188594 w 3362066"/>
                <a:gd name="connsiteY123" fmla="*/ 1797408 h 3391524"/>
                <a:gd name="connsiteX124" fmla="*/ 191269 w 3362066"/>
                <a:gd name="connsiteY124" fmla="*/ 1850386 h 3391524"/>
                <a:gd name="connsiteX125" fmla="*/ 212326 w 3362066"/>
                <a:gd name="connsiteY125" fmla="*/ 1991304 h 3391524"/>
                <a:gd name="connsiteX126" fmla="*/ 235664 w 3362066"/>
                <a:gd name="connsiteY126" fmla="*/ 2085719 h 3391524"/>
                <a:gd name="connsiteX127" fmla="*/ 223447 w 3362066"/>
                <a:gd name="connsiteY127" fmla="*/ 2076943 h 3391524"/>
                <a:gd name="connsiteX128" fmla="*/ 65563 w 3362066"/>
                <a:gd name="connsiteY128" fmla="*/ 1921896 h 3391524"/>
                <a:gd name="connsiteX129" fmla="*/ 7652 w 3362066"/>
                <a:gd name="connsiteY129" fmla="*/ 1847299 h 3391524"/>
                <a:gd name="connsiteX130" fmla="*/ 0 w 3362066"/>
                <a:gd name="connsiteY130" fmla="*/ 1695762 h 3391524"/>
                <a:gd name="connsiteX131" fmla="*/ 1695762 w 3362066"/>
                <a:gd name="connsiteY131"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741210 w 3362066"/>
                <a:gd name="connsiteY87" fmla="*/ 603013 h 3391524"/>
                <a:gd name="connsiteX88" fmla="*/ 2294999 w 3362066"/>
                <a:gd name="connsiteY88" fmla="*/ 306828 h 3391524"/>
                <a:gd name="connsiteX89" fmla="*/ 2221829 w 3362066"/>
                <a:gd name="connsiteY89" fmla="*/ 279343 h 3391524"/>
                <a:gd name="connsiteX90" fmla="*/ 2236234 w 3362066"/>
                <a:gd name="connsiteY90" fmla="*/ 295136 h 3391524"/>
                <a:gd name="connsiteX91" fmla="*/ 2434620 w 3362066"/>
                <a:gd name="connsiteY91" fmla="*/ 620472 h 3391524"/>
                <a:gd name="connsiteX92" fmla="*/ 2479189 w 3362066"/>
                <a:gd name="connsiteY92" fmla="*/ 728039 h 3391524"/>
                <a:gd name="connsiteX93" fmla="*/ 2375112 w 3362066"/>
                <a:gd name="connsiteY93" fmla="*/ 764890 h 3391524"/>
                <a:gd name="connsiteX94" fmla="*/ 2349822 w 3362066"/>
                <a:gd name="connsiteY94" fmla="*/ 700898 h 3391524"/>
                <a:gd name="connsiteX95" fmla="*/ 2034904 w 3362066"/>
                <a:gd name="connsiteY95" fmla="*/ 256318 h 3391524"/>
                <a:gd name="connsiteX96" fmla="*/ 1967195 w 3362066"/>
                <a:gd name="connsiteY96" fmla="*/ 209428 h 3391524"/>
                <a:gd name="connsiteX97" fmla="*/ 1869416 w 3362066"/>
                <a:gd name="connsiteY97" fmla="*/ 193323 h 3391524"/>
                <a:gd name="connsiteX98" fmla="*/ 1732947 w 3362066"/>
                <a:gd name="connsiteY98" fmla="*/ 185573 h 3391524"/>
                <a:gd name="connsiteX99" fmla="*/ 1732947 w 3362066"/>
                <a:gd name="connsiteY99" fmla="*/ 818129 h 3391524"/>
                <a:gd name="connsiteX100" fmla="*/ 2224756 w 3362066"/>
                <a:gd name="connsiteY100" fmla="*/ 818129 h 3391524"/>
                <a:gd name="connsiteX101" fmla="*/ 1991143 w 3362066"/>
                <a:gd name="connsiteY101" fmla="*/ 900846 h 3391524"/>
                <a:gd name="connsiteX102" fmla="*/ 2132642 w 3362066"/>
                <a:gd name="connsiteY102" fmla="*/ 1018941 h 3391524"/>
                <a:gd name="connsiteX103" fmla="*/ 1732947 w 3362066"/>
                <a:gd name="connsiteY103" fmla="*/ 1018941 h 3391524"/>
                <a:gd name="connsiteX104" fmla="*/ 1732947 w 3362066"/>
                <a:gd name="connsiteY104" fmla="*/ 1596595 h 3391524"/>
                <a:gd name="connsiteX105" fmla="*/ 2063964 w 3362066"/>
                <a:gd name="connsiteY105" fmla="*/ 1596595 h 3391524"/>
                <a:gd name="connsiteX106" fmla="*/ 1924258 w 3362066"/>
                <a:gd name="connsiteY106" fmla="*/ 1712711 h 3391524"/>
                <a:gd name="connsiteX107" fmla="*/ 1815019 w 3362066"/>
                <a:gd name="connsiteY107" fmla="*/ 1797408 h 3391524"/>
                <a:gd name="connsiteX108" fmla="*/ 1732947 w 3362066"/>
                <a:gd name="connsiteY108" fmla="*/ 1797408 h 3391524"/>
                <a:gd name="connsiteX109" fmla="*/ 1732947 w 3362066"/>
                <a:gd name="connsiteY109" fmla="*/ 1858449 h 3391524"/>
                <a:gd name="connsiteX110" fmla="*/ 1658571 w 3362066"/>
                <a:gd name="connsiteY110" fmla="*/ 1910772 h 3391524"/>
                <a:gd name="connsiteX111" fmla="*/ 1658571 w 3362066"/>
                <a:gd name="connsiteY111" fmla="*/ 1797408 h 3391524"/>
                <a:gd name="connsiteX112" fmla="*/ 896447 w 3362066"/>
                <a:gd name="connsiteY112" fmla="*/ 1797408 h 3391524"/>
                <a:gd name="connsiteX113" fmla="*/ 907564 w 3362066"/>
                <a:gd name="connsiteY113" fmla="*/ 2006064 h 3391524"/>
                <a:gd name="connsiteX114" fmla="*/ 946467 w 3362066"/>
                <a:gd name="connsiteY114" fmla="*/ 2243192 h 3391524"/>
                <a:gd name="connsiteX115" fmla="*/ 910284 w 3362066"/>
                <a:gd name="connsiteY115" fmla="*/ 2252024 h 3391524"/>
                <a:gd name="connsiteX116" fmla="*/ 837993 w 3362066"/>
                <a:gd name="connsiteY116" fmla="*/ 2260760 h 3391524"/>
                <a:gd name="connsiteX117" fmla="*/ 810325 w 3362066"/>
                <a:gd name="connsiteY117" fmla="*/ 2113048 h 3391524"/>
                <a:gd name="connsiteX118" fmla="*/ 785757 w 3362066"/>
                <a:gd name="connsiteY118" fmla="*/ 1864280 h 3391524"/>
                <a:gd name="connsiteX119" fmla="*/ 783886 w 3362066"/>
                <a:gd name="connsiteY119" fmla="*/ 1797408 h 3391524"/>
                <a:gd name="connsiteX120" fmla="*/ 188594 w 3362066"/>
                <a:gd name="connsiteY120" fmla="*/ 1797408 h 3391524"/>
                <a:gd name="connsiteX121" fmla="*/ 191269 w 3362066"/>
                <a:gd name="connsiteY121" fmla="*/ 1850386 h 3391524"/>
                <a:gd name="connsiteX122" fmla="*/ 212326 w 3362066"/>
                <a:gd name="connsiteY122" fmla="*/ 1991304 h 3391524"/>
                <a:gd name="connsiteX123" fmla="*/ 235664 w 3362066"/>
                <a:gd name="connsiteY123" fmla="*/ 2085719 h 3391524"/>
                <a:gd name="connsiteX124" fmla="*/ 223447 w 3362066"/>
                <a:gd name="connsiteY124" fmla="*/ 2076943 h 3391524"/>
                <a:gd name="connsiteX125" fmla="*/ 65563 w 3362066"/>
                <a:gd name="connsiteY125" fmla="*/ 1921896 h 3391524"/>
                <a:gd name="connsiteX126" fmla="*/ 7652 w 3362066"/>
                <a:gd name="connsiteY126" fmla="*/ 1847299 h 3391524"/>
                <a:gd name="connsiteX127" fmla="*/ 0 w 3362066"/>
                <a:gd name="connsiteY127" fmla="*/ 1695762 h 3391524"/>
                <a:gd name="connsiteX128" fmla="*/ 1695762 w 3362066"/>
                <a:gd name="connsiteY128"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741210 w 3362066"/>
                <a:gd name="connsiteY87" fmla="*/ 603013 h 3391524"/>
                <a:gd name="connsiteX88" fmla="*/ 2294999 w 3362066"/>
                <a:gd name="connsiteY88" fmla="*/ 306828 h 3391524"/>
                <a:gd name="connsiteX89" fmla="*/ 2221829 w 3362066"/>
                <a:gd name="connsiteY89" fmla="*/ 279343 h 3391524"/>
                <a:gd name="connsiteX90" fmla="*/ 2236234 w 3362066"/>
                <a:gd name="connsiteY90" fmla="*/ 295136 h 3391524"/>
                <a:gd name="connsiteX91" fmla="*/ 2434620 w 3362066"/>
                <a:gd name="connsiteY91" fmla="*/ 620472 h 3391524"/>
                <a:gd name="connsiteX92" fmla="*/ 2479189 w 3362066"/>
                <a:gd name="connsiteY92" fmla="*/ 728039 h 3391524"/>
                <a:gd name="connsiteX93" fmla="*/ 2375112 w 3362066"/>
                <a:gd name="connsiteY93" fmla="*/ 764890 h 3391524"/>
                <a:gd name="connsiteX94" fmla="*/ 2349822 w 3362066"/>
                <a:gd name="connsiteY94" fmla="*/ 700898 h 3391524"/>
                <a:gd name="connsiteX95" fmla="*/ 2034904 w 3362066"/>
                <a:gd name="connsiteY95" fmla="*/ 256318 h 3391524"/>
                <a:gd name="connsiteX96" fmla="*/ 1967195 w 3362066"/>
                <a:gd name="connsiteY96" fmla="*/ 209428 h 3391524"/>
                <a:gd name="connsiteX97" fmla="*/ 1869416 w 3362066"/>
                <a:gd name="connsiteY97" fmla="*/ 193323 h 3391524"/>
                <a:gd name="connsiteX98" fmla="*/ 1732947 w 3362066"/>
                <a:gd name="connsiteY98" fmla="*/ 185573 h 3391524"/>
                <a:gd name="connsiteX99" fmla="*/ 1732947 w 3362066"/>
                <a:gd name="connsiteY99" fmla="*/ 818129 h 3391524"/>
                <a:gd name="connsiteX100" fmla="*/ 2224756 w 3362066"/>
                <a:gd name="connsiteY100" fmla="*/ 818129 h 3391524"/>
                <a:gd name="connsiteX101" fmla="*/ 2132642 w 3362066"/>
                <a:gd name="connsiteY101" fmla="*/ 1018941 h 3391524"/>
                <a:gd name="connsiteX102" fmla="*/ 1732947 w 3362066"/>
                <a:gd name="connsiteY102" fmla="*/ 1018941 h 3391524"/>
                <a:gd name="connsiteX103" fmla="*/ 1732947 w 3362066"/>
                <a:gd name="connsiteY103" fmla="*/ 1596595 h 3391524"/>
                <a:gd name="connsiteX104" fmla="*/ 2063964 w 3362066"/>
                <a:gd name="connsiteY104" fmla="*/ 1596595 h 3391524"/>
                <a:gd name="connsiteX105" fmla="*/ 1924258 w 3362066"/>
                <a:gd name="connsiteY105" fmla="*/ 1712711 h 3391524"/>
                <a:gd name="connsiteX106" fmla="*/ 1815019 w 3362066"/>
                <a:gd name="connsiteY106" fmla="*/ 1797408 h 3391524"/>
                <a:gd name="connsiteX107" fmla="*/ 1732947 w 3362066"/>
                <a:gd name="connsiteY107" fmla="*/ 1797408 h 3391524"/>
                <a:gd name="connsiteX108" fmla="*/ 1732947 w 3362066"/>
                <a:gd name="connsiteY108" fmla="*/ 1858449 h 3391524"/>
                <a:gd name="connsiteX109" fmla="*/ 1658571 w 3362066"/>
                <a:gd name="connsiteY109" fmla="*/ 1910772 h 3391524"/>
                <a:gd name="connsiteX110" fmla="*/ 1658571 w 3362066"/>
                <a:gd name="connsiteY110" fmla="*/ 1797408 h 3391524"/>
                <a:gd name="connsiteX111" fmla="*/ 896447 w 3362066"/>
                <a:gd name="connsiteY111" fmla="*/ 1797408 h 3391524"/>
                <a:gd name="connsiteX112" fmla="*/ 907564 w 3362066"/>
                <a:gd name="connsiteY112" fmla="*/ 2006064 h 3391524"/>
                <a:gd name="connsiteX113" fmla="*/ 946467 w 3362066"/>
                <a:gd name="connsiteY113" fmla="*/ 2243192 h 3391524"/>
                <a:gd name="connsiteX114" fmla="*/ 910284 w 3362066"/>
                <a:gd name="connsiteY114" fmla="*/ 2252024 h 3391524"/>
                <a:gd name="connsiteX115" fmla="*/ 837993 w 3362066"/>
                <a:gd name="connsiteY115" fmla="*/ 2260760 h 3391524"/>
                <a:gd name="connsiteX116" fmla="*/ 810325 w 3362066"/>
                <a:gd name="connsiteY116" fmla="*/ 2113048 h 3391524"/>
                <a:gd name="connsiteX117" fmla="*/ 785757 w 3362066"/>
                <a:gd name="connsiteY117" fmla="*/ 1864280 h 3391524"/>
                <a:gd name="connsiteX118" fmla="*/ 783886 w 3362066"/>
                <a:gd name="connsiteY118" fmla="*/ 1797408 h 3391524"/>
                <a:gd name="connsiteX119" fmla="*/ 188594 w 3362066"/>
                <a:gd name="connsiteY119" fmla="*/ 1797408 h 3391524"/>
                <a:gd name="connsiteX120" fmla="*/ 191269 w 3362066"/>
                <a:gd name="connsiteY120" fmla="*/ 1850386 h 3391524"/>
                <a:gd name="connsiteX121" fmla="*/ 212326 w 3362066"/>
                <a:gd name="connsiteY121" fmla="*/ 1991304 h 3391524"/>
                <a:gd name="connsiteX122" fmla="*/ 235664 w 3362066"/>
                <a:gd name="connsiteY122" fmla="*/ 2085719 h 3391524"/>
                <a:gd name="connsiteX123" fmla="*/ 223447 w 3362066"/>
                <a:gd name="connsiteY123" fmla="*/ 2076943 h 3391524"/>
                <a:gd name="connsiteX124" fmla="*/ 65563 w 3362066"/>
                <a:gd name="connsiteY124" fmla="*/ 1921896 h 3391524"/>
                <a:gd name="connsiteX125" fmla="*/ 7652 w 3362066"/>
                <a:gd name="connsiteY125" fmla="*/ 1847299 h 3391524"/>
                <a:gd name="connsiteX126" fmla="*/ 0 w 3362066"/>
                <a:gd name="connsiteY126" fmla="*/ 1695762 h 3391524"/>
                <a:gd name="connsiteX127" fmla="*/ 1695762 w 3362066"/>
                <a:gd name="connsiteY127"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741210 w 3362066"/>
                <a:gd name="connsiteY87" fmla="*/ 603013 h 3391524"/>
                <a:gd name="connsiteX88" fmla="*/ 2294999 w 3362066"/>
                <a:gd name="connsiteY88" fmla="*/ 306828 h 3391524"/>
                <a:gd name="connsiteX89" fmla="*/ 2221829 w 3362066"/>
                <a:gd name="connsiteY89" fmla="*/ 279343 h 3391524"/>
                <a:gd name="connsiteX90" fmla="*/ 2236234 w 3362066"/>
                <a:gd name="connsiteY90" fmla="*/ 295136 h 3391524"/>
                <a:gd name="connsiteX91" fmla="*/ 2434620 w 3362066"/>
                <a:gd name="connsiteY91" fmla="*/ 620472 h 3391524"/>
                <a:gd name="connsiteX92" fmla="*/ 2479189 w 3362066"/>
                <a:gd name="connsiteY92" fmla="*/ 728039 h 3391524"/>
                <a:gd name="connsiteX93" fmla="*/ 2375112 w 3362066"/>
                <a:gd name="connsiteY93" fmla="*/ 764890 h 3391524"/>
                <a:gd name="connsiteX94" fmla="*/ 2349822 w 3362066"/>
                <a:gd name="connsiteY94" fmla="*/ 700898 h 3391524"/>
                <a:gd name="connsiteX95" fmla="*/ 2034904 w 3362066"/>
                <a:gd name="connsiteY95" fmla="*/ 256318 h 3391524"/>
                <a:gd name="connsiteX96" fmla="*/ 1967195 w 3362066"/>
                <a:gd name="connsiteY96" fmla="*/ 209428 h 3391524"/>
                <a:gd name="connsiteX97" fmla="*/ 1869416 w 3362066"/>
                <a:gd name="connsiteY97" fmla="*/ 193323 h 3391524"/>
                <a:gd name="connsiteX98" fmla="*/ 1732947 w 3362066"/>
                <a:gd name="connsiteY98" fmla="*/ 185573 h 3391524"/>
                <a:gd name="connsiteX99" fmla="*/ 1732947 w 3362066"/>
                <a:gd name="connsiteY99" fmla="*/ 818129 h 3391524"/>
                <a:gd name="connsiteX100" fmla="*/ 2034256 w 3362066"/>
                <a:gd name="connsiteY100" fmla="*/ 837179 h 3391524"/>
                <a:gd name="connsiteX101" fmla="*/ 2132642 w 3362066"/>
                <a:gd name="connsiteY101" fmla="*/ 1018941 h 3391524"/>
                <a:gd name="connsiteX102" fmla="*/ 1732947 w 3362066"/>
                <a:gd name="connsiteY102" fmla="*/ 1018941 h 3391524"/>
                <a:gd name="connsiteX103" fmla="*/ 1732947 w 3362066"/>
                <a:gd name="connsiteY103" fmla="*/ 1596595 h 3391524"/>
                <a:gd name="connsiteX104" fmla="*/ 2063964 w 3362066"/>
                <a:gd name="connsiteY104" fmla="*/ 1596595 h 3391524"/>
                <a:gd name="connsiteX105" fmla="*/ 1924258 w 3362066"/>
                <a:gd name="connsiteY105" fmla="*/ 1712711 h 3391524"/>
                <a:gd name="connsiteX106" fmla="*/ 1815019 w 3362066"/>
                <a:gd name="connsiteY106" fmla="*/ 1797408 h 3391524"/>
                <a:gd name="connsiteX107" fmla="*/ 1732947 w 3362066"/>
                <a:gd name="connsiteY107" fmla="*/ 1797408 h 3391524"/>
                <a:gd name="connsiteX108" fmla="*/ 1732947 w 3362066"/>
                <a:gd name="connsiteY108" fmla="*/ 1858449 h 3391524"/>
                <a:gd name="connsiteX109" fmla="*/ 1658571 w 3362066"/>
                <a:gd name="connsiteY109" fmla="*/ 1910772 h 3391524"/>
                <a:gd name="connsiteX110" fmla="*/ 1658571 w 3362066"/>
                <a:gd name="connsiteY110" fmla="*/ 1797408 h 3391524"/>
                <a:gd name="connsiteX111" fmla="*/ 896447 w 3362066"/>
                <a:gd name="connsiteY111" fmla="*/ 1797408 h 3391524"/>
                <a:gd name="connsiteX112" fmla="*/ 907564 w 3362066"/>
                <a:gd name="connsiteY112" fmla="*/ 2006064 h 3391524"/>
                <a:gd name="connsiteX113" fmla="*/ 946467 w 3362066"/>
                <a:gd name="connsiteY113" fmla="*/ 2243192 h 3391524"/>
                <a:gd name="connsiteX114" fmla="*/ 910284 w 3362066"/>
                <a:gd name="connsiteY114" fmla="*/ 2252024 h 3391524"/>
                <a:gd name="connsiteX115" fmla="*/ 837993 w 3362066"/>
                <a:gd name="connsiteY115" fmla="*/ 2260760 h 3391524"/>
                <a:gd name="connsiteX116" fmla="*/ 810325 w 3362066"/>
                <a:gd name="connsiteY116" fmla="*/ 2113048 h 3391524"/>
                <a:gd name="connsiteX117" fmla="*/ 785757 w 3362066"/>
                <a:gd name="connsiteY117" fmla="*/ 1864280 h 3391524"/>
                <a:gd name="connsiteX118" fmla="*/ 783886 w 3362066"/>
                <a:gd name="connsiteY118" fmla="*/ 1797408 h 3391524"/>
                <a:gd name="connsiteX119" fmla="*/ 188594 w 3362066"/>
                <a:gd name="connsiteY119" fmla="*/ 1797408 h 3391524"/>
                <a:gd name="connsiteX120" fmla="*/ 191269 w 3362066"/>
                <a:gd name="connsiteY120" fmla="*/ 1850386 h 3391524"/>
                <a:gd name="connsiteX121" fmla="*/ 212326 w 3362066"/>
                <a:gd name="connsiteY121" fmla="*/ 1991304 h 3391524"/>
                <a:gd name="connsiteX122" fmla="*/ 235664 w 3362066"/>
                <a:gd name="connsiteY122" fmla="*/ 2085719 h 3391524"/>
                <a:gd name="connsiteX123" fmla="*/ 223447 w 3362066"/>
                <a:gd name="connsiteY123" fmla="*/ 2076943 h 3391524"/>
                <a:gd name="connsiteX124" fmla="*/ 65563 w 3362066"/>
                <a:gd name="connsiteY124" fmla="*/ 1921896 h 3391524"/>
                <a:gd name="connsiteX125" fmla="*/ 7652 w 3362066"/>
                <a:gd name="connsiteY125" fmla="*/ 1847299 h 3391524"/>
                <a:gd name="connsiteX126" fmla="*/ 0 w 3362066"/>
                <a:gd name="connsiteY126" fmla="*/ 1695762 h 3391524"/>
                <a:gd name="connsiteX127" fmla="*/ 1695762 w 3362066"/>
                <a:gd name="connsiteY127"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741210 w 3362066"/>
                <a:gd name="connsiteY87" fmla="*/ 603013 h 3391524"/>
                <a:gd name="connsiteX88" fmla="*/ 2294999 w 3362066"/>
                <a:gd name="connsiteY88" fmla="*/ 306828 h 3391524"/>
                <a:gd name="connsiteX89" fmla="*/ 2221829 w 3362066"/>
                <a:gd name="connsiteY89" fmla="*/ 279343 h 3391524"/>
                <a:gd name="connsiteX90" fmla="*/ 2236234 w 3362066"/>
                <a:gd name="connsiteY90" fmla="*/ 295136 h 3391524"/>
                <a:gd name="connsiteX91" fmla="*/ 2434620 w 3362066"/>
                <a:gd name="connsiteY91" fmla="*/ 620472 h 3391524"/>
                <a:gd name="connsiteX92" fmla="*/ 2479189 w 3362066"/>
                <a:gd name="connsiteY92" fmla="*/ 728039 h 3391524"/>
                <a:gd name="connsiteX93" fmla="*/ 2375112 w 3362066"/>
                <a:gd name="connsiteY93" fmla="*/ 764890 h 3391524"/>
                <a:gd name="connsiteX94" fmla="*/ 2349822 w 3362066"/>
                <a:gd name="connsiteY94" fmla="*/ 700898 h 3391524"/>
                <a:gd name="connsiteX95" fmla="*/ 2034904 w 3362066"/>
                <a:gd name="connsiteY95" fmla="*/ 256318 h 3391524"/>
                <a:gd name="connsiteX96" fmla="*/ 1967195 w 3362066"/>
                <a:gd name="connsiteY96" fmla="*/ 209428 h 3391524"/>
                <a:gd name="connsiteX97" fmla="*/ 1869416 w 3362066"/>
                <a:gd name="connsiteY97" fmla="*/ 193323 h 3391524"/>
                <a:gd name="connsiteX98" fmla="*/ 1732947 w 3362066"/>
                <a:gd name="connsiteY98" fmla="*/ 185573 h 3391524"/>
                <a:gd name="connsiteX99" fmla="*/ 1732947 w 3362066"/>
                <a:gd name="connsiteY99" fmla="*/ 818129 h 3391524"/>
                <a:gd name="connsiteX100" fmla="*/ 2034256 w 3362066"/>
                <a:gd name="connsiteY100" fmla="*/ 837179 h 3391524"/>
                <a:gd name="connsiteX101" fmla="*/ 1904042 w 3362066"/>
                <a:gd name="connsiteY101" fmla="*/ 1009416 h 3391524"/>
                <a:gd name="connsiteX102" fmla="*/ 1732947 w 3362066"/>
                <a:gd name="connsiteY102" fmla="*/ 1018941 h 3391524"/>
                <a:gd name="connsiteX103" fmla="*/ 1732947 w 3362066"/>
                <a:gd name="connsiteY103" fmla="*/ 1596595 h 3391524"/>
                <a:gd name="connsiteX104" fmla="*/ 2063964 w 3362066"/>
                <a:gd name="connsiteY104" fmla="*/ 1596595 h 3391524"/>
                <a:gd name="connsiteX105" fmla="*/ 1924258 w 3362066"/>
                <a:gd name="connsiteY105" fmla="*/ 1712711 h 3391524"/>
                <a:gd name="connsiteX106" fmla="*/ 1815019 w 3362066"/>
                <a:gd name="connsiteY106" fmla="*/ 1797408 h 3391524"/>
                <a:gd name="connsiteX107" fmla="*/ 1732947 w 3362066"/>
                <a:gd name="connsiteY107" fmla="*/ 1797408 h 3391524"/>
                <a:gd name="connsiteX108" fmla="*/ 1732947 w 3362066"/>
                <a:gd name="connsiteY108" fmla="*/ 1858449 h 3391524"/>
                <a:gd name="connsiteX109" fmla="*/ 1658571 w 3362066"/>
                <a:gd name="connsiteY109" fmla="*/ 1910772 h 3391524"/>
                <a:gd name="connsiteX110" fmla="*/ 1658571 w 3362066"/>
                <a:gd name="connsiteY110" fmla="*/ 1797408 h 3391524"/>
                <a:gd name="connsiteX111" fmla="*/ 896447 w 3362066"/>
                <a:gd name="connsiteY111" fmla="*/ 1797408 h 3391524"/>
                <a:gd name="connsiteX112" fmla="*/ 907564 w 3362066"/>
                <a:gd name="connsiteY112" fmla="*/ 2006064 h 3391524"/>
                <a:gd name="connsiteX113" fmla="*/ 946467 w 3362066"/>
                <a:gd name="connsiteY113" fmla="*/ 2243192 h 3391524"/>
                <a:gd name="connsiteX114" fmla="*/ 910284 w 3362066"/>
                <a:gd name="connsiteY114" fmla="*/ 2252024 h 3391524"/>
                <a:gd name="connsiteX115" fmla="*/ 837993 w 3362066"/>
                <a:gd name="connsiteY115" fmla="*/ 2260760 h 3391524"/>
                <a:gd name="connsiteX116" fmla="*/ 810325 w 3362066"/>
                <a:gd name="connsiteY116" fmla="*/ 2113048 h 3391524"/>
                <a:gd name="connsiteX117" fmla="*/ 785757 w 3362066"/>
                <a:gd name="connsiteY117" fmla="*/ 1864280 h 3391524"/>
                <a:gd name="connsiteX118" fmla="*/ 783886 w 3362066"/>
                <a:gd name="connsiteY118" fmla="*/ 1797408 h 3391524"/>
                <a:gd name="connsiteX119" fmla="*/ 188594 w 3362066"/>
                <a:gd name="connsiteY119" fmla="*/ 1797408 h 3391524"/>
                <a:gd name="connsiteX120" fmla="*/ 191269 w 3362066"/>
                <a:gd name="connsiteY120" fmla="*/ 1850386 h 3391524"/>
                <a:gd name="connsiteX121" fmla="*/ 212326 w 3362066"/>
                <a:gd name="connsiteY121" fmla="*/ 1991304 h 3391524"/>
                <a:gd name="connsiteX122" fmla="*/ 235664 w 3362066"/>
                <a:gd name="connsiteY122" fmla="*/ 2085719 h 3391524"/>
                <a:gd name="connsiteX123" fmla="*/ 223447 w 3362066"/>
                <a:gd name="connsiteY123" fmla="*/ 2076943 h 3391524"/>
                <a:gd name="connsiteX124" fmla="*/ 65563 w 3362066"/>
                <a:gd name="connsiteY124" fmla="*/ 1921896 h 3391524"/>
                <a:gd name="connsiteX125" fmla="*/ 7652 w 3362066"/>
                <a:gd name="connsiteY125" fmla="*/ 1847299 h 3391524"/>
                <a:gd name="connsiteX126" fmla="*/ 0 w 3362066"/>
                <a:gd name="connsiteY126" fmla="*/ 1695762 h 3391524"/>
                <a:gd name="connsiteX127" fmla="*/ 1695762 w 3362066"/>
                <a:gd name="connsiteY127"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741210 w 3362066"/>
                <a:gd name="connsiteY87" fmla="*/ 603013 h 3391524"/>
                <a:gd name="connsiteX88" fmla="*/ 2294999 w 3362066"/>
                <a:gd name="connsiteY88" fmla="*/ 306828 h 3391524"/>
                <a:gd name="connsiteX89" fmla="*/ 2221829 w 3362066"/>
                <a:gd name="connsiteY89" fmla="*/ 279343 h 3391524"/>
                <a:gd name="connsiteX90" fmla="*/ 2236234 w 3362066"/>
                <a:gd name="connsiteY90" fmla="*/ 295136 h 3391524"/>
                <a:gd name="connsiteX91" fmla="*/ 2434620 w 3362066"/>
                <a:gd name="connsiteY91" fmla="*/ 620472 h 3391524"/>
                <a:gd name="connsiteX92" fmla="*/ 2479189 w 3362066"/>
                <a:gd name="connsiteY92" fmla="*/ 728039 h 3391524"/>
                <a:gd name="connsiteX93" fmla="*/ 2375112 w 3362066"/>
                <a:gd name="connsiteY93" fmla="*/ 764890 h 3391524"/>
                <a:gd name="connsiteX94" fmla="*/ 2349822 w 3362066"/>
                <a:gd name="connsiteY94" fmla="*/ 700898 h 3391524"/>
                <a:gd name="connsiteX95" fmla="*/ 2034904 w 3362066"/>
                <a:gd name="connsiteY95" fmla="*/ 256318 h 3391524"/>
                <a:gd name="connsiteX96" fmla="*/ 1967195 w 3362066"/>
                <a:gd name="connsiteY96" fmla="*/ 209428 h 3391524"/>
                <a:gd name="connsiteX97" fmla="*/ 1869416 w 3362066"/>
                <a:gd name="connsiteY97" fmla="*/ 193323 h 3391524"/>
                <a:gd name="connsiteX98" fmla="*/ 1732947 w 3362066"/>
                <a:gd name="connsiteY98" fmla="*/ 185573 h 3391524"/>
                <a:gd name="connsiteX99" fmla="*/ 1732947 w 3362066"/>
                <a:gd name="connsiteY99" fmla="*/ 818129 h 3391524"/>
                <a:gd name="connsiteX100" fmla="*/ 2039422 w 3362066"/>
                <a:gd name="connsiteY100" fmla="*/ 826847 h 3391524"/>
                <a:gd name="connsiteX101" fmla="*/ 1904042 w 3362066"/>
                <a:gd name="connsiteY101" fmla="*/ 1009416 h 3391524"/>
                <a:gd name="connsiteX102" fmla="*/ 1732947 w 3362066"/>
                <a:gd name="connsiteY102" fmla="*/ 1018941 h 3391524"/>
                <a:gd name="connsiteX103" fmla="*/ 1732947 w 3362066"/>
                <a:gd name="connsiteY103" fmla="*/ 1596595 h 3391524"/>
                <a:gd name="connsiteX104" fmla="*/ 2063964 w 3362066"/>
                <a:gd name="connsiteY104" fmla="*/ 1596595 h 3391524"/>
                <a:gd name="connsiteX105" fmla="*/ 1924258 w 3362066"/>
                <a:gd name="connsiteY105" fmla="*/ 1712711 h 3391524"/>
                <a:gd name="connsiteX106" fmla="*/ 1815019 w 3362066"/>
                <a:gd name="connsiteY106" fmla="*/ 1797408 h 3391524"/>
                <a:gd name="connsiteX107" fmla="*/ 1732947 w 3362066"/>
                <a:gd name="connsiteY107" fmla="*/ 1797408 h 3391524"/>
                <a:gd name="connsiteX108" fmla="*/ 1732947 w 3362066"/>
                <a:gd name="connsiteY108" fmla="*/ 1858449 h 3391524"/>
                <a:gd name="connsiteX109" fmla="*/ 1658571 w 3362066"/>
                <a:gd name="connsiteY109" fmla="*/ 1910772 h 3391524"/>
                <a:gd name="connsiteX110" fmla="*/ 1658571 w 3362066"/>
                <a:gd name="connsiteY110" fmla="*/ 1797408 h 3391524"/>
                <a:gd name="connsiteX111" fmla="*/ 896447 w 3362066"/>
                <a:gd name="connsiteY111" fmla="*/ 1797408 h 3391524"/>
                <a:gd name="connsiteX112" fmla="*/ 907564 w 3362066"/>
                <a:gd name="connsiteY112" fmla="*/ 2006064 h 3391524"/>
                <a:gd name="connsiteX113" fmla="*/ 946467 w 3362066"/>
                <a:gd name="connsiteY113" fmla="*/ 2243192 h 3391524"/>
                <a:gd name="connsiteX114" fmla="*/ 910284 w 3362066"/>
                <a:gd name="connsiteY114" fmla="*/ 2252024 h 3391524"/>
                <a:gd name="connsiteX115" fmla="*/ 837993 w 3362066"/>
                <a:gd name="connsiteY115" fmla="*/ 2260760 h 3391524"/>
                <a:gd name="connsiteX116" fmla="*/ 810325 w 3362066"/>
                <a:gd name="connsiteY116" fmla="*/ 2113048 h 3391524"/>
                <a:gd name="connsiteX117" fmla="*/ 785757 w 3362066"/>
                <a:gd name="connsiteY117" fmla="*/ 1864280 h 3391524"/>
                <a:gd name="connsiteX118" fmla="*/ 783886 w 3362066"/>
                <a:gd name="connsiteY118" fmla="*/ 1797408 h 3391524"/>
                <a:gd name="connsiteX119" fmla="*/ 188594 w 3362066"/>
                <a:gd name="connsiteY119" fmla="*/ 1797408 h 3391524"/>
                <a:gd name="connsiteX120" fmla="*/ 191269 w 3362066"/>
                <a:gd name="connsiteY120" fmla="*/ 1850386 h 3391524"/>
                <a:gd name="connsiteX121" fmla="*/ 212326 w 3362066"/>
                <a:gd name="connsiteY121" fmla="*/ 1991304 h 3391524"/>
                <a:gd name="connsiteX122" fmla="*/ 235664 w 3362066"/>
                <a:gd name="connsiteY122" fmla="*/ 2085719 h 3391524"/>
                <a:gd name="connsiteX123" fmla="*/ 223447 w 3362066"/>
                <a:gd name="connsiteY123" fmla="*/ 2076943 h 3391524"/>
                <a:gd name="connsiteX124" fmla="*/ 65563 w 3362066"/>
                <a:gd name="connsiteY124" fmla="*/ 1921896 h 3391524"/>
                <a:gd name="connsiteX125" fmla="*/ 7652 w 3362066"/>
                <a:gd name="connsiteY125" fmla="*/ 1847299 h 3391524"/>
                <a:gd name="connsiteX126" fmla="*/ 0 w 3362066"/>
                <a:gd name="connsiteY126" fmla="*/ 1695762 h 3391524"/>
                <a:gd name="connsiteX127" fmla="*/ 1695762 w 3362066"/>
                <a:gd name="connsiteY127"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741210 w 3362066"/>
                <a:gd name="connsiteY87" fmla="*/ 603013 h 3391524"/>
                <a:gd name="connsiteX88" fmla="*/ 2294999 w 3362066"/>
                <a:gd name="connsiteY88" fmla="*/ 306828 h 3391524"/>
                <a:gd name="connsiteX89" fmla="*/ 2221829 w 3362066"/>
                <a:gd name="connsiteY89" fmla="*/ 279343 h 3391524"/>
                <a:gd name="connsiteX90" fmla="*/ 2236234 w 3362066"/>
                <a:gd name="connsiteY90" fmla="*/ 295136 h 3391524"/>
                <a:gd name="connsiteX91" fmla="*/ 2434620 w 3362066"/>
                <a:gd name="connsiteY91" fmla="*/ 620472 h 3391524"/>
                <a:gd name="connsiteX92" fmla="*/ 2479189 w 3362066"/>
                <a:gd name="connsiteY92" fmla="*/ 728039 h 3391524"/>
                <a:gd name="connsiteX93" fmla="*/ 2375112 w 3362066"/>
                <a:gd name="connsiteY93" fmla="*/ 764890 h 3391524"/>
                <a:gd name="connsiteX94" fmla="*/ 2349822 w 3362066"/>
                <a:gd name="connsiteY94" fmla="*/ 700898 h 3391524"/>
                <a:gd name="connsiteX95" fmla="*/ 2034904 w 3362066"/>
                <a:gd name="connsiteY95" fmla="*/ 256318 h 3391524"/>
                <a:gd name="connsiteX96" fmla="*/ 1967195 w 3362066"/>
                <a:gd name="connsiteY96" fmla="*/ 209428 h 3391524"/>
                <a:gd name="connsiteX97" fmla="*/ 1869416 w 3362066"/>
                <a:gd name="connsiteY97" fmla="*/ 193323 h 3391524"/>
                <a:gd name="connsiteX98" fmla="*/ 1732947 w 3362066"/>
                <a:gd name="connsiteY98" fmla="*/ 185573 h 3391524"/>
                <a:gd name="connsiteX99" fmla="*/ 1732947 w 3362066"/>
                <a:gd name="connsiteY99" fmla="*/ 818129 h 3391524"/>
                <a:gd name="connsiteX100" fmla="*/ 2039422 w 3362066"/>
                <a:gd name="connsiteY100" fmla="*/ 826847 h 3391524"/>
                <a:gd name="connsiteX101" fmla="*/ 1919541 w 3362066"/>
                <a:gd name="connsiteY101" fmla="*/ 1019749 h 3391524"/>
                <a:gd name="connsiteX102" fmla="*/ 1732947 w 3362066"/>
                <a:gd name="connsiteY102" fmla="*/ 1018941 h 3391524"/>
                <a:gd name="connsiteX103" fmla="*/ 1732947 w 3362066"/>
                <a:gd name="connsiteY103" fmla="*/ 1596595 h 3391524"/>
                <a:gd name="connsiteX104" fmla="*/ 2063964 w 3362066"/>
                <a:gd name="connsiteY104" fmla="*/ 1596595 h 3391524"/>
                <a:gd name="connsiteX105" fmla="*/ 1924258 w 3362066"/>
                <a:gd name="connsiteY105" fmla="*/ 1712711 h 3391524"/>
                <a:gd name="connsiteX106" fmla="*/ 1815019 w 3362066"/>
                <a:gd name="connsiteY106" fmla="*/ 1797408 h 3391524"/>
                <a:gd name="connsiteX107" fmla="*/ 1732947 w 3362066"/>
                <a:gd name="connsiteY107" fmla="*/ 1797408 h 3391524"/>
                <a:gd name="connsiteX108" fmla="*/ 1732947 w 3362066"/>
                <a:gd name="connsiteY108" fmla="*/ 1858449 h 3391524"/>
                <a:gd name="connsiteX109" fmla="*/ 1658571 w 3362066"/>
                <a:gd name="connsiteY109" fmla="*/ 1910772 h 3391524"/>
                <a:gd name="connsiteX110" fmla="*/ 1658571 w 3362066"/>
                <a:gd name="connsiteY110" fmla="*/ 1797408 h 3391524"/>
                <a:gd name="connsiteX111" fmla="*/ 896447 w 3362066"/>
                <a:gd name="connsiteY111" fmla="*/ 1797408 h 3391524"/>
                <a:gd name="connsiteX112" fmla="*/ 907564 w 3362066"/>
                <a:gd name="connsiteY112" fmla="*/ 2006064 h 3391524"/>
                <a:gd name="connsiteX113" fmla="*/ 946467 w 3362066"/>
                <a:gd name="connsiteY113" fmla="*/ 2243192 h 3391524"/>
                <a:gd name="connsiteX114" fmla="*/ 910284 w 3362066"/>
                <a:gd name="connsiteY114" fmla="*/ 2252024 h 3391524"/>
                <a:gd name="connsiteX115" fmla="*/ 837993 w 3362066"/>
                <a:gd name="connsiteY115" fmla="*/ 2260760 h 3391524"/>
                <a:gd name="connsiteX116" fmla="*/ 810325 w 3362066"/>
                <a:gd name="connsiteY116" fmla="*/ 2113048 h 3391524"/>
                <a:gd name="connsiteX117" fmla="*/ 785757 w 3362066"/>
                <a:gd name="connsiteY117" fmla="*/ 1864280 h 3391524"/>
                <a:gd name="connsiteX118" fmla="*/ 783886 w 3362066"/>
                <a:gd name="connsiteY118" fmla="*/ 1797408 h 3391524"/>
                <a:gd name="connsiteX119" fmla="*/ 188594 w 3362066"/>
                <a:gd name="connsiteY119" fmla="*/ 1797408 h 3391524"/>
                <a:gd name="connsiteX120" fmla="*/ 191269 w 3362066"/>
                <a:gd name="connsiteY120" fmla="*/ 1850386 h 3391524"/>
                <a:gd name="connsiteX121" fmla="*/ 212326 w 3362066"/>
                <a:gd name="connsiteY121" fmla="*/ 1991304 h 3391524"/>
                <a:gd name="connsiteX122" fmla="*/ 235664 w 3362066"/>
                <a:gd name="connsiteY122" fmla="*/ 2085719 h 3391524"/>
                <a:gd name="connsiteX123" fmla="*/ 223447 w 3362066"/>
                <a:gd name="connsiteY123" fmla="*/ 2076943 h 3391524"/>
                <a:gd name="connsiteX124" fmla="*/ 65563 w 3362066"/>
                <a:gd name="connsiteY124" fmla="*/ 1921896 h 3391524"/>
                <a:gd name="connsiteX125" fmla="*/ 7652 w 3362066"/>
                <a:gd name="connsiteY125" fmla="*/ 1847299 h 3391524"/>
                <a:gd name="connsiteX126" fmla="*/ 0 w 3362066"/>
                <a:gd name="connsiteY126" fmla="*/ 1695762 h 3391524"/>
                <a:gd name="connsiteX127" fmla="*/ 1695762 w 3362066"/>
                <a:gd name="connsiteY127"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741210 w 3362066"/>
                <a:gd name="connsiteY87" fmla="*/ 603013 h 3391524"/>
                <a:gd name="connsiteX88" fmla="*/ 2294999 w 3362066"/>
                <a:gd name="connsiteY88" fmla="*/ 306828 h 3391524"/>
                <a:gd name="connsiteX89" fmla="*/ 2221829 w 3362066"/>
                <a:gd name="connsiteY89" fmla="*/ 279343 h 3391524"/>
                <a:gd name="connsiteX90" fmla="*/ 2434620 w 3362066"/>
                <a:gd name="connsiteY90" fmla="*/ 620472 h 3391524"/>
                <a:gd name="connsiteX91" fmla="*/ 2479189 w 3362066"/>
                <a:gd name="connsiteY91" fmla="*/ 728039 h 3391524"/>
                <a:gd name="connsiteX92" fmla="*/ 2375112 w 3362066"/>
                <a:gd name="connsiteY92" fmla="*/ 764890 h 3391524"/>
                <a:gd name="connsiteX93" fmla="*/ 2349822 w 3362066"/>
                <a:gd name="connsiteY93" fmla="*/ 700898 h 3391524"/>
                <a:gd name="connsiteX94" fmla="*/ 2034904 w 3362066"/>
                <a:gd name="connsiteY94" fmla="*/ 256318 h 3391524"/>
                <a:gd name="connsiteX95" fmla="*/ 1967195 w 3362066"/>
                <a:gd name="connsiteY95" fmla="*/ 209428 h 3391524"/>
                <a:gd name="connsiteX96" fmla="*/ 1869416 w 3362066"/>
                <a:gd name="connsiteY96" fmla="*/ 193323 h 3391524"/>
                <a:gd name="connsiteX97" fmla="*/ 1732947 w 3362066"/>
                <a:gd name="connsiteY97" fmla="*/ 185573 h 3391524"/>
                <a:gd name="connsiteX98" fmla="*/ 1732947 w 3362066"/>
                <a:gd name="connsiteY98" fmla="*/ 818129 h 3391524"/>
                <a:gd name="connsiteX99" fmla="*/ 2039422 w 3362066"/>
                <a:gd name="connsiteY99" fmla="*/ 826847 h 3391524"/>
                <a:gd name="connsiteX100" fmla="*/ 1919541 w 3362066"/>
                <a:gd name="connsiteY100" fmla="*/ 1019749 h 3391524"/>
                <a:gd name="connsiteX101" fmla="*/ 1732947 w 3362066"/>
                <a:gd name="connsiteY101" fmla="*/ 1018941 h 3391524"/>
                <a:gd name="connsiteX102" fmla="*/ 1732947 w 3362066"/>
                <a:gd name="connsiteY102" fmla="*/ 1596595 h 3391524"/>
                <a:gd name="connsiteX103" fmla="*/ 2063964 w 3362066"/>
                <a:gd name="connsiteY103" fmla="*/ 1596595 h 3391524"/>
                <a:gd name="connsiteX104" fmla="*/ 1924258 w 3362066"/>
                <a:gd name="connsiteY104" fmla="*/ 1712711 h 3391524"/>
                <a:gd name="connsiteX105" fmla="*/ 1815019 w 3362066"/>
                <a:gd name="connsiteY105" fmla="*/ 1797408 h 3391524"/>
                <a:gd name="connsiteX106" fmla="*/ 1732947 w 3362066"/>
                <a:gd name="connsiteY106" fmla="*/ 1797408 h 3391524"/>
                <a:gd name="connsiteX107" fmla="*/ 1732947 w 3362066"/>
                <a:gd name="connsiteY107" fmla="*/ 1858449 h 3391524"/>
                <a:gd name="connsiteX108" fmla="*/ 1658571 w 3362066"/>
                <a:gd name="connsiteY108" fmla="*/ 1910772 h 3391524"/>
                <a:gd name="connsiteX109" fmla="*/ 1658571 w 3362066"/>
                <a:gd name="connsiteY109" fmla="*/ 1797408 h 3391524"/>
                <a:gd name="connsiteX110" fmla="*/ 896447 w 3362066"/>
                <a:gd name="connsiteY110" fmla="*/ 1797408 h 3391524"/>
                <a:gd name="connsiteX111" fmla="*/ 907564 w 3362066"/>
                <a:gd name="connsiteY111" fmla="*/ 2006064 h 3391524"/>
                <a:gd name="connsiteX112" fmla="*/ 946467 w 3362066"/>
                <a:gd name="connsiteY112" fmla="*/ 2243192 h 3391524"/>
                <a:gd name="connsiteX113" fmla="*/ 910284 w 3362066"/>
                <a:gd name="connsiteY113" fmla="*/ 2252024 h 3391524"/>
                <a:gd name="connsiteX114" fmla="*/ 837993 w 3362066"/>
                <a:gd name="connsiteY114" fmla="*/ 2260760 h 3391524"/>
                <a:gd name="connsiteX115" fmla="*/ 810325 w 3362066"/>
                <a:gd name="connsiteY115" fmla="*/ 2113048 h 3391524"/>
                <a:gd name="connsiteX116" fmla="*/ 785757 w 3362066"/>
                <a:gd name="connsiteY116" fmla="*/ 1864280 h 3391524"/>
                <a:gd name="connsiteX117" fmla="*/ 783886 w 3362066"/>
                <a:gd name="connsiteY117" fmla="*/ 1797408 h 3391524"/>
                <a:gd name="connsiteX118" fmla="*/ 188594 w 3362066"/>
                <a:gd name="connsiteY118" fmla="*/ 1797408 h 3391524"/>
                <a:gd name="connsiteX119" fmla="*/ 191269 w 3362066"/>
                <a:gd name="connsiteY119" fmla="*/ 1850386 h 3391524"/>
                <a:gd name="connsiteX120" fmla="*/ 212326 w 3362066"/>
                <a:gd name="connsiteY120" fmla="*/ 1991304 h 3391524"/>
                <a:gd name="connsiteX121" fmla="*/ 235664 w 3362066"/>
                <a:gd name="connsiteY121" fmla="*/ 2085719 h 3391524"/>
                <a:gd name="connsiteX122" fmla="*/ 223447 w 3362066"/>
                <a:gd name="connsiteY122" fmla="*/ 2076943 h 3391524"/>
                <a:gd name="connsiteX123" fmla="*/ 65563 w 3362066"/>
                <a:gd name="connsiteY123" fmla="*/ 1921896 h 3391524"/>
                <a:gd name="connsiteX124" fmla="*/ 7652 w 3362066"/>
                <a:gd name="connsiteY124" fmla="*/ 1847299 h 3391524"/>
                <a:gd name="connsiteX125" fmla="*/ 0 w 3362066"/>
                <a:gd name="connsiteY125" fmla="*/ 1695762 h 3391524"/>
                <a:gd name="connsiteX126" fmla="*/ 1695762 w 3362066"/>
                <a:gd name="connsiteY126"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294999 w 3362066"/>
                <a:gd name="connsiteY87" fmla="*/ 306828 h 3391524"/>
                <a:gd name="connsiteX88" fmla="*/ 2221829 w 3362066"/>
                <a:gd name="connsiteY88" fmla="*/ 279343 h 3391524"/>
                <a:gd name="connsiteX89" fmla="*/ 2434620 w 3362066"/>
                <a:gd name="connsiteY89" fmla="*/ 620472 h 3391524"/>
                <a:gd name="connsiteX90" fmla="*/ 2479189 w 3362066"/>
                <a:gd name="connsiteY90" fmla="*/ 728039 h 3391524"/>
                <a:gd name="connsiteX91" fmla="*/ 2375112 w 3362066"/>
                <a:gd name="connsiteY91" fmla="*/ 764890 h 3391524"/>
                <a:gd name="connsiteX92" fmla="*/ 2349822 w 3362066"/>
                <a:gd name="connsiteY92" fmla="*/ 700898 h 3391524"/>
                <a:gd name="connsiteX93" fmla="*/ 2034904 w 3362066"/>
                <a:gd name="connsiteY93" fmla="*/ 256318 h 3391524"/>
                <a:gd name="connsiteX94" fmla="*/ 1967195 w 3362066"/>
                <a:gd name="connsiteY94" fmla="*/ 209428 h 3391524"/>
                <a:gd name="connsiteX95" fmla="*/ 1869416 w 3362066"/>
                <a:gd name="connsiteY95" fmla="*/ 193323 h 3391524"/>
                <a:gd name="connsiteX96" fmla="*/ 1732947 w 3362066"/>
                <a:gd name="connsiteY96" fmla="*/ 185573 h 3391524"/>
                <a:gd name="connsiteX97" fmla="*/ 1732947 w 3362066"/>
                <a:gd name="connsiteY97" fmla="*/ 818129 h 3391524"/>
                <a:gd name="connsiteX98" fmla="*/ 2039422 w 3362066"/>
                <a:gd name="connsiteY98" fmla="*/ 826847 h 3391524"/>
                <a:gd name="connsiteX99" fmla="*/ 1919541 w 3362066"/>
                <a:gd name="connsiteY99" fmla="*/ 1019749 h 3391524"/>
                <a:gd name="connsiteX100" fmla="*/ 1732947 w 3362066"/>
                <a:gd name="connsiteY100" fmla="*/ 1018941 h 3391524"/>
                <a:gd name="connsiteX101" fmla="*/ 1732947 w 3362066"/>
                <a:gd name="connsiteY101" fmla="*/ 1596595 h 3391524"/>
                <a:gd name="connsiteX102" fmla="*/ 2063964 w 3362066"/>
                <a:gd name="connsiteY102" fmla="*/ 1596595 h 3391524"/>
                <a:gd name="connsiteX103" fmla="*/ 1924258 w 3362066"/>
                <a:gd name="connsiteY103" fmla="*/ 1712711 h 3391524"/>
                <a:gd name="connsiteX104" fmla="*/ 1815019 w 3362066"/>
                <a:gd name="connsiteY104" fmla="*/ 1797408 h 3391524"/>
                <a:gd name="connsiteX105" fmla="*/ 1732947 w 3362066"/>
                <a:gd name="connsiteY105" fmla="*/ 1797408 h 3391524"/>
                <a:gd name="connsiteX106" fmla="*/ 1732947 w 3362066"/>
                <a:gd name="connsiteY106" fmla="*/ 1858449 h 3391524"/>
                <a:gd name="connsiteX107" fmla="*/ 1658571 w 3362066"/>
                <a:gd name="connsiteY107" fmla="*/ 1910772 h 3391524"/>
                <a:gd name="connsiteX108" fmla="*/ 1658571 w 3362066"/>
                <a:gd name="connsiteY108" fmla="*/ 1797408 h 3391524"/>
                <a:gd name="connsiteX109" fmla="*/ 896447 w 3362066"/>
                <a:gd name="connsiteY109" fmla="*/ 1797408 h 3391524"/>
                <a:gd name="connsiteX110" fmla="*/ 907564 w 3362066"/>
                <a:gd name="connsiteY110" fmla="*/ 2006064 h 3391524"/>
                <a:gd name="connsiteX111" fmla="*/ 946467 w 3362066"/>
                <a:gd name="connsiteY111" fmla="*/ 2243192 h 3391524"/>
                <a:gd name="connsiteX112" fmla="*/ 910284 w 3362066"/>
                <a:gd name="connsiteY112" fmla="*/ 2252024 h 3391524"/>
                <a:gd name="connsiteX113" fmla="*/ 837993 w 3362066"/>
                <a:gd name="connsiteY113" fmla="*/ 2260760 h 3391524"/>
                <a:gd name="connsiteX114" fmla="*/ 810325 w 3362066"/>
                <a:gd name="connsiteY114" fmla="*/ 2113048 h 3391524"/>
                <a:gd name="connsiteX115" fmla="*/ 785757 w 3362066"/>
                <a:gd name="connsiteY115" fmla="*/ 1864280 h 3391524"/>
                <a:gd name="connsiteX116" fmla="*/ 783886 w 3362066"/>
                <a:gd name="connsiteY116" fmla="*/ 1797408 h 3391524"/>
                <a:gd name="connsiteX117" fmla="*/ 188594 w 3362066"/>
                <a:gd name="connsiteY117" fmla="*/ 1797408 h 3391524"/>
                <a:gd name="connsiteX118" fmla="*/ 191269 w 3362066"/>
                <a:gd name="connsiteY118" fmla="*/ 1850386 h 3391524"/>
                <a:gd name="connsiteX119" fmla="*/ 212326 w 3362066"/>
                <a:gd name="connsiteY119" fmla="*/ 1991304 h 3391524"/>
                <a:gd name="connsiteX120" fmla="*/ 235664 w 3362066"/>
                <a:gd name="connsiteY120" fmla="*/ 2085719 h 3391524"/>
                <a:gd name="connsiteX121" fmla="*/ 223447 w 3362066"/>
                <a:gd name="connsiteY121" fmla="*/ 2076943 h 3391524"/>
                <a:gd name="connsiteX122" fmla="*/ 65563 w 3362066"/>
                <a:gd name="connsiteY122" fmla="*/ 1921896 h 3391524"/>
                <a:gd name="connsiteX123" fmla="*/ 7652 w 3362066"/>
                <a:gd name="connsiteY123" fmla="*/ 1847299 h 3391524"/>
                <a:gd name="connsiteX124" fmla="*/ 0 w 3362066"/>
                <a:gd name="connsiteY124" fmla="*/ 1695762 h 3391524"/>
                <a:gd name="connsiteX125" fmla="*/ 1695762 w 3362066"/>
                <a:gd name="connsiteY125"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294999 w 3362066"/>
                <a:gd name="connsiteY87" fmla="*/ 306828 h 3391524"/>
                <a:gd name="connsiteX88" fmla="*/ 2221829 w 3362066"/>
                <a:gd name="connsiteY88" fmla="*/ 279343 h 3391524"/>
                <a:gd name="connsiteX89" fmla="*/ 2434620 w 3362066"/>
                <a:gd name="connsiteY89" fmla="*/ 620472 h 3391524"/>
                <a:gd name="connsiteX90" fmla="*/ 2479189 w 3362066"/>
                <a:gd name="connsiteY90" fmla="*/ 728039 h 3391524"/>
                <a:gd name="connsiteX91" fmla="*/ 2375112 w 3362066"/>
                <a:gd name="connsiteY91" fmla="*/ 764890 h 3391524"/>
                <a:gd name="connsiteX92" fmla="*/ 2349822 w 3362066"/>
                <a:gd name="connsiteY92" fmla="*/ 700898 h 3391524"/>
                <a:gd name="connsiteX93" fmla="*/ 2034904 w 3362066"/>
                <a:gd name="connsiteY93" fmla="*/ 256318 h 3391524"/>
                <a:gd name="connsiteX94" fmla="*/ 1967195 w 3362066"/>
                <a:gd name="connsiteY94" fmla="*/ 209428 h 3391524"/>
                <a:gd name="connsiteX95" fmla="*/ 1869416 w 3362066"/>
                <a:gd name="connsiteY95" fmla="*/ 193323 h 3391524"/>
                <a:gd name="connsiteX96" fmla="*/ 1732947 w 3362066"/>
                <a:gd name="connsiteY96" fmla="*/ 185573 h 3391524"/>
                <a:gd name="connsiteX97" fmla="*/ 1732947 w 3362066"/>
                <a:gd name="connsiteY97" fmla="*/ 818129 h 3391524"/>
                <a:gd name="connsiteX98" fmla="*/ 2039422 w 3362066"/>
                <a:gd name="connsiteY98" fmla="*/ 826847 h 3391524"/>
                <a:gd name="connsiteX99" fmla="*/ 1919541 w 3362066"/>
                <a:gd name="connsiteY99" fmla="*/ 1019749 h 3391524"/>
                <a:gd name="connsiteX100" fmla="*/ 1732947 w 3362066"/>
                <a:gd name="connsiteY100" fmla="*/ 1018941 h 3391524"/>
                <a:gd name="connsiteX101" fmla="*/ 1732947 w 3362066"/>
                <a:gd name="connsiteY101" fmla="*/ 1596595 h 3391524"/>
                <a:gd name="connsiteX102" fmla="*/ 2063964 w 3362066"/>
                <a:gd name="connsiteY102" fmla="*/ 1596595 h 3391524"/>
                <a:gd name="connsiteX103" fmla="*/ 1924258 w 3362066"/>
                <a:gd name="connsiteY103" fmla="*/ 1712711 h 3391524"/>
                <a:gd name="connsiteX104" fmla="*/ 1815019 w 3362066"/>
                <a:gd name="connsiteY104" fmla="*/ 1797408 h 3391524"/>
                <a:gd name="connsiteX105" fmla="*/ 1732947 w 3362066"/>
                <a:gd name="connsiteY105" fmla="*/ 1797408 h 3391524"/>
                <a:gd name="connsiteX106" fmla="*/ 1732947 w 3362066"/>
                <a:gd name="connsiteY106" fmla="*/ 1858449 h 3391524"/>
                <a:gd name="connsiteX107" fmla="*/ 1658571 w 3362066"/>
                <a:gd name="connsiteY107" fmla="*/ 1910772 h 3391524"/>
                <a:gd name="connsiteX108" fmla="*/ 1658571 w 3362066"/>
                <a:gd name="connsiteY108" fmla="*/ 1797408 h 3391524"/>
                <a:gd name="connsiteX109" fmla="*/ 896447 w 3362066"/>
                <a:gd name="connsiteY109" fmla="*/ 1797408 h 3391524"/>
                <a:gd name="connsiteX110" fmla="*/ 907564 w 3362066"/>
                <a:gd name="connsiteY110" fmla="*/ 2006064 h 3391524"/>
                <a:gd name="connsiteX111" fmla="*/ 946467 w 3362066"/>
                <a:gd name="connsiteY111" fmla="*/ 2243192 h 3391524"/>
                <a:gd name="connsiteX112" fmla="*/ 837993 w 3362066"/>
                <a:gd name="connsiteY112" fmla="*/ 2260760 h 3391524"/>
                <a:gd name="connsiteX113" fmla="*/ 810325 w 3362066"/>
                <a:gd name="connsiteY113" fmla="*/ 2113048 h 3391524"/>
                <a:gd name="connsiteX114" fmla="*/ 785757 w 3362066"/>
                <a:gd name="connsiteY114" fmla="*/ 1864280 h 3391524"/>
                <a:gd name="connsiteX115" fmla="*/ 783886 w 3362066"/>
                <a:gd name="connsiteY115" fmla="*/ 1797408 h 3391524"/>
                <a:gd name="connsiteX116" fmla="*/ 188594 w 3362066"/>
                <a:gd name="connsiteY116" fmla="*/ 1797408 h 3391524"/>
                <a:gd name="connsiteX117" fmla="*/ 191269 w 3362066"/>
                <a:gd name="connsiteY117" fmla="*/ 1850386 h 3391524"/>
                <a:gd name="connsiteX118" fmla="*/ 212326 w 3362066"/>
                <a:gd name="connsiteY118" fmla="*/ 1991304 h 3391524"/>
                <a:gd name="connsiteX119" fmla="*/ 235664 w 3362066"/>
                <a:gd name="connsiteY119" fmla="*/ 2085719 h 3391524"/>
                <a:gd name="connsiteX120" fmla="*/ 223447 w 3362066"/>
                <a:gd name="connsiteY120" fmla="*/ 2076943 h 3391524"/>
                <a:gd name="connsiteX121" fmla="*/ 65563 w 3362066"/>
                <a:gd name="connsiteY121" fmla="*/ 1921896 h 3391524"/>
                <a:gd name="connsiteX122" fmla="*/ 7652 w 3362066"/>
                <a:gd name="connsiteY122" fmla="*/ 1847299 h 3391524"/>
                <a:gd name="connsiteX123" fmla="*/ 0 w 3362066"/>
                <a:gd name="connsiteY123" fmla="*/ 1695762 h 3391524"/>
                <a:gd name="connsiteX124" fmla="*/ 1695762 w 3362066"/>
                <a:gd name="connsiteY124"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294999 w 3362066"/>
                <a:gd name="connsiteY87" fmla="*/ 306828 h 3391524"/>
                <a:gd name="connsiteX88" fmla="*/ 2221829 w 3362066"/>
                <a:gd name="connsiteY88" fmla="*/ 279343 h 3391524"/>
                <a:gd name="connsiteX89" fmla="*/ 2434620 w 3362066"/>
                <a:gd name="connsiteY89" fmla="*/ 620472 h 3391524"/>
                <a:gd name="connsiteX90" fmla="*/ 2479189 w 3362066"/>
                <a:gd name="connsiteY90" fmla="*/ 728039 h 3391524"/>
                <a:gd name="connsiteX91" fmla="*/ 2375112 w 3362066"/>
                <a:gd name="connsiteY91" fmla="*/ 764890 h 3391524"/>
                <a:gd name="connsiteX92" fmla="*/ 2349822 w 3362066"/>
                <a:gd name="connsiteY92" fmla="*/ 700898 h 3391524"/>
                <a:gd name="connsiteX93" fmla="*/ 2034904 w 3362066"/>
                <a:gd name="connsiteY93" fmla="*/ 256318 h 3391524"/>
                <a:gd name="connsiteX94" fmla="*/ 1967195 w 3362066"/>
                <a:gd name="connsiteY94" fmla="*/ 209428 h 3391524"/>
                <a:gd name="connsiteX95" fmla="*/ 1869416 w 3362066"/>
                <a:gd name="connsiteY95" fmla="*/ 193323 h 3391524"/>
                <a:gd name="connsiteX96" fmla="*/ 1732947 w 3362066"/>
                <a:gd name="connsiteY96" fmla="*/ 185573 h 3391524"/>
                <a:gd name="connsiteX97" fmla="*/ 1732947 w 3362066"/>
                <a:gd name="connsiteY97" fmla="*/ 818129 h 3391524"/>
                <a:gd name="connsiteX98" fmla="*/ 2039422 w 3362066"/>
                <a:gd name="connsiteY98" fmla="*/ 826847 h 3391524"/>
                <a:gd name="connsiteX99" fmla="*/ 1919541 w 3362066"/>
                <a:gd name="connsiteY99" fmla="*/ 1019749 h 3391524"/>
                <a:gd name="connsiteX100" fmla="*/ 1732947 w 3362066"/>
                <a:gd name="connsiteY100" fmla="*/ 1018941 h 3391524"/>
                <a:gd name="connsiteX101" fmla="*/ 1732947 w 3362066"/>
                <a:gd name="connsiteY101" fmla="*/ 1596595 h 3391524"/>
                <a:gd name="connsiteX102" fmla="*/ 2063964 w 3362066"/>
                <a:gd name="connsiteY102" fmla="*/ 1596595 h 3391524"/>
                <a:gd name="connsiteX103" fmla="*/ 1924258 w 3362066"/>
                <a:gd name="connsiteY103" fmla="*/ 1712711 h 3391524"/>
                <a:gd name="connsiteX104" fmla="*/ 1815019 w 3362066"/>
                <a:gd name="connsiteY104" fmla="*/ 1797408 h 3391524"/>
                <a:gd name="connsiteX105" fmla="*/ 1732947 w 3362066"/>
                <a:gd name="connsiteY105" fmla="*/ 1797408 h 3391524"/>
                <a:gd name="connsiteX106" fmla="*/ 1732947 w 3362066"/>
                <a:gd name="connsiteY106" fmla="*/ 1858449 h 3391524"/>
                <a:gd name="connsiteX107" fmla="*/ 1658571 w 3362066"/>
                <a:gd name="connsiteY107" fmla="*/ 1910772 h 3391524"/>
                <a:gd name="connsiteX108" fmla="*/ 1658571 w 3362066"/>
                <a:gd name="connsiteY108" fmla="*/ 1797408 h 3391524"/>
                <a:gd name="connsiteX109" fmla="*/ 896447 w 3362066"/>
                <a:gd name="connsiteY109" fmla="*/ 1797408 h 3391524"/>
                <a:gd name="connsiteX110" fmla="*/ 907564 w 3362066"/>
                <a:gd name="connsiteY110" fmla="*/ 2006064 h 3391524"/>
                <a:gd name="connsiteX111" fmla="*/ 946467 w 3362066"/>
                <a:gd name="connsiteY111" fmla="*/ 2243192 h 3391524"/>
                <a:gd name="connsiteX112" fmla="*/ 837993 w 3362066"/>
                <a:gd name="connsiteY112" fmla="*/ 2260760 h 3391524"/>
                <a:gd name="connsiteX113" fmla="*/ 810325 w 3362066"/>
                <a:gd name="connsiteY113" fmla="*/ 2113048 h 3391524"/>
                <a:gd name="connsiteX114" fmla="*/ 785757 w 3362066"/>
                <a:gd name="connsiteY114" fmla="*/ 1864280 h 3391524"/>
                <a:gd name="connsiteX115" fmla="*/ 783886 w 3362066"/>
                <a:gd name="connsiteY115" fmla="*/ 1797408 h 3391524"/>
                <a:gd name="connsiteX116" fmla="*/ 188594 w 3362066"/>
                <a:gd name="connsiteY116" fmla="*/ 1797408 h 3391524"/>
                <a:gd name="connsiteX117" fmla="*/ 191269 w 3362066"/>
                <a:gd name="connsiteY117" fmla="*/ 1850386 h 3391524"/>
                <a:gd name="connsiteX118" fmla="*/ 212326 w 3362066"/>
                <a:gd name="connsiteY118" fmla="*/ 1991304 h 3391524"/>
                <a:gd name="connsiteX119" fmla="*/ 235664 w 3362066"/>
                <a:gd name="connsiteY119" fmla="*/ 2085719 h 3391524"/>
                <a:gd name="connsiteX120" fmla="*/ 223447 w 3362066"/>
                <a:gd name="connsiteY120" fmla="*/ 2076943 h 3391524"/>
                <a:gd name="connsiteX121" fmla="*/ 65563 w 3362066"/>
                <a:gd name="connsiteY121" fmla="*/ 1921896 h 3391524"/>
                <a:gd name="connsiteX122" fmla="*/ 7652 w 3362066"/>
                <a:gd name="connsiteY122" fmla="*/ 1847299 h 3391524"/>
                <a:gd name="connsiteX123" fmla="*/ 0 w 3362066"/>
                <a:gd name="connsiteY123" fmla="*/ 1695762 h 3391524"/>
                <a:gd name="connsiteX124" fmla="*/ 1695762 w 3362066"/>
                <a:gd name="connsiteY124"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294999 w 3362066"/>
                <a:gd name="connsiteY87" fmla="*/ 306828 h 3391524"/>
                <a:gd name="connsiteX88" fmla="*/ 2221829 w 3362066"/>
                <a:gd name="connsiteY88" fmla="*/ 279343 h 3391524"/>
                <a:gd name="connsiteX89" fmla="*/ 2434620 w 3362066"/>
                <a:gd name="connsiteY89" fmla="*/ 620472 h 3391524"/>
                <a:gd name="connsiteX90" fmla="*/ 2479189 w 3362066"/>
                <a:gd name="connsiteY90" fmla="*/ 728039 h 3391524"/>
                <a:gd name="connsiteX91" fmla="*/ 2375112 w 3362066"/>
                <a:gd name="connsiteY91" fmla="*/ 764890 h 3391524"/>
                <a:gd name="connsiteX92" fmla="*/ 2349822 w 3362066"/>
                <a:gd name="connsiteY92" fmla="*/ 700898 h 3391524"/>
                <a:gd name="connsiteX93" fmla="*/ 2034904 w 3362066"/>
                <a:gd name="connsiteY93" fmla="*/ 256318 h 3391524"/>
                <a:gd name="connsiteX94" fmla="*/ 1967195 w 3362066"/>
                <a:gd name="connsiteY94" fmla="*/ 209428 h 3391524"/>
                <a:gd name="connsiteX95" fmla="*/ 1869416 w 3362066"/>
                <a:gd name="connsiteY95" fmla="*/ 193323 h 3391524"/>
                <a:gd name="connsiteX96" fmla="*/ 1732947 w 3362066"/>
                <a:gd name="connsiteY96" fmla="*/ 185573 h 3391524"/>
                <a:gd name="connsiteX97" fmla="*/ 1732947 w 3362066"/>
                <a:gd name="connsiteY97" fmla="*/ 818129 h 3391524"/>
                <a:gd name="connsiteX98" fmla="*/ 2039422 w 3362066"/>
                <a:gd name="connsiteY98" fmla="*/ 826847 h 3391524"/>
                <a:gd name="connsiteX99" fmla="*/ 1919541 w 3362066"/>
                <a:gd name="connsiteY99" fmla="*/ 1019749 h 3391524"/>
                <a:gd name="connsiteX100" fmla="*/ 1732947 w 3362066"/>
                <a:gd name="connsiteY100" fmla="*/ 1018941 h 3391524"/>
                <a:gd name="connsiteX101" fmla="*/ 1732947 w 3362066"/>
                <a:gd name="connsiteY101" fmla="*/ 1596595 h 3391524"/>
                <a:gd name="connsiteX102" fmla="*/ 2063964 w 3362066"/>
                <a:gd name="connsiteY102" fmla="*/ 1596595 h 3391524"/>
                <a:gd name="connsiteX103" fmla="*/ 1924258 w 3362066"/>
                <a:gd name="connsiteY103" fmla="*/ 1712711 h 3391524"/>
                <a:gd name="connsiteX104" fmla="*/ 1815019 w 3362066"/>
                <a:gd name="connsiteY104" fmla="*/ 1797408 h 3391524"/>
                <a:gd name="connsiteX105" fmla="*/ 1732947 w 3362066"/>
                <a:gd name="connsiteY105" fmla="*/ 1797408 h 3391524"/>
                <a:gd name="connsiteX106" fmla="*/ 1732947 w 3362066"/>
                <a:gd name="connsiteY106" fmla="*/ 1858449 h 3391524"/>
                <a:gd name="connsiteX107" fmla="*/ 1658571 w 3362066"/>
                <a:gd name="connsiteY107" fmla="*/ 1910772 h 3391524"/>
                <a:gd name="connsiteX108" fmla="*/ 1658571 w 3362066"/>
                <a:gd name="connsiteY108" fmla="*/ 1797408 h 3391524"/>
                <a:gd name="connsiteX109" fmla="*/ 896447 w 3362066"/>
                <a:gd name="connsiteY109" fmla="*/ 1797408 h 3391524"/>
                <a:gd name="connsiteX110" fmla="*/ 907564 w 3362066"/>
                <a:gd name="connsiteY110" fmla="*/ 2006064 h 3391524"/>
                <a:gd name="connsiteX111" fmla="*/ 946467 w 3362066"/>
                <a:gd name="connsiteY111" fmla="*/ 2243192 h 3391524"/>
                <a:gd name="connsiteX112" fmla="*/ 837993 w 3362066"/>
                <a:gd name="connsiteY112" fmla="*/ 2260760 h 3391524"/>
                <a:gd name="connsiteX113" fmla="*/ 810325 w 3362066"/>
                <a:gd name="connsiteY113" fmla="*/ 2113048 h 3391524"/>
                <a:gd name="connsiteX114" fmla="*/ 785757 w 3362066"/>
                <a:gd name="connsiteY114" fmla="*/ 1864280 h 3391524"/>
                <a:gd name="connsiteX115" fmla="*/ 783886 w 3362066"/>
                <a:gd name="connsiteY115" fmla="*/ 1797408 h 3391524"/>
                <a:gd name="connsiteX116" fmla="*/ 188594 w 3362066"/>
                <a:gd name="connsiteY116" fmla="*/ 1797408 h 3391524"/>
                <a:gd name="connsiteX117" fmla="*/ 191269 w 3362066"/>
                <a:gd name="connsiteY117" fmla="*/ 1850386 h 3391524"/>
                <a:gd name="connsiteX118" fmla="*/ 212326 w 3362066"/>
                <a:gd name="connsiteY118" fmla="*/ 1991304 h 3391524"/>
                <a:gd name="connsiteX119" fmla="*/ 235664 w 3362066"/>
                <a:gd name="connsiteY119" fmla="*/ 2085719 h 3391524"/>
                <a:gd name="connsiteX120" fmla="*/ 223447 w 3362066"/>
                <a:gd name="connsiteY120" fmla="*/ 2076943 h 3391524"/>
                <a:gd name="connsiteX121" fmla="*/ 65563 w 3362066"/>
                <a:gd name="connsiteY121" fmla="*/ 1921896 h 3391524"/>
                <a:gd name="connsiteX122" fmla="*/ 7652 w 3362066"/>
                <a:gd name="connsiteY122" fmla="*/ 1847299 h 3391524"/>
                <a:gd name="connsiteX123" fmla="*/ 0 w 3362066"/>
                <a:gd name="connsiteY123" fmla="*/ 1695762 h 3391524"/>
                <a:gd name="connsiteX124" fmla="*/ 1695762 w 3362066"/>
                <a:gd name="connsiteY124"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294999 w 3362066"/>
                <a:gd name="connsiteY87" fmla="*/ 306828 h 3391524"/>
                <a:gd name="connsiteX88" fmla="*/ 2221829 w 3362066"/>
                <a:gd name="connsiteY88" fmla="*/ 279343 h 3391524"/>
                <a:gd name="connsiteX89" fmla="*/ 2434620 w 3362066"/>
                <a:gd name="connsiteY89" fmla="*/ 620472 h 3391524"/>
                <a:gd name="connsiteX90" fmla="*/ 2479189 w 3362066"/>
                <a:gd name="connsiteY90" fmla="*/ 728039 h 3391524"/>
                <a:gd name="connsiteX91" fmla="*/ 2375112 w 3362066"/>
                <a:gd name="connsiteY91" fmla="*/ 764890 h 3391524"/>
                <a:gd name="connsiteX92" fmla="*/ 2349822 w 3362066"/>
                <a:gd name="connsiteY92" fmla="*/ 700898 h 3391524"/>
                <a:gd name="connsiteX93" fmla="*/ 2034904 w 3362066"/>
                <a:gd name="connsiteY93" fmla="*/ 256318 h 3391524"/>
                <a:gd name="connsiteX94" fmla="*/ 1967195 w 3362066"/>
                <a:gd name="connsiteY94" fmla="*/ 209428 h 3391524"/>
                <a:gd name="connsiteX95" fmla="*/ 1869416 w 3362066"/>
                <a:gd name="connsiteY95" fmla="*/ 193323 h 3391524"/>
                <a:gd name="connsiteX96" fmla="*/ 1732947 w 3362066"/>
                <a:gd name="connsiteY96" fmla="*/ 185573 h 3391524"/>
                <a:gd name="connsiteX97" fmla="*/ 1732947 w 3362066"/>
                <a:gd name="connsiteY97" fmla="*/ 818129 h 3391524"/>
                <a:gd name="connsiteX98" fmla="*/ 2039422 w 3362066"/>
                <a:gd name="connsiteY98" fmla="*/ 811348 h 3391524"/>
                <a:gd name="connsiteX99" fmla="*/ 1919541 w 3362066"/>
                <a:gd name="connsiteY99" fmla="*/ 1019749 h 3391524"/>
                <a:gd name="connsiteX100" fmla="*/ 1732947 w 3362066"/>
                <a:gd name="connsiteY100" fmla="*/ 1018941 h 3391524"/>
                <a:gd name="connsiteX101" fmla="*/ 1732947 w 3362066"/>
                <a:gd name="connsiteY101" fmla="*/ 1596595 h 3391524"/>
                <a:gd name="connsiteX102" fmla="*/ 2063964 w 3362066"/>
                <a:gd name="connsiteY102" fmla="*/ 1596595 h 3391524"/>
                <a:gd name="connsiteX103" fmla="*/ 1924258 w 3362066"/>
                <a:gd name="connsiteY103" fmla="*/ 1712711 h 3391524"/>
                <a:gd name="connsiteX104" fmla="*/ 1815019 w 3362066"/>
                <a:gd name="connsiteY104" fmla="*/ 1797408 h 3391524"/>
                <a:gd name="connsiteX105" fmla="*/ 1732947 w 3362066"/>
                <a:gd name="connsiteY105" fmla="*/ 1797408 h 3391524"/>
                <a:gd name="connsiteX106" fmla="*/ 1732947 w 3362066"/>
                <a:gd name="connsiteY106" fmla="*/ 1858449 h 3391524"/>
                <a:gd name="connsiteX107" fmla="*/ 1658571 w 3362066"/>
                <a:gd name="connsiteY107" fmla="*/ 1910772 h 3391524"/>
                <a:gd name="connsiteX108" fmla="*/ 1658571 w 3362066"/>
                <a:gd name="connsiteY108" fmla="*/ 1797408 h 3391524"/>
                <a:gd name="connsiteX109" fmla="*/ 896447 w 3362066"/>
                <a:gd name="connsiteY109" fmla="*/ 1797408 h 3391524"/>
                <a:gd name="connsiteX110" fmla="*/ 907564 w 3362066"/>
                <a:gd name="connsiteY110" fmla="*/ 2006064 h 3391524"/>
                <a:gd name="connsiteX111" fmla="*/ 946467 w 3362066"/>
                <a:gd name="connsiteY111" fmla="*/ 2243192 h 3391524"/>
                <a:gd name="connsiteX112" fmla="*/ 837993 w 3362066"/>
                <a:gd name="connsiteY112" fmla="*/ 2260760 h 3391524"/>
                <a:gd name="connsiteX113" fmla="*/ 810325 w 3362066"/>
                <a:gd name="connsiteY113" fmla="*/ 2113048 h 3391524"/>
                <a:gd name="connsiteX114" fmla="*/ 785757 w 3362066"/>
                <a:gd name="connsiteY114" fmla="*/ 1864280 h 3391524"/>
                <a:gd name="connsiteX115" fmla="*/ 783886 w 3362066"/>
                <a:gd name="connsiteY115" fmla="*/ 1797408 h 3391524"/>
                <a:gd name="connsiteX116" fmla="*/ 188594 w 3362066"/>
                <a:gd name="connsiteY116" fmla="*/ 1797408 h 3391524"/>
                <a:gd name="connsiteX117" fmla="*/ 191269 w 3362066"/>
                <a:gd name="connsiteY117" fmla="*/ 1850386 h 3391524"/>
                <a:gd name="connsiteX118" fmla="*/ 212326 w 3362066"/>
                <a:gd name="connsiteY118" fmla="*/ 1991304 h 3391524"/>
                <a:gd name="connsiteX119" fmla="*/ 235664 w 3362066"/>
                <a:gd name="connsiteY119" fmla="*/ 2085719 h 3391524"/>
                <a:gd name="connsiteX120" fmla="*/ 223447 w 3362066"/>
                <a:gd name="connsiteY120" fmla="*/ 2076943 h 3391524"/>
                <a:gd name="connsiteX121" fmla="*/ 65563 w 3362066"/>
                <a:gd name="connsiteY121" fmla="*/ 1921896 h 3391524"/>
                <a:gd name="connsiteX122" fmla="*/ 7652 w 3362066"/>
                <a:gd name="connsiteY122" fmla="*/ 1847299 h 3391524"/>
                <a:gd name="connsiteX123" fmla="*/ 0 w 3362066"/>
                <a:gd name="connsiteY123" fmla="*/ 1695762 h 3391524"/>
                <a:gd name="connsiteX124" fmla="*/ 1695762 w 3362066"/>
                <a:gd name="connsiteY124"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042618 w 3362066"/>
                <a:gd name="connsiteY47" fmla="*/ 2384240 h 3391524"/>
                <a:gd name="connsiteX48" fmla="*/ 3179199 w 3362066"/>
                <a:gd name="connsiteY48" fmla="*/ 1991304 h 3391524"/>
                <a:gd name="connsiteX49" fmla="*/ 3197400 w 3362066"/>
                <a:gd name="connsiteY49" fmla="*/ 1869492 h 3391524"/>
                <a:gd name="connsiteX50" fmla="*/ 974651 w 3362066"/>
                <a:gd name="connsiteY50" fmla="*/ 1018941 h 3391524"/>
                <a:gd name="connsiteX51" fmla="*/ 955549 w 3362066"/>
                <a:gd name="connsiteY51" fmla="*/ 1085530 h 3391524"/>
                <a:gd name="connsiteX52" fmla="*/ 907564 w 3362066"/>
                <a:gd name="connsiteY52" fmla="*/ 1378013 h 3391524"/>
                <a:gd name="connsiteX53" fmla="*/ 895917 w 3362066"/>
                <a:gd name="connsiteY53" fmla="*/ 1596595 h 3391524"/>
                <a:gd name="connsiteX54" fmla="*/ 1658571 w 3362066"/>
                <a:gd name="connsiteY54" fmla="*/ 1596595 h 3391524"/>
                <a:gd name="connsiteX55" fmla="*/ 1658571 w 3362066"/>
                <a:gd name="connsiteY55" fmla="*/ 1018941 h 3391524"/>
                <a:gd name="connsiteX56" fmla="*/ 974651 w 3362066"/>
                <a:gd name="connsiteY56" fmla="*/ 1018941 h 3391524"/>
                <a:gd name="connsiteX57" fmla="*/ 344777 w 3362066"/>
                <a:gd name="connsiteY57" fmla="*/ 1018941 h 3391524"/>
                <a:gd name="connsiteX58" fmla="*/ 302306 w 3362066"/>
                <a:gd name="connsiteY58" fmla="*/ 1107107 h 3391524"/>
                <a:gd name="connsiteX59" fmla="*/ 191269 w 3362066"/>
                <a:gd name="connsiteY59" fmla="*/ 1541138 h 3391524"/>
                <a:gd name="connsiteX60" fmla="*/ 188469 w 3362066"/>
                <a:gd name="connsiteY60" fmla="*/ 1596595 h 3391524"/>
                <a:gd name="connsiteX61" fmla="*/ 783608 w 3362066"/>
                <a:gd name="connsiteY61" fmla="*/ 1596595 h 3391524"/>
                <a:gd name="connsiteX62" fmla="*/ 785757 w 3362066"/>
                <a:gd name="connsiteY62" fmla="*/ 1519797 h 3391524"/>
                <a:gd name="connsiteX63" fmla="*/ 854291 w 3362066"/>
                <a:gd name="connsiteY63" fmla="*/ 1036313 h 3391524"/>
                <a:gd name="connsiteX64" fmla="*/ 858928 w 3362066"/>
                <a:gd name="connsiteY64" fmla="*/ 1018941 h 3391524"/>
                <a:gd name="connsiteX65" fmla="*/ 344777 w 3362066"/>
                <a:gd name="connsiteY65" fmla="*/ 1018941 h 3391524"/>
                <a:gd name="connsiteX66" fmla="*/ 1226253 w 3362066"/>
                <a:gd name="connsiteY66" fmla="*/ 258097 h 3391524"/>
                <a:gd name="connsiteX67" fmla="*/ 1096526 w 3362066"/>
                <a:gd name="connsiteY67" fmla="*/ 306828 h 3391524"/>
                <a:gd name="connsiteX68" fmla="*/ 528798 w 3362066"/>
                <a:gd name="connsiteY68" fmla="*/ 733798 h 3391524"/>
                <a:gd name="connsiteX69" fmla="*/ 465736 w 3362066"/>
                <a:gd name="connsiteY69" fmla="*/ 818129 h 3391524"/>
                <a:gd name="connsiteX70" fmla="*/ 917471 w 3362066"/>
                <a:gd name="connsiteY70" fmla="*/ 818129 h 3391524"/>
                <a:gd name="connsiteX71" fmla="*/ 940351 w 3362066"/>
                <a:gd name="connsiteY71" fmla="*/ 750159 h 3391524"/>
                <a:gd name="connsiteX72" fmla="*/ 1192472 w 3362066"/>
                <a:gd name="connsiteY72" fmla="*/ 295136 h 3391524"/>
                <a:gd name="connsiteX73" fmla="*/ 1226253 w 3362066"/>
                <a:gd name="connsiteY73" fmla="*/ 258097 h 3391524"/>
                <a:gd name="connsiteX74" fmla="*/ 1658571 w 3362066"/>
                <a:gd name="connsiteY74" fmla="*/ 185574 h 3391524"/>
                <a:gd name="connsiteX75" fmla="*/ 1522109 w 3362066"/>
                <a:gd name="connsiteY75" fmla="*/ 193323 h 3391524"/>
                <a:gd name="connsiteX76" fmla="*/ 1475452 w 3362066"/>
                <a:gd name="connsiteY76" fmla="*/ 201008 h 3391524"/>
                <a:gd name="connsiteX77" fmla="*/ 1469463 w 3362066"/>
                <a:gd name="connsiteY77" fmla="*/ 203922 h 3391524"/>
                <a:gd name="connsiteX78" fmla="*/ 1078885 w 3362066"/>
                <a:gd name="connsiteY78" fmla="*/ 700898 h 3391524"/>
                <a:gd name="connsiteX79" fmla="*/ 1032553 w 3362066"/>
                <a:gd name="connsiteY79" fmla="*/ 818129 h 3391524"/>
                <a:gd name="connsiteX80" fmla="*/ 1658571 w 3362066"/>
                <a:gd name="connsiteY80" fmla="*/ 818129 h 3391524"/>
                <a:gd name="connsiteX81" fmla="*/ 1658571 w 3362066"/>
                <a:gd name="connsiteY81" fmla="*/ 185574 h 3391524"/>
                <a:gd name="connsiteX82" fmla="*/ 1695762 w 3362066"/>
                <a:gd name="connsiteY82" fmla="*/ 0 h 3391524"/>
                <a:gd name="connsiteX83" fmla="*/ 2894847 w 3362066"/>
                <a:gd name="connsiteY83" fmla="*/ 496677 h 3391524"/>
                <a:gd name="connsiteX84" fmla="*/ 2952732 w 3362066"/>
                <a:gd name="connsiteY84" fmla="*/ 560367 h 3391524"/>
                <a:gd name="connsiteX85" fmla="*/ 2763757 w 3362066"/>
                <a:gd name="connsiteY85" fmla="*/ 627279 h 3391524"/>
                <a:gd name="connsiteX86" fmla="*/ 2294999 w 3362066"/>
                <a:gd name="connsiteY86" fmla="*/ 306828 h 3391524"/>
                <a:gd name="connsiteX87" fmla="*/ 2221829 w 3362066"/>
                <a:gd name="connsiteY87" fmla="*/ 279343 h 3391524"/>
                <a:gd name="connsiteX88" fmla="*/ 2434620 w 3362066"/>
                <a:gd name="connsiteY88" fmla="*/ 620472 h 3391524"/>
                <a:gd name="connsiteX89" fmla="*/ 2479189 w 3362066"/>
                <a:gd name="connsiteY89" fmla="*/ 728039 h 3391524"/>
                <a:gd name="connsiteX90" fmla="*/ 2375112 w 3362066"/>
                <a:gd name="connsiteY90" fmla="*/ 764890 h 3391524"/>
                <a:gd name="connsiteX91" fmla="*/ 2349822 w 3362066"/>
                <a:gd name="connsiteY91" fmla="*/ 700898 h 3391524"/>
                <a:gd name="connsiteX92" fmla="*/ 2034904 w 3362066"/>
                <a:gd name="connsiteY92" fmla="*/ 256318 h 3391524"/>
                <a:gd name="connsiteX93" fmla="*/ 1967195 w 3362066"/>
                <a:gd name="connsiteY93" fmla="*/ 209428 h 3391524"/>
                <a:gd name="connsiteX94" fmla="*/ 1869416 w 3362066"/>
                <a:gd name="connsiteY94" fmla="*/ 193323 h 3391524"/>
                <a:gd name="connsiteX95" fmla="*/ 1732947 w 3362066"/>
                <a:gd name="connsiteY95" fmla="*/ 185573 h 3391524"/>
                <a:gd name="connsiteX96" fmla="*/ 1732947 w 3362066"/>
                <a:gd name="connsiteY96" fmla="*/ 818129 h 3391524"/>
                <a:gd name="connsiteX97" fmla="*/ 2039422 w 3362066"/>
                <a:gd name="connsiteY97" fmla="*/ 811348 h 3391524"/>
                <a:gd name="connsiteX98" fmla="*/ 1919541 w 3362066"/>
                <a:gd name="connsiteY98" fmla="*/ 1019749 h 3391524"/>
                <a:gd name="connsiteX99" fmla="*/ 1732947 w 3362066"/>
                <a:gd name="connsiteY99" fmla="*/ 1018941 h 3391524"/>
                <a:gd name="connsiteX100" fmla="*/ 1732947 w 3362066"/>
                <a:gd name="connsiteY100" fmla="*/ 1596595 h 3391524"/>
                <a:gd name="connsiteX101" fmla="*/ 2063964 w 3362066"/>
                <a:gd name="connsiteY101" fmla="*/ 1596595 h 3391524"/>
                <a:gd name="connsiteX102" fmla="*/ 1924258 w 3362066"/>
                <a:gd name="connsiteY102" fmla="*/ 1712711 h 3391524"/>
                <a:gd name="connsiteX103" fmla="*/ 1815019 w 3362066"/>
                <a:gd name="connsiteY103" fmla="*/ 1797408 h 3391524"/>
                <a:gd name="connsiteX104" fmla="*/ 1732947 w 3362066"/>
                <a:gd name="connsiteY104" fmla="*/ 1797408 h 3391524"/>
                <a:gd name="connsiteX105" fmla="*/ 1732947 w 3362066"/>
                <a:gd name="connsiteY105" fmla="*/ 1858449 h 3391524"/>
                <a:gd name="connsiteX106" fmla="*/ 1658571 w 3362066"/>
                <a:gd name="connsiteY106" fmla="*/ 1910772 h 3391524"/>
                <a:gd name="connsiteX107" fmla="*/ 1658571 w 3362066"/>
                <a:gd name="connsiteY107" fmla="*/ 1797408 h 3391524"/>
                <a:gd name="connsiteX108" fmla="*/ 896447 w 3362066"/>
                <a:gd name="connsiteY108" fmla="*/ 1797408 h 3391524"/>
                <a:gd name="connsiteX109" fmla="*/ 907564 w 3362066"/>
                <a:gd name="connsiteY109" fmla="*/ 2006064 h 3391524"/>
                <a:gd name="connsiteX110" fmla="*/ 946467 w 3362066"/>
                <a:gd name="connsiteY110" fmla="*/ 2243192 h 3391524"/>
                <a:gd name="connsiteX111" fmla="*/ 837993 w 3362066"/>
                <a:gd name="connsiteY111" fmla="*/ 2260760 h 3391524"/>
                <a:gd name="connsiteX112" fmla="*/ 810325 w 3362066"/>
                <a:gd name="connsiteY112" fmla="*/ 2113048 h 3391524"/>
                <a:gd name="connsiteX113" fmla="*/ 785757 w 3362066"/>
                <a:gd name="connsiteY113" fmla="*/ 1864280 h 3391524"/>
                <a:gd name="connsiteX114" fmla="*/ 783886 w 3362066"/>
                <a:gd name="connsiteY114" fmla="*/ 1797408 h 3391524"/>
                <a:gd name="connsiteX115" fmla="*/ 188594 w 3362066"/>
                <a:gd name="connsiteY115" fmla="*/ 1797408 h 3391524"/>
                <a:gd name="connsiteX116" fmla="*/ 191269 w 3362066"/>
                <a:gd name="connsiteY116" fmla="*/ 1850386 h 3391524"/>
                <a:gd name="connsiteX117" fmla="*/ 212326 w 3362066"/>
                <a:gd name="connsiteY117" fmla="*/ 1991304 h 3391524"/>
                <a:gd name="connsiteX118" fmla="*/ 235664 w 3362066"/>
                <a:gd name="connsiteY118" fmla="*/ 2085719 h 3391524"/>
                <a:gd name="connsiteX119" fmla="*/ 223447 w 3362066"/>
                <a:gd name="connsiteY119" fmla="*/ 2076943 h 3391524"/>
                <a:gd name="connsiteX120" fmla="*/ 65563 w 3362066"/>
                <a:gd name="connsiteY120" fmla="*/ 1921896 h 3391524"/>
                <a:gd name="connsiteX121" fmla="*/ 7652 w 3362066"/>
                <a:gd name="connsiteY121" fmla="*/ 1847299 h 3391524"/>
                <a:gd name="connsiteX122" fmla="*/ 0 w 3362066"/>
                <a:gd name="connsiteY122" fmla="*/ 1695762 h 3391524"/>
                <a:gd name="connsiteX123" fmla="*/ 1695762 w 3362066"/>
                <a:gd name="connsiteY123"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7564 w 3362066"/>
                <a:gd name="connsiteY108" fmla="*/ 2006064 h 3391524"/>
                <a:gd name="connsiteX109" fmla="*/ 946467 w 3362066"/>
                <a:gd name="connsiteY109" fmla="*/ 2243192 h 3391524"/>
                <a:gd name="connsiteX110" fmla="*/ 837993 w 3362066"/>
                <a:gd name="connsiteY110" fmla="*/ 2260760 h 3391524"/>
                <a:gd name="connsiteX111" fmla="*/ 810325 w 3362066"/>
                <a:gd name="connsiteY111" fmla="*/ 2113048 h 3391524"/>
                <a:gd name="connsiteX112" fmla="*/ 785757 w 3362066"/>
                <a:gd name="connsiteY112" fmla="*/ 1864280 h 3391524"/>
                <a:gd name="connsiteX113" fmla="*/ 783886 w 3362066"/>
                <a:gd name="connsiteY113" fmla="*/ 1797408 h 3391524"/>
                <a:gd name="connsiteX114" fmla="*/ 188594 w 3362066"/>
                <a:gd name="connsiteY114" fmla="*/ 1797408 h 3391524"/>
                <a:gd name="connsiteX115" fmla="*/ 191269 w 3362066"/>
                <a:gd name="connsiteY115" fmla="*/ 1850386 h 3391524"/>
                <a:gd name="connsiteX116" fmla="*/ 212326 w 3362066"/>
                <a:gd name="connsiteY116" fmla="*/ 1991304 h 3391524"/>
                <a:gd name="connsiteX117" fmla="*/ 235664 w 3362066"/>
                <a:gd name="connsiteY117" fmla="*/ 2085719 h 3391524"/>
                <a:gd name="connsiteX118" fmla="*/ 223447 w 3362066"/>
                <a:gd name="connsiteY118" fmla="*/ 2076943 h 3391524"/>
                <a:gd name="connsiteX119" fmla="*/ 65563 w 3362066"/>
                <a:gd name="connsiteY119" fmla="*/ 1921896 h 3391524"/>
                <a:gd name="connsiteX120" fmla="*/ 7652 w 3362066"/>
                <a:gd name="connsiteY120" fmla="*/ 1847299 h 3391524"/>
                <a:gd name="connsiteX121" fmla="*/ 0 w 3362066"/>
                <a:gd name="connsiteY121" fmla="*/ 1695762 h 3391524"/>
                <a:gd name="connsiteX122" fmla="*/ 1695762 w 3362066"/>
                <a:gd name="connsiteY122"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7564 w 3362066"/>
                <a:gd name="connsiteY108" fmla="*/ 2006064 h 3391524"/>
                <a:gd name="connsiteX109" fmla="*/ 946467 w 3362066"/>
                <a:gd name="connsiteY109" fmla="*/ 2243192 h 3391524"/>
                <a:gd name="connsiteX110" fmla="*/ 837993 w 3362066"/>
                <a:gd name="connsiteY110" fmla="*/ 2260760 h 3391524"/>
                <a:gd name="connsiteX111" fmla="*/ 810325 w 3362066"/>
                <a:gd name="connsiteY111" fmla="*/ 2113048 h 3391524"/>
                <a:gd name="connsiteX112" fmla="*/ 785757 w 3362066"/>
                <a:gd name="connsiteY112" fmla="*/ 1864280 h 3391524"/>
                <a:gd name="connsiteX113" fmla="*/ 783886 w 3362066"/>
                <a:gd name="connsiteY113" fmla="*/ 1797408 h 3391524"/>
                <a:gd name="connsiteX114" fmla="*/ 188594 w 3362066"/>
                <a:gd name="connsiteY114" fmla="*/ 1797408 h 3391524"/>
                <a:gd name="connsiteX115" fmla="*/ 191269 w 3362066"/>
                <a:gd name="connsiteY115" fmla="*/ 1850386 h 3391524"/>
                <a:gd name="connsiteX116" fmla="*/ 212326 w 3362066"/>
                <a:gd name="connsiteY116" fmla="*/ 1991304 h 3391524"/>
                <a:gd name="connsiteX117" fmla="*/ 235664 w 3362066"/>
                <a:gd name="connsiteY117" fmla="*/ 2085719 h 3391524"/>
                <a:gd name="connsiteX118" fmla="*/ 223447 w 3362066"/>
                <a:gd name="connsiteY118" fmla="*/ 2076943 h 3391524"/>
                <a:gd name="connsiteX119" fmla="*/ 65563 w 3362066"/>
                <a:gd name="connsiteY119" fmla="*/ 1921896 h 3391524"/>
                <a:gd name="connsiteX120" fmla="*/ 7652 w 3362066"/>
                <a:gd name="connsiteY120" fmla="*/ 1847299 h 3391524"/>
                <a:gd name="connsiteX121" fmla="*/ 0 w 3362066"/>
                <a:gd name="connsiteY121" fmla="*/ 1695762 h 3391524"/>
                <a:gd name="connsiteX122" fmla="*/ 1695762 w 3362066"/>
                <a:gd name="connsiteY122"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7564 w 3362066"/>
                <a:gd name="connsiteY108" fmla="*/ 2006064 h 3391524"/>
                <a:gd name="connsiteX109" fmla="*/ 946467 w 3362066"/>
                <a:gd name="connsiteY109" fmla="*/ 2243192 h 3391524"/>
                <a:gd name="connsiteX110" fmla="*/ 837993 w 3362066"/>
                <a:gd name="connsiteY110" fmla="*/ 2260760 h 3391524"/>
                <a:gd name="connsiteX111" fmla="*/ 810325 w 3362066"/>
                <a:gd name="connsiteY111" fmla="*/ 2113048 h 3391524"/>
                <a:gd name="connsiteX112" fmla="*/ 785757 w 3362066"/>
                <a:gd name="connsiteY112" fmla="*/ 1864280 h 3391524"/>
                <a:gd name="connsiteX113" fmla="*/ 783886 w 3362066"/>
                <a:gd name="connsiteY113" fmla="*/ 1797408 h 3391524"/>
                <a:gd name="connsiteX114" fmla="*/ 188594 w 3362066"/>
                <a:gd name="connsiteY114" fmla="*/ 1797408 h 3391524"/>
                <a:gd name="connsiteX115" fmla="*/ 191269 w 3362066"/>
                <a:gd name="connsiteY115" fmla="*/ 1850386 h 3391524"/>
                <a:gd name="connsiteX116" fmla="*/ 212326 w 3362066"/>
                <a:gd name="connsiteY116" fmla="*/ 1991304 h 3391524"/>
                <a:gd name="connsiteX117" fmla="*/ 235664 w 3362066"/>
                <a:gd name="connsiteY117" fmla="*/ 2085719 h 3391524"/>
                <a:gd name="connsiteX118" fmla="*/ 223447 w 3362066"/>
                <a:gd name="connsiteY118" fmla="*/ 2076943 h 3391524"/>
                <a:gd name="connsiteX119" fmla="*/ 65563 w 3362066"/>
                <a:gd name="connsiteY119" fmla="*/ 1921896 h 3391524"/>
                <a:gd name="connsiteX120" fmla="*/ 7652 w 3362066"/>
                <a:gd name="connsiteY120" fmla="*/ 1847299 h 3391524"/>
                <a:gd name="connsiteX121" fmla="*/ 0 w 3362066"/>
                <a:gd name="connsiteY121" fmla="*/ 1695762 h 3391524"/>
                <a:gd name="connsiteX122" fmla="*/ 1695762 w 3362066"/>
                <a:gd name="connsiteY122"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7564 w 3362066"/>
                <a:gd name="connsiteY108" fmla="*/ 2006064 h 3391524"/>
                <a:gd name="connsiteX109" fmla="*/ 946467 w 3362066"/>
                <a:gd name="connsiteY109" fmla="*/ 2243192 h 3391524"/>
                <a:gd name="connsiteX110" fmla="*/ 765667 w 3362066"/>
                <a:gd name="connsiteY110" fmla="*/ 2265926 h 3391524"/>
                <a:gd name="connsiteX111" fmla="*/ 810325 w 3362066"/>
                <a:gd name="connsiteY111" fmla="*/ 2113048 h 3391524"/>
                <a:gd name="connsiteX112" fmla="*/ 785757 w 3362066"/>
                <a:gd name="connsiteY112" fmla="*/ 1864280 h 3391524"/>
                <a:gd name="connsiteX113" fmla="*/ 783886 w 3362066"/>
                <a:gd name="connsiteY113" fmla="*/ 1797408 h 3391524"/>
                <a:gd name="connsiteX114" fmla="*/ 188594 w 3362066"/>
                <a:gd name="connsiteY114" fmla="*/ 1797408 h 3391524"/>
                <a:gd name="connsiteX115" fmla="*/ 191269 w 3362066"/>
                <a:gd name="connsiteY115" fmla="*/ 1850386 h 3391524"/>
                <a:gd name="connsiteX116" fmla="*/ 212326 w 3362066"/>
                <a:gd name="connsiteY116" fmla="*/ 1991304 h 3391524"/>
                <a:gd name="connsiteX117" fmla="*/ 235664 w 3362066"/>
                <a:gd name="connsiteY117" fmla="*/ 2085719 h 3391524"/>
                <a:gd name="connsiteX118" fmla="*/ 223447 w 3362066"/>
                <a:gd name="connsiteY118" fmla="*/ 2076943 h 3391524"/>
                <a:gd name="connsiteX119" fmla="*/ 65563 w 3362066"/>
                <a:gd name="connsiteY119" fmla="*/ 1921896 h 3391524"/>
                <a:gd name="connsiteX120" fmla="*/ 7652 w 3362066"/>
                <a:gd name="connsiteY120" fmla="*/ 1847299 h 3391524"/>
                <a:gd name="connsiteX121" fmla="*/ 0 w 3362066"/>
                <a:gd name="connsiteY121" fmla="*/ 1695762 h 3391524"/>
                <a:gd name="connsiteX122" fmla="*/ 1695762 w 3362066"/>
                <a:gd name="connsiteY122"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7564 w 3362066"/>
                <a:gd name="connsiteY108" fmla="*/ 2006064 h 3391524"/>
                <a:gd name="connsiteX109" fmla="*/ 946467 w 3362066"/>
                <a:gd name="connsiteY109" fmla="*/ 2243192 h 3391524"/>
                <a:gd name="connsiteX110" fmla="*/ 765667 w 3362066"/>
                <a:gd name="connsiteY110" fmla="*/ 2265926 h 3391524"/>
                <a:gd name="connsiteX111" fmla="*/ 785757 w 3362066"/>
                <a:gd name="connsiteY111" fmla="*/ 1864280 h 3391524"/>
                <a:gd name="connsiteX112" fmla="*/ 783886 w 3362066"/>
                <a:gd name="connsiteY112" fmla="*/ 1797408 h 3391524"/>
                <a:gd name="connsiteX113" fmla="*/ 188594 w 3362066"/>
                <a:gd name="connsiteY113" fmla="*/ 1797408 h 3391524"/>
                <a:gd name="connsiteX114" fmla="*/ 191269 w 3362066"/>
                <a:gd name="connsiteY114" fmla="*/ 1850386 h 3391524"/>
                <a:gd name="connsiteX115" fmla="*/ 212326 w 3362066"/>
                <a:gd name="connsiteY115" fmla="*/ 1991304 h 3391524"/>
                <a:gd name="connsiteX116" fmla="*/ 235664 w 3362066"/>
                <a:gd name="connsiteY116" fmla="*/ 2085719 h 3391524"/>
                <a:gd name="connsiteX117" fmla="*/ 223447 w 3362066"/>
                <a:gd name="connsiteY117" fmla="*/ 2076943 h 3391524"/>
                <a:gd name="connsiteX118" fmla="*/ 65563 w 3362066"/>
                <a:gd name="connsiteY118" fmla="*/ 1921896 h 3391524"/>
                <a:gd name="connsiteX119" fmla="*/ 7652 w 3362066"/>
                <a:gd name="connsiteY119" fmla="*/ 1847299 h 3391524"/>
                <a:gd name="connsiteX120" fmla="*/ 0 w 3362066"/>
                <a:gd name="connsiteY120" fmla="*/ 1695762 h 3391524"/>
                <a:gd name="connsiteX121" fmla="*/ 1695762 w 3362066"/>
                <a:gd name="connsiteY121"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7564 w 3362066"/>
                <a:gd name="connsiteY108" fmla="*/ 2006064 h 3391524"/>
                <a:gd name="connsiteX109" fmla="*/ 946467 w 3362066"/>
                <a:gd name="connsiteY109" fmla="*/ 2243192 h 3391524"/>
                <a:gd name="connsiteX110" fmla="*/ 791497 w 3362066"/>
                <a:gd name="connsiteY110" fmla="*/ 2271092 h 3391524"/>
                <a:gd name="connsiteX111" fmla="*/ 785757 w 3362066"/>
                <a:gd name="connsiteY111" fmla="*/ 1864280 h 3391524"/>
                <a:gd name="connsiteX112" fmla="*/ 783886 w 3362066"/>
                <a:gd name="connsiteY112" fmla="*/ 1797408 h 3391524"/>
                <a:gd name="connsiteX113" fmla="*/ 188594 w 3362066"/>
                <a:gd name="connsiteY113" fmla="*/ 1797408 h 3391524"/>
                <a:gd name="connsiteX114" fmla="*/ 191269 w 3362066"/>
                <a:gd name="connsiteY114" fmla="*/ 1850386 h 3391524"/>
                <a:gd name="connsiteX115" fmla="*/ 212326 w 3362066"/>
                <a:gd name="connsiteY115" fmla="*/ 1991304 h 3391524"/>
                <a:gd name="connsiteX116" fmla="*/ 235664 w 3362066"/>
                <a:gd name="connsiteY116" fmla="*/ 2085719 h 3391524"/>
                <a:gd name="connsiteX117" fmla="*/ 223447 w 3362066"/>
                <a:gd name="connsiteY117" fmla="*/ 2076943 h 3391524"/>
                <a:gd name="connsiteX118" fmla="*/ 65563 w 3362066"/>
                <a:gd name="connsiteY118" fmla="*/ 1921896 h 3391524"/>
                <a:gd name="connsiteX119" fmla="*/ 7652 w 3362066"/>
                <a:gd name="connsiteY119" fmla="*/ 1847299 h 3391524"/>
                <a:gd name="connsiteX120" fmla="*/ 0 w 3362066"/>
                <a:gd name="connsiteY120" fmla="*/ 1695762 h 3391524"/>
                <a:gd name="connsiteX121" fmla="*/ 1695762 w 3362066"/>
                <a:gd name="connsiteY121"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7564 w 3362066"/>
                <a:gd name="connsiteY108" fmla="*/ 2006064 h 3391524"/>
                <a:gd name="connsiteX109" fmla="*/ 910304 w 3362066"/>
                <a:gd name="connsiteY109" fmla="*/ 2243192 h 3391524"/>
                <a:gd name="connsiteX110" fmla="*/ 791497 w 3362066"/>
                <a:gd name="connsiteY110" fmla="*/ 2271092 h 3391524"/>
                <a:gd name="connsiteX111" fmla="*/ 785757 w 3362066"/>
                <a:gd name="connsiteY111" fmla="*/ 1864280 h 3391524"/>
                <a:gd name="connsiteX112" fmla="*/ 783886 w 3362066"/>
                <a:gd name="connsiteY112" fmla="*/ 1797408 h 3391524"/>
                <a:gd name="connsiteX113" fmla="*/ 188594 w 3362066"/>
                <a:gd name="connsiteY113" fmla="*/ 1797408 h 3391524"/>
                <a:gd name="connsiteX114" fmla="*/ 191269 w 3362066"/>
                <a:gd name="connsiteY114" fmla="*/ 1850386 h 3391524"/>
                <a:gd name="connsiteX115" fmla="*/ 212326 w 3362066"/>
                <a:gd name="connsiteY115" fmla="*/ 1991304 h 3391524"/>
                <a:gd name="connsiteX116" fmla="*/ 235664 w 3362066"/>
                <a:gd name="connsiteY116" fmla="*/ 2085719 h 3391524"/>
                <a:gd name="connsiteX117" fmla="*/ 223447 w 3362066"/>
                <a:gd name="connsiteY117" fmla="*/ 2076943 h 3391524"/>
                <a:gd name="connsiteX118" fmla="*/ 65563 w 3362066"/>
                <a:gd name="connsiteY118" fmla="*/ 1921896 h 3391524"/>
                <a:gd name="connsiteX119" fmla="*/ 7652 w 3362066"/>
                <a:gd name="connsiteY119" fmla="*/ 1847299 h 3391524"/>
                <a:gd name="connsiteX120" fmla="*/ 0 w 3362066"/>
                <a:gd name="connsiteY120" fmla="*/ 1695762 h 3391524"/>
                <a:gd name="connsiteX121" fmla="*/ 1695762 w 3362066"/>
                <a:gd name="connsiteY121"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0304 w 3362066"/>
                <a:gd name="connsiteY108" fmla="*/ 2243192 h 3391524"/>
                <a:gd name="connsiteX109" fmla="*/ 791497 w 3362066"/>
                <a:gd name="connsiteY109" fmla="*/ 2271092 h 3391524"/>
                <a:gd name="connsiteX110" fmla="*/ 785757 w 3362066"/>
                <a:gd name="connsiteY110" fmla="*/ 1864280 h 3391524"/>
                <a:gd name="connsiteX111" fmla="*/ 783886 w 3362066"/>
                <a:gd name="connsiteY111" fmla="*/ 1797408 h 3391524"/>
                <a:gd name="connsiteX112" fmla="*/ 188594 w 3362066"/>
                <a:gd name="connsiteY112" fmla="*/ 1797408 h 3391524"/>
                <a:gd name="connsiteX113" fmla="*/ 191269 w 3362066"/>
                <a:gd name="connsiteY113" fmla="*/ 1850386 h 3391524"/>
                <a:gd name="connsiteX114" fmla="*/ 212326 w 3362066"/>
                <a:gd name="connsiteY114" fmla="*/ 1991304 h 3391524"/>
                <a:gd name="connsiteX115" fmla="*/ 235664 w 3362066"/>
                <a:gd name="connsiteY115" fmla="*/ 2085719 h 3391524"/>
                <a:gd name="connsiteX116" fmla="*/ 223447 w 3362066"/>
                <a:gd name="connsiteY116" fmla="*/ 2076943 h 3391524"/>
                <a:gd name="connsiteX117" fmla="*/ 65563 w 3362066"/>
                <a:gd name="connsiteY117" fmla="*/ 1921896 h 3391524"/>
                <a:gd name="connsiteX118" fmla="*/ 7652 w 3362066"/>
                <a:gd name="connsiteY118" fmla="*/ 1847299 h 3391524"/>
                <a:gd name="connsiteX119" fmla="*/ 0 w 3362066"/>
                <a:gd name="connsiteY119" fmla="*/ 1695762 h 3391524"/>
                <a:gd name="connsiteX120" fmla="*/ 1695762 w 3362066"/>
                <a:gd name="connsiteY120"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0304 w 3362066"/>
                <a:gd name="connsiteY108" fmla="*/ 2243192 h 3391524"/>
                <a:gd name="connsiteX109" fmla="*/ 786331 w 3362066"/>
                <a:gd name="connsiteY109" fmla="*/ 2271092 h 3391524"/>
                <a:gd name="connsiteX110" fmla="*/ 785757 w 3362066"/>
                <a:gd name="connsiteY110" fmla="*/ 1864280 h 3391524"/>
                <a:gd name="connsiteX111" fmla="*/ 783886 w 3362066"/>
                <a:gd name="connsiteY111" fmla="*/ 1797408 h 3391524"/>
                <a:gd name="connsiteX112" fmla="*/ 188594 w 3362066"/>
                <a:gd name="connsiteY112" fmla="*/ 1797408 h 3391524"/>
                <a:gd name="connsiteX113" fmla="*/ 191269 w 3362066"/>
                <a:gd name="connsiteY113" fmla="*/ 1850386 h 3391524"/>
                <a:gd name="connsiteX114" fmla="*/ 212326 w 3362066"/>
                <a:gd name="connsiteY114" fmla="*/ 1991304 h 3391524"/>
                <a:gd name="connsiteX115" fmla="*/ 235664 w 3362066"/>
                <a:gd name="connsiteY115" fmla="*/ 2085719 h 3391524"/>
                <a:gd name="connsiteX116" fmla="*/ 223447 w 3362066"/>
                <a:gd name="connsiteY116" fmla="*/ 2076943 h 3391524"/>
                <a:gd name="connsiteX117" fmla="*/ 65563 w 3362066"/>
                <a:gd name="connsiteY117" fmla="*/ 1921896 h 3391524"/>
                <a:gd name="connsiteX118" fmla="*/ 7652 w 3362066"/>
                <a:gd name="connsiteY118" fmla="*/ 1847299 h 3391524"/>
                <a:gd name="connsiteX119" fmla="*/ 0 w 3362066"/>
                <a:gd name="connsiteY119" fmla="*/ 1695762 h 3391524"/>
                <a:gd name="connsiteX120" fmla="*/ 1695762 w 3362066"/>
                <a:gd name="connsiteY120"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5757 w 3362066"/>
                <a:gd name="connsiteY110" fmla="*/ 1864280 h 3391524"/>
                <a:gd name="connsiteX111" fmla="*/ 783886 w 3362066"/>
                <a:gd name="connsiteY111" fmla="*/ 1797408 h 3391524"/>
                <a:gd name="connsiteX112" fmla="*/ 188594 w 3362066"/>
                <a:gd name="connsiteY112" fmla="*/ 1797408 h 3391524"/>
                <a:gd name="connsiteX113" fmla="*/ 191269 w 3362066"/>
                <a:gd name="connsiteY113" fmla="*/ 1850386 h 3391524"/>
                <a:gd name="connsiteX114" fmla="*/ 212326 w 3362066"/>
                <a:gd name="connsiteY114" fmla="*/ 1991304 h 3391524"/>
                <a:gd name="connsiteX115" fmla="*/ 235664 w 3362066"/>
                <a:gd name="connsiteY115" fmla="*/ 2085719 h 3391524"/>
                <a:gd name="connsiteX116" fmla="*/ 223447 w 3362066"/>
                <a:gd name="connsiteY116" fmla="*/ 2076943 h 3391524"/>
                <a:gd name="connsiteX117" fmla="*/ 65563 w 3362066"/>
                <a:gd name="connsiteY117" fmla="*/ 1921896 h 3391524"/>
                <a:gd name="connsiteX118" fmla="*/ 7652 w 3362066"/>
                <a:gd name="connsiteY118" fmla="*/ 1847299 h 3391524"/>
                <a:gd name="connsiteX119" fmla="*/ 0 w 3362066"/>
                <a:gd name="connsiteY119" fmla="*/ 1695762 h 3391524"/>
                <a:gd name="connsiteX120" fmla="*/ 1695762 w 3362066"/>
                <a:gd name="connsiteY120"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5138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5138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3362066" h="3391524">
                  <a:moveTo>
                    <a:pt x="2502887" y="2590747"/>
                  </a:moveTo>
                  <a:lnTo>
                    <a:pt x="2488354" y="2633919"/>
                  </a:lnTo>
                  <a:cubicBezTo>
                    <a:pt x="2421258" y="2813162"/>
                    <a:pt x="2335549" y="2967848"/>
                    <a:pt x="2236234" y="3088942"/>
                  </a:cubicBezTo>
                  <a:lnTo>
                    <a:pt x="2211102" y="3116497"/>
                  </a:lnTo>
                  <a:lnTo>
                    <a:pt x="2317868" y="3074590"/>
                  </a:lnTo>
                  <a:cubicBezTo>
                    <a:pt x="2546872" y="2971105"/>
                    <a:pt x="2745492" y="2812245"/>
                    <a:pt x="2896651" y="2615085"/>
                  </a:cubicBezTo>
                  <a:lnTo>
                    <a:pt x="2913629" y="2590747"/>
                  </a:lnTo>
                  <a:lnTo>
                    <a:pt x="2502887" y="2590747"/>
                  </a:lnTo>
                  <a:close/>
                  <a:moveTo>
                    <a:pt x="3197400" y="1869492"/>
                  </a:moveTo>
                  <a:lnTo>
                    <a:pt x="3362066" y="2004799"/>
                  </a:lnTo>
                  <a:lnTo>
                    <a:pt x="3357072" y="2037517"/>
                  </a:lnTo>
                  <a:cubicBezTo>
                    <a:pt x="3198949" y="2810247"/>
                    <a:pt x="2515237" y="3391524"/>
                    <a:pt x="1695762" y="3391524"/>
                  </a:cubicBezTo>
                  <a:cubicBezTo>
                    <a:pt x="1227491" y="3391524"/>
                    <a:pt x="803550" y="3201719"/>
                    <a:pt x="496678" y="2894847"/>
                  </a:cubicBezTo>
                  <a:lnTo>
                    <a:pt x="402889" y="2791653"/>
                  </a:lnTo>
                  <a:lnTo>
                    <a:pt x="459383" y="2806055"/>
                  </a:lnTo>
                  <a:cubicBezTo>
                    <a:pt x="512766" y="2817216"/>
                    <a:pt x="567687" y="2826291"/>
                    <a:pt x="623945" y="2833135"/>
                  </a:cubicBezTo>
                  <a:lnTo>
                    <a:pt x="713228" y="2840220"/>
                  </a:lnTo>
                  <a:lnTo>
                    <a:pt x="814530" y="2924921"/>
                  </a:lnTo>
                  <a:cubicBezTo>
                    <a:pt x="935708" y="3011953"/>
                    <a:pt x="1070284" y="3081509"/>
                    <a:pt x="1214569" y="3129900"/>
                  </a:cubicBezTo>
                  <a:lnTo>
                    <a:pt x="1235048" y="3135624"/>
                  </a:lnTo>
                  <a:lnTo>
                    <a:pt x="1192472" y="3088942"/>
                  </a:lnTo>
                  <a:cubicBezTo>
                    <a:pt x="1142814" y="3028395"/>
                    <a:pt x="1096558" y="2959450"/>
                    <a:pt x="1054329" y="2883236"/>
                  </a:cubicBezTo>
                  <a:lnTo>
                    <a:pt x="1033273" y="2841425"/>
                  </a:lnTo>
                  <a:lnTo>
                    <a:pt x="1153493" y="2831247"/>
                  </a:lnTo>
                  <a:lnTo>
                    <a:pt x="1160637" y="2845425"/>
                  </a:lnTo>
                  <a:cubicBezTo>
                    <a:pt x="1248385" y="2996325"/>
                    <a:pt x="1353422" y="3111867"/>
                    <a:pt x="1469463" y="3180157"/>
                  </a:cubicBezTo>
                  <a:lnTo>
                    <a:pt x="1499316" y="3194679"/>
                  </a:lnTo>
                  <a:lnTo>
                    <a:pt x="1658571" y="3205864"/>
                  </a:lnTo>
                  <a:lnTo>
                    <a:pt x="1658571" y="2711266"/>
                  </a:lnTo>
                  <a:lnTo>
                    <a:pt x="1732947" y="2685985"/>
                  </a:lnTo>
                  <a:lnTo>
                    <a:pt x="1732947" y="3205864"/>
                  </a:lnTo>
                  <a:lnTo>
                    <a:pt x="1876534" y="3197371"/>
                  </a:lnTo>
                  <a:lnTo>
                    <a:pt x="1949663" y="3184816"/>
                  </a:lnTo>
                  <a:lnTo>
                    <a:pt x="1959242" y="3180157"/>
                  </a:lnTo>
                  <a:cubicBezTo>
                    <a:pt x="2113964" y="3089103"/>
                    <a:pt x="2249123" y="2914046"/>
                    <a:pt x="2349822" y="2683179"/>
                  </a:cubicBezTo>
                  <a:lnTo>
                    <a:pt x="2386352" y="2590747"/>
                  </a:lnTo>
                  <a:lnTo>
                    <a:pt x="1949981" y="2590747"/>
                  </a:lnTo>
                  <a:lnTo>
                    <a:pt x="2128828" y="2495286"/>
                  </a:lnTo>
                  <a:lnTo>
                    <a:pt x="2292703" y="2389935"/>
                  </a:lnTo>
                  <a:lnTo>
                    <a:pt x="2446941" y="2389935"/>
                  </a:lnTo>
                  <a:lnTo>
                    <a:pt x="2473156" y="2298549"/>
                  </a:lnTo>
                  <a:lnTo>
                    <a:pt x="2481168" y="2249714"/>
                  </a:lnTo>
                  <a:lnTo>
                    <a:pt x="2513452" y="2225081"/>
                  </a:lnTo>
                  <a:lnTo>
                    <a:pt x="2614348" y="2134578"/>
                  </a:lnTo>
                  <a:lnTo>
                    <a:pt x="2574415" y="2347764"/>
                  </a:lnTo>
                  <a:lnTo>
                    <a:pt x="2563159" y="2389935"/>
                  </a:lnTo>
                  <a:lnTo>
                    <a:pt x="3039367" y="2389935"/>
                  </a:lnTo>
                  <a:cubicBezTo>
                    <a:pt x="3142805" y="2251892"/>
                    <a:pt x="3153252" y="2129347"/>
                    <a:pt x="3179199" y="1991304"/>
                  </a:cubicBezTo>
                  <a:lnTo>
                    <a:pt x="3197400" y="1869492"/>
                  </a:lnTo>
                  <a:close/>
                  <a:moveTo>
                    <a:pt x="974651" y="1018941"/>
                  </a:moveTo>
                  <a:lnTo>
                    <a:pt x="955549" y="1085530"/>
                  </a:lnTo>
                  <a:cubicBezTo>
                    <a:pt x="934712" y="1178738"/>
                    <a:pt x="918533" y="1276581"/>
                    <a:pt x="907564" y="1378013"/>
                  </a:cubicBezTo>
                  <a:lnTo>
                    <a:pt x="895917" y="1596595"/>
                  </a:lnTo>
                  <a:lnTo>
                    <a:pt x="1658571" y="1596595"/>
                  </a:lnTo>
                  <a:lnTo>
                    <a:pt x="1658571" y="1018941"/>
                  </a:lnTo>
                  <a:lnTo>
                    <a:pt x="974651" y="1018941"/>
                  </a:lnTo>
                  <a:close/>
                  <a:moveTo>
                    <a:pt x="344777" y="1018941"/>
                  </a:moveTo>
                  <a:lnTo>
                    <a:pt x="302306" y="1107107"/>
                  </a:lnTo>
                  <a:cubicBezTo>
                    <a:pt x="244911" y="1242803"/>
                    <a:pt x="206758" y="1388621"/>
                    <a:pt x="191269" y="1541138"/>
                  </a:cubicBezTo>
                  <a:lnTo>
                    <a:pt x="188469" y="1596595"/>
                  </a:lnTo>
                  <a:lnTo>
                    <a:pt x="783608" y="1596595"/>
                  </a:lnTo>
                  <a:cubicBezTo>
                    <a:pt x="784324" y="1570996"/>
                    <a:pt x="785041" y="1545396"/>
                    <a:pt x="785757" y="1519797"/>
                  </a:cubicBezTo>
                  <a:cubicBezTo>
                    <a:pt x="795318" y="1349903"/>
                    <a:pt x="818865" y="1187471"/>
                    <a:pt x="854291" y="1036313"/>
                  </a:cubicBezTo>
                  <a:lnTo>
                    <a:pt x="858928" y="1018941"/>
                  </a:lnTo>
                  <a:lnTo>
                    <a:pt x="344777" y="1018941"/>
                  </a:lnTo>
                  <a:close/>
                  <a:moveTo>
                    <a:pt x="1226253" y="258097"/>
                  </a:moveTo>
                  <a:lnTo>
                    <a:pt x="1096526" y="306828"/>
                  </a:lnTo>
                  <a:cubicBezTo>
                    <a:pt x="874766" y="402633"/>
                    <a:pt x="680488" y="549991"/>
                    <a:pt x="528798" y="733798"/>
                  </a:cubicBezTo>
                  <a:lnTo>
                    <a:pt x="465736" y="818129"/>
                  </a:lnTo>
                  <a:lnTo>
                    <a:pt x="917471" y="818129"/>
                  </a:lnTo>
                  <a:lnTo>
                    <a:pt x="940351" y="750159"/>
                  </a:lnTo>
                  <a:cubicBezTo>
                    <a:pt x="1007447" y="570915"/>
                    <a:pt x="1093156" y="416230"/>
                    <a:pt x="1192472" y="295136"/>
                  </a:cubicBezTo>
                  <a:lnTo>
                    <a:pt x="1226253" y="258097"/>
                  </a:lnTo>
                  <a:close/>
                  <a:moveTo>
                    <a:pt x="1658571" y="185574"/>
                  </a:moveTo>
                  <a:lnTo>
                    <a:pt x="1522109" y="193323"/>
                  </a:lnTo>
                  <a:lnTo>
                    <a:pt x="1475452" y="201008"/>
                  </a:lnTo>
                  <a:lnTo>
                    <a:pt x="1469463" y="203922"/>
                  </a:lnTo>
                  <a:cubicBezTo>
                    <a:pt x="1314742" y="294976"/>
                    <a:pt x="1179582" y="470033"/>
                    <a:pt x="1078885" y="700898"/>
                  </a:cubicBezTo>
                  <a:lnTo>
                    <a:pt x="1032553" y="818129"/>
                  </a:lnTo>
                  <a:lnTo>
                    <a:pt x="1658571" y="818129"/>
                  </a:lnTo>
                  <a:lnTo>
                    <a:pt x="1658571" y="185574"/>
                  </a:lnTo>
                  <a:close/>
                  <a:moveTo>
                    <a:pt x="1695762" y="0"/>
                  </a:moveTo>
                  <a:cubicBezTo>
                    <a:pt x="2164034" y="0"/>
                    <a:pt x="2587974" y="189805"/>
                    <a:pt x="2894847" y="496677"/>
                  </a:cubicBezTo>
                  <a:lnTo>
                    <a:pt x="2952732" y="560367"/>
                  </a:lnTo>
                  <a:lnTo>
                    <a:pt x="2763757" y="627279"/>
                  </a:lnTo>
                  <a:lnTo>
                    <a:pt x="2294999" y="306828"/>
                  </a:lnTo>
                  <a:lnTo>
                    <a:pt x="2221829" y="279343"/>
                  </a:lnTo>
                  <a:lnTo>
                    <a:pt x="2434620" y="620472"/>
                  </a:lnTo>
                  <a:lnTo>
                    <a:pt x="2479189" y="728039"/>
                  </a:lnTo>
                  <a:lnTo>
                    <a:pt x="2375112" y="764890"/>
                  </a:lnTo>
                  <a:lnTo>
                    <a:pt x="2349822" y="700898"/>
                  </a:lnTo>
                  <a:cubicBezTo>
                    <a:pt x="2265907" y="508510"/>
                    <a:pt x="2158060" y="354878"/>
                    <a:pt x="2034904" y="256318"/>
                  </a:cubicBezTo>
                  <a:lnTo>
                    <a:pt x="1967195" y="209428"/>
                  </a:lnTo>
                  <a:lnTo>
                    <a:pt x="1869416" y="193323"/>
                  </a:lnTo>
                  <a:lnTo>
                    <a:pt x="1732947" y="185573"/>
                  </a:lnTo>
                  <a:lnTo>
                    <a:pt x="1732947" y="818129"/>
                  </a:lnTo>
                  <a:lnTo>
                    <a:pt x="2039422" y="811348"/>
                  </a:lnTo>
                  <a:lnTo>
                    <a:pt x="1919541" y="1019749"/>
                  </a:lnTo>
                  <a:lnTo>
                    <a:pt x="1732947" y="1018941"/>
                  </a:lnTo>
                  <a:lnTo>
                    <a:pt x="1732947" y="1596595"/>
                  </a:lnTo>
                  <a:lnTo>
                    <a:pt x="2063964" y="1596595"/>
                  </a:lnTo>
                  <a:lnTo>
                    <a:pt x="1924258" y="1712711"/>
                  </a:lnTo>
                  <a:lnTo>
                    <a:pt x="1815019" y="1797408"/>
                  </a:lnTo>
                  <a:lnTo>
                    <a:pt x="1732947" y="1797408"/>
                  </a:lnTo>
                  <a:lnTo>
                    <a:pt x="1732947" y="1858449"/>
                  </a:lnTo>
                  <a:lnTo>
                    <a:pt x="1658571" y="1910772"/>
                  </a:lnTo>
                  <a:lnTo>
                    <a:pt x="1658571" y="1797408"/>
                  </a:lnTo>
                  <a:lnTo>
                    <a:pt x="896447" y="1797408"/>
                  </a:lnTo>
                  <a:cubicBezTo>
                    <a:pt x="890557" y="2011190"/>
                    <a:pt x="896799" y="1993764"/>
                    <a:pt x="905138" y="2263856"/>
                  </a:cubicBezTo>
                  <a:lnTo>
                    <a:pt x="786331" y="2271092"/>
                  </a:lnTo>
                  <a:cubicBezTo>
                    <a:pt x="795397" y="2095195"/>
                    <a:pt x="785353" y="2041670"/>
                    <a:pt x="783886" y="1797408"/>
                  </a:cubicBezTo>
                  <a:lnTo>
                    <a:pt x="188594" y="1797408"/>
                  </a:lnTo>
                  <a:lnTo>
                    <a:pt x="191269" y="1850386"/>
                  </a:lnTo>
                  <a:cubicBezTo>
                    <a:pt x="196110" y="1898048"/>
                    <a:pt x="203163" y="1945056"/>
                    <a:pt x="212326" y="1991304"/>
                  </a:cubicBezTo>
                  <a:lnTo>
                    <a:pt x="235664" y="2085719"/>
                  </a:lnTo>
                  <a:lnTo>
                    <a:pt x="223447" y="2076943"/>
                  </a:lnTo>
                  <a:cubicBezTo>
                    <a:pt x="169529" y="2033757"/>
                    <a:pt x="116809" y="1982344"/>
                    <a:pt x="65563" y="1921896"/>
                  </a:cubicBezTo>
                  <a:lnTo>
                    <a:pt x="7652" y="1847299"/>
                  </a:lnTo>
                  <a:lnTo>
                    <a:pt x="0" y="1695762"/>
                  </a:lnTo>
                  <a:cubicBezTo>
                    <a:pt x="0" y="759219"/>
                    <a:pt x="759219" y="0"/>
                    <a:pt x="1695762"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a:cs typeface="Arial" panose="020B0604020202020204" pitchFamily="34" charset="0"/>
              </a:endParaRPr>
            </a:p>
          </p:txBody>
        </p:sp>
        <p:sp>
          <p:nvSpPr>
            <p:cNvPr id="23" name="Freeform 9">
              <a:extLst>
                <a:ext uri="{FF2B5EF4-FFF2-40B4-BE49-F238E27FC236}">
                  <a16:creationId xmlns:a16="http://schemas.microsoft.com/office/drawing/2014/main" id="{44243EAA-315F-4BED-B5EC-7E270B2C8D0E}"/>
                </a:ext>
              </a:extLst>
            </p:cNvPr>
            <p:cNvSpPr/>
            <p:nvPr/>
          </p:nvSpPr>
          <p:spPr>
            <a:xfrm rot="4481485">
              <a:off x="5227748" y="461417"/>
              <a:ext cx="173465" cy="415840"/>
            </a:xfrm>
            <a:custGeom>
              <a:avLst/>
              <a:gdLst>
                <a:gd name="connsiteX0" fmla="*/ 0 w 1479755"/>
                <a:gd name="connsiteY0" fmla="*/ 0 h 3714855"/>
                <a:gd name="connsiteX1" fmla="*/ 1188936 w 1479755"/>
                <a:gd name="connsiteY1" fmla="*/ 331910 h 3714855"/>
                <a:gd name="connsiteX2" fmla="*/ 864813 w 1479755"/>
                <a:gd name="connsiteY2" fmla="*/ 589079 h 3714855"/>
                <a:gd name="connsiteX3" fmla="*/ 1050997 w 1479755"/>
                <a:gd name="connsiteY3" fmla="*/ 925282 h 3714855"/>
                <a:gd name="connsiteX4" fmla="*/ 1050747 w 1479755"/>
                <a:gd name="connsiteY4" fmla="*/ 3592169 h 3714855"/>
                <a:gd name="connsiteX5" fmla="*/ 592836 w 1479755"/>
                <a:gd name="connsiteY5" fmla="*/ 3713710 h 3714855"/>
                <a:gd name="connsiteX6" fmla="*/ 485076 w 1479755"/>
                <a:gd name="connsiteY6" fmla="*/ 951998 h 3714855"/>
                <a:gd name="connsiteX7" fmla="*/ 463706 w 1479755"/>
                <a:gd name="connsiteY7" fmla="*/ 907329 h 3714855"/>
                <a:gd name="connsiteX8" fmla="*/ 88282 w 1479755"/>
                <a:gd name="connsiteY8" fmla="*/ 1205202 h 3714855"/>
                <a:gd name="connsiteX0" fmla="*/ 0 w 1479755"/>
                <a:gd name="connsiteY0" fmla="*/ 0 h 3718276"/>
                <a:gd name="connsiteX1" fmla="*/ 1188936 w 1479755"/>
                <a:gd name="connsiteY1" fmla="*/ 331910 h 3718276"/>
                <a:gd name="connsiteX2" fmla="*/ 864813 w 1479755"/>
                <a:gd name="connsiteY2" fmla="*/ 589079 h 3718276"/>
                <a:gd name="connsiteX3" fmla="*/ 1050997 w 1479755"/>
                <a:gd name="connsiteY3" fmla="*/ 925282 h 3718276"/>
                <a:gd name="connsiteX4" fmla="*/ 1050747 w 1479755"/>
                <a:gd name="connsiteY4" fmla="*/ 3592169 h 3718276"/>
                <a:gd name="connsiteX5" fmla="*/ 592836 w 1479755"/>
                <a:gd name="connsiteY5" fmla="*/ 3713710 h 3718276"/>
                <a:gd name="connsiteX6" fmla="*/ 485076 w 1479755"/>
                <a:gd name="connsiteY6" fmla="*/ 951998 h 3718276"/>
                <a:gd name="connsiteX7" fmla="*/ 463706 w 1479755"/>
                <a:gd name="connsiteY7" fmla="*/ 907329 h 3718276"/>
                <a:gd name="connsiteX8" fmla="*/ 88282 w 1479755"/>
                <a:gd name="connsiteY8" fmla="*/ 1205202 h 3718276"/>
                <a:gd name="connsiteX9" fmla="*/ 0 w 1479755"/>
                <a:gd name="connsiteY9" fmla="*/ 0 h 3718276"/>
                <a:gd name="connsiteX0" fmla="*/ 0 w 1479755"/>
                <a:gd name="connsiteY0" fmla="*/ 0 h 3725513"/>
                <a:gd name="connsiteX1" fmla="*/ 1188936 w 1479755"/>
                <a:gd name="connsiteY1" fmla="*/ 331910 h 3725513"/>
                <a:gd name="connsiteX2" fmla="*/ 864813 w 1479755"/>
                <a:gd name="connsiteY2" fmla="*/ 589079 h 3725513"/>
                <a:gd name="connsiteX3" fmla="*/ 1050997 w 1479755"/>
                <a:gd name="connsiteY3" fmla="*/ 925282 h 3725513"/>
                <a:gd name="connsiteX4" fmla="*/ 1050747 w 1479755"/>
                <a:gd name="connsiteY4" fmla="*/ 3592169 h 3725513"/>
                <a:gd name="connsiteX5" fmla="*/ 592836 w 1479755"/>
                <a:gd name="connsiteY5" fmla="*/ 3713710 h 3725513"/>
                <a:gd name="connsiteX6" fmla="*/ 485076 w 1479755"/>
                <a:gd name="connsiteY6" fmla="*/ 951998 h 3725513"/>
                <a:gd name="connsiteX7" fmla="*/ 463706 w 1479755"/>
                <a:gd name="connsiteY7" fmla="*/ 907329 h 3725513"/>
                <a:gd name="connsiteX8" fmla="*/ 88282 w 1479755"/>
                <a:gd name="connsiteY8" fmla="*/ 1205202 h 3725513"/>
                <a:gd name="connsiteX9" fmla="*/ 0 w 1479755"/>
                <a:gd name="connsiteY9" fmla="*/ 0 h 3725513"/>
                <a:gd name="connsiteX0" fmla="*/ 0 w 1479755"/>
                <a:gd name="connsiteY0" fmla="*/ 0 h 3713710"/>
                <a:gd name="connsiteX1" fmla="*/ 1188936 w 1479755"/>
                <a:gd name="connsiteY1" fmla="*/ 331910 h 3713710"/>
                <a:gd name="connsiteX2" fmla="*/ 864813 w 1479755"/>
                <a:gd name="connsiteY2" fmla="*/ 589079 h 3713710"/>
                <a:gd name="connsiteX3" fmla="*/ 1050997 w 1479755"/>
                <a:gd name="connsiteY3" fmla="*/ 925282 h 3713710"/>
                <a:gd name="connsiteX4" fmla="*/ 1050747 w 1479755"/>
                <a:gd name="connsiteY4" fmla="*/ 3592169 h 3713710"/>
                <a:gd name="connsiteX5" fmla="*/ 592836 w 1479755"/>
                <a:gd name="connsiteY5" fmla="*/ 3713710 h 3713710"/>
                <a:gd name="connsiteX6" fmla="*/ 485076 w 1479755"/>
                <a:gd name="connsiteY6" fmla="*/ 951998 h 3713710"/>
                <a:gd name="connsiteX7" fmla="*/ 463706 w 1479755"/>
                <a:gd name="connsiteY7" fmla="*/ 907329 h 3713710"/>
                <a:gd name="connsiteX8" fmla="*/ 88282 w 1479755"/>
                <a:gd name="connsiteY8" fmla="*/ 1205202 h 3713710"/>
                <a:gd name="connsiteX9" fmla="*/ 0 w 1479755"/>
                <a:gd name="connsiteY9" fmla="*/ 0 h 3713710"/>
                <a:gd name="connsiteX0" fmla="*/ 0 w 1479755"/>
                <a:gd name="connsiteY0" fmla="*/ 0 h 3713710"/>
                <a:gd name="connsiteX1" fmla="*/ 1188936 w 1479755"/>
                <a:gd name="connsiteY1" fmla="*/ 331910 h 3713710"/>
                <a:gd name="connsiteX2" fmla="*/ 864813 w 1479755"/>
                <a:gd name="connsiteY2" fmla="*/ 589079 h 3713710"/>
                <a:gd name="connsiteX3" fmla="*/ 1050997 w 1479755"/>
                <a:gd name="connsiteY3" fmla="*/ 925282 h 3713710"/>
                <a:gd name="connsiteX4" fmla="*/ 1050747 w 1479755"/>
                <a:gd name="connsiteY4" fmla="*/ 3592169 h 3713710"/>
                <a:gd name="connsiteX5" fmla="*/ 592836 w 1479755"/>
                <a:gd name="connsiteY5" fmla="*/ 3713710 h 3713710"/>
                <a:gd name="connsiteX6" fmla="*/ 485076 w 1479755"/>
                <a:gd name="connsiteY6" fmla="*/ 951998 h 3713710"/>
                <a:gd name="connsiteX7" fmla="*/ 463706 w 1479755"/>
                <a:gd name="connsiteY7" fmla="*/ 907329 h 3713710"/>
                <a:gd name="connsiteX8" fmla="*/ 88282 w 1479755"/>
                <a:gd name="connsiteY8" fmla="*/ 1205202 h 3713710"/>
                <a:gd name="connsiteX9" fmla="*/ 0 w 1479755"/>
                <a:gd name="connsiteY9" fmla="*/ 0 h 3713710"/>
                <a:gd name="connsiteX0" fmla="*/ 0 w 1472196"/>
                <a:gd name="connsiteY0" fmla="*/ 0 h 3713710"/>
                <a:gd name="connsiteX1" fmla="*/ 1188936 w 1472196"/>
                <a:gd name="connsiteY1" fmla="*/ 331910 h 3713710"/>
                <a:gd name="connsiteX2" fmla="*/ 864813 w 1472196"/>
                <a:gd name="connsiteY2" fmla="*/ 589079 h 3713710"/>
                <a:gd name="connsiteX3" fmla="*/ 1050997 w 1472196"/>
                <a:gd name="connsiteY3" fmla="*/ 925282 h 3713710"/>
                <a:gd name="connsiteX4" fmla="*/ 1037164 w 1472196"/>
                <a:gd name="connsiteY4" fmla="*/ 3583093 h 3713710"/>
                <a:gd name="connsiteX5" fmla="*/ 592836 w 1472196"/>
                <a:gd name="connsiteY5" fmla="*/ 3713710 h 3713710"/>
                <a:gd name="connsiteX6" fmla="*/ 485076 w 1472196"/>
                <a:gd name="connsiteY6" fmla="*/ 951998 h 3713710"/>
                <a:gd name="connsiteX7" fmla="*/ 463706 w 1472196"/>
                <a:gd name="connsiteY7" fmla="*/ 907329 h 3713710"/>
                <a:gd name="connsiteX8" fmla="*/ 88282 w 1472196"/>
                <a:gd name="connsiteY8" fmla="*/ 1205202 h 3713710"/>
                <a:gd name="connsiteX9" fmla="*/ 0 w 1472196"/>
                <a:gd name="connsiteY9" fmla="*/ 0 h 3713710"/>
                <a:gd name="connsiteX0" fmla="*/ 0 w 1472196"/>
                <a:gd name="connsiteY0" fmla="*/ 0 h 3717124"/>
                <a:gd name="connsiteX1" fmla="*/ 1188936 w 1472196"/>
                <a:gd name="connsiteY1" fmla="*/ 331910 h 3717124"/>
                <a:gd name="connsiteX2" fmla="*/ 864813 w 1472196"/>
                <a:gd name="connsiteY2" fmla="*/ 589079 h 3717124"/>
                <a:gd name="connsiteX3" fmla="*/ 1050997 w 1472196"/>
                <a:gd name="connsiteY3" fmla="*/ 925282 h 3717124"/>
                <a:gd name="connsiteX4" fmla="*/ 1037164 w 1472196"/>
                <a:gd name="connsiteY4" fmla="*/ 3583093 h 3717124"/>
                <a:gd name="connsiteX5" fmla="*/ 592836 w 1472196"/>
                <a:gd name="connsiteY5" fmla="*/ 3713710 h 3717124"/>
                <a:gd name="connsiteX6" fmla="*/ 485076 w 1472196"/>
                <a:gd name="connsiteY6" fmla="*/ 951998 h 3717124"/>
                <a:gd name="connsiteX7" fmla="*/ 463706 w 1472196"/>
                <a:gd name="connsiteY7" fmla="*/ 907329 h 3717124"/>
                <a:gd name="connsiteX8" fmla="*/ 88282 w 1472196"/>
                <a:gd name="connsiteY8" fmla="*/ 1205202 h 3717124"/>
                <a:gd name="connsiteX9" fmla="*/ 0 w 1472196"/>
                <a:gd name="connsiteY9" fmla="*/ 0 h 3717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2196" h="3717124">
                  <a:moveTo>
                    <a:pt x="0" y="0"/>
                  </a:moveTo>
                  <a:lnTo>
                    <a:pt x="1188936" y="331910"/>
                  </a:lnTo>
                  <a:lnTo>
                    <a:pt x="864813" y="589079"/>
                  </a:lnTo>
                  <a:lnTo>
                    <a:pt x="1050997" y="925282"/>
                  </a:lnTo>
                  <a:cubicBezTo>
                    <a:pt x="1524596" y="1867666"/>
                    <a:pt x="1699557" y="2920475"/>
                    <a:pt x="1037164" y="3583093"/>
                  </a:cubicBezTo>
                  <a:cubicBezTo>
                    <a:pt x="828853" y="3768493"/>
                    <a:pt x="723685" y="3704280"/>
                    <a:pt x="592836" y="3713710"/>
                  </a:cubicBezTo>
                  <a:cubicBezTo>
                    <a:pt x="1645275" y="3048201"/>
                    <a:pt x="875934" y="1745143"/>
                    <a:pt x="485076" y="951998"/>
                  </a:cubicBezTo>
                  <a:lnTo>
                    <a:pt x="463706" y="907329"/>
                  </a:lnTo>
                  <a:lnTo>
                    <a:pt x="88282" y="1205202"/>
                  </a:lnTo>
                  <a:lnTo>
                    <a:pt x="0" y="0"/>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a:cs typeface="Arial" panose="020B0604020202020204" pitchFamily="34" charset="0"/>
              </a:endParaRPr>
            </a:p>
          </p:txBody>
        </p:sp>
      </p:grpSp>
    </p:spTree>
    <p:extLst>
      <p:ext uri="{BB962C8B-B14F-4D97-AF65-F5344CB8AC3E}">
        <p14:creationId xmlns:p14="http://schemas.microsoft.com/office/powerpoint/2010/main" val="2950054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74BF048-2E3B-48C6-97A6-37EA65DF14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Object 5" hidden="1">
                        <a:extLst>
                          <a:ext uri="{FF2B5EF4-FFF2-40B4-BE49-F238E27FC236}">
                            <a16:creationId xmlns:a16="http://schemas.microsoft.com/office/drawing/2014/main" id="{974BF048-2E3B-48C6-97A6-37EA65DF14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342" name="Picture 6" descr="Graphical user interface, text, application, email&#10;&#10;Description automatically generated">
            <a:extLst>
              <a:ext uri="{FF2B5EF4-FFF2-40B4-BE49-F238E27FC236}">
                <a16:creationId xmlns:a16="http://schemas.microsoft.com/office/drawing/2014/main" id="{AB5311D5-A5C7-48C5-B8F5-D6F76325C3C7}"/>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251091" y="2947695"/>
            <a:ext cx="5585930" cy="3142085"/>
          </a:xfrm>
          <a:prstGeom prst="rect">
            <a:avLst/>
          </a:prstGeom>
          <a:solidFill>
            <a:srgbClr val="FFFFFF"/>
          </a:solidFill>
        </p:spPr>
      </p:pic>
      <p:pic>
        <p:nvPicPr>
          <p:cNvPr id="14338" name="Picture 2" descr="Graphical user interface, text, application, email&#10;&#10;Description automatically generated">
            <a:extLst>
              <a:ext uri="{FF2B5EF4-FFF2-40B4-BE49-F238E27FC236}">
                <a16:creationId xmlns:a16="http://schemas.microsoft.com/office/drawing/2014/main" id="{17984F2A-216D-430B-A2E6-E4E0D06FCEBA}"/>
              </a:ext>
            </a:extLst>
          </p:cNvPr>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6101278" y="2922561"/>
            <a:ext cx="5611031" cy="3156204"/>
          </a:xfrm>
          <a:prstGeom prst="rect">
            <a:avLst/>
          </a:prstGeom>
          <a:solidFill>
            <a:srgbClr val="FFFFFF"/>
          </a:solidFill>
        </p:spPr>
      </p:pic>
      <p:sp>
        <p:nvSpPr>
          <p:cNvPr id="4" name="Slide Number Placeholder 3">
            <a:extLst>
              <a:ext uri="{FF2B5EF4-FFF2-40B4-BE49-F238E27FC236}">
                <a16:creationId xmlns:a16="http://schemas.microsoft.com/office/drawing/2014/main" id="{0047577D-B9D4-4985-9537-1D2DA448B19E}"/>
              </a:ext>
            </a:extLst>
          </p:cNvPr>
          <p:cNvSpPr>
            <a:spLocks noGrp="1"/>
          </p:cNvSpPr>
          <p:nvPr>
            <p:ph type="sldNum" sz="quarter" idx="4"/>
          </p:nvPr>
        </p:nvSpPr>
        <p:spPr>
          <a:xfrm>
            <a:off x="10573200" y="6516000"/>
            <a:ext cx="1148400" cy="201600"/>
          </a:xfrm>
        </p:spPr>
        <p:txBody>
          <a:bodyPr wrap="none" anchor="t">
            <a:normAutofit/>
          </a:bodyPr>
          <a:lstStyle/>
          <a:p>
            <a:pPr>
              <a:spcAft>
                <a:spcPts val="600"/>
              </a:spcAft>
            </a:pPr>
            <a:fld id="{EA182149-5FEE-46AB-9490-B3CD4011A729}" type="slidenum">
              <a:rPr lang="en-GB" smtClean="0"/>
              <a:pPr>
                <a:spcAft>
                  <a:spcPts val="600"/>
                </a:spcAft>
              </a:pPr>
              <a:t>9</a:t>
            </a:fld>
            <a:endParaRPr lang="en-GB"/>
          </a:p>
        </p:txBody>
      </p:sp>
      <p:sp>
        <p:nvSpPr>
          <p:cNvPr id="75" name="Title 4">
            <a:extLst>
              <a:ext uri="{FF2B5EF4-FFF2-40B4-BE49-F238E27FC236}">
                <a16:creationId xmlns:a16="http://schemas.microsoft.com/office/drawing/2014/main" id="{2F227CBF-46BA-469E-AF6B-7AB59602286E}"/>
              </a:ext>
            </a:extLst>
          </p:cNvPr>
          <p:cNvSpPr>
            <a:spLocks noGrp="1"/>
          </p:cNvSpPr>
          <p:nvPr>
            <p:ph type="title"/>
          </p:nvPr>
        </p:nvSpPr>
        <p:spPr>
          <a:xfrm>
            <a:off x="252266" y="1566000"/>
            <a:ext cx="11460041" cy="504000"/>
          </a:xfrm>
        </p:spPr>
        <p:txBody>
          <a:bodyPr vert="horz"/>
          <a:lstStyle/>
          <a:p>
            <a:r>
              <a:rPr lang="lt-LT" dirty="0"/>
              <a:t>Procesų automatizavimas </a:t>
            </a:r>
            <a:r>
              <a:rPr lang="lt-LT" sz="2400" dirty="0">
                <a:solidFill>
                  <a:schemeClr val="tx1">
                    <a:lumMod val="65000"/>
                    <a:lumOff val="35000"/>
                  </a:schemeClr>
                </a:solidFill>
              </a:rPr>
              <a:t>| </a:t>
            </a:r>
            <a:r>
              <a:rPr lang="lt-LT" dirty="0">
                <a:solidFill>
                  <a:schemeClr val="accent6">
                    <a:lumMod val="60000"/>
                    <a:lumOff val="40000"/>
                  </a:schemeClr>
                </a:solidFill>
              </a:rPr>
              <a:t>Įrankiai</a:t>
            </a:r>
            <a:endParaRPr lang="en-US" dirty="0"/>
          </a:p>
        </p:txBody>
      </p:sp>
    </p:spTree>
    <p:extLst>
      <p:ext uri="{BB962C8B-B14F-4D97-AF65-F5344CB8AC3E}">
        <p14:creationId xmlns:p14="http://schemas.microsoft.com/office/powerpoint/2010/main" val="23814878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FFICATWORKEXPRESSIONTAG" val="[[MasterProperty(&quot;Contactperson&quot;,&quot;Department&quot;) &amp; &quot;\&quot; &amp; MasterProperty(&quot;Contactperson&quot;,&quot;Displayname&quot;)]]"/>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work*people*computer*sitting*offic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4Mn6o7odgNDh.ZWwqlf_A"/>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construction_POWER_USER_SEPARATOR_ICONS_work-in-progress_POWER_USER_SEPARATOR_ICONS_travaux-publics_POWER_USER_SEPARATOR_ICONS_shovel_POWER_USER_SEPARATOR_ICONS_public-works_POWER_USER_SEPARATOR_ICONS_public_POWER_USER_SEPARATOR_ICONS_progress_POWER_USER_SEPARATOR_ICONS_person_POWER_USER_SEPARATOR_ICONS_maintenance_POWER_USER_SEPARATOR_ICONS_construction-worker_POWER_USER_SEPARATOR_ICONS_worker"/>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microscope*biology*equipment*research*science*zoom*laboratory*scientist*"/>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construction_POWER_USER_SEPARATOR_ICONS_work-in-progress_POWER_USER_SEPARATOR_ICONS_travaux-publics_POWER_USER_SEPARATOR_ICONS_shovel_POWER_USER_SEPARATOR_ICONS_public-works_POWER_USER_SEPARATOR_ICONS_public_POWER_USER_SEPARATOR_ICONS_progress_POWER_USER_SEPARATOR_ICONS_person_POWER_USER_SEPARATOR_ICONS_maintenance_POWER_USER_SEPARATOR_ICONS_construction-worker_POWER_USER_SEPARATOR_ICONS_worker"/>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construction_POWER_USER_SEPARATOR_ICONS_work-in-progress_POWER_USER_SEPARATOR_ICONS_travaux-publics_POWER_USER_SEPARATOR_ICONS_shovel_POWER_USER_SEPARATOR_ICONS_public-works_POWER_USER_SEPARATOR_ICONS_public_POWER_USER_SEPARATOR_ICONS_progress_POWER_USER_SEPARATOR_ICONS_person_POWER_USER_SEPARATOR_ICONS_maintenance_POWER_USER_SEPARATOR_ICONS_construction-worker_POWER_USER_SEPARATOR_ICONS_worker"/>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construction_POWER_USER_SEPARATOR_ICONS_work-in-progress_POWER_USER_SEPARATOR_ICONS_travaux-publics_POWER_USER_SEPARATOR_ICONS_shovel_POWER_USER_SEPARATOR_ICONS_public-works_POWER_USER_SEPARATOR_ICONS_public_POWER_USER_SEPARATOR_ICONS_progress_POWER_USER_SEPARATOR_ICONS_person_POWER_USER_SEPARATOR_ICONS_maintenance_POWER_USER_SEPARATOR_ICONS_construction-worker_POWER_USER_SEPARATOR_ICONS_worker"/>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workers*people*laptop*technology*flex office*employees*geeks*hackers*developers"/>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10;"/>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team*group*people*users*work*workers*colleagues*friends*friendship*coworkers*mates*family*business"/>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customer*service*call center*customer care*hotline*people*telephone*line"/>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construction_POWER_USER_SEPARATOR_ICONS_work-in-progress_POWER_USER_SEPARATOR_ICONS_travaux-publics_POWER_USER_SEPARATOR_ICONS_shovel_POWER_USER_SEPARATOR_ICONS_public-works_POWER_USER_SEPARATOR_ICONS_public_POWER_USER_SEPARATOR_ICONS_progress_POWER_USER_SEPARATOR_ICONS_person_POWER_USER_SEPARATOR_ICONS_maintenance_POWER_USER_SEPARATOR_ICONS_construction-worker_POWER_USER_SEPARATOR_ICONS_worker"/>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job_POWER_USER_SEPARATOR_ICONS_location_POWER_USER_SEPARATOR_ICONS_office_POWER_USER_SEPARATOR_ICONS_tower"/>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job_POWER_USER_SEPARATOR_ICONS_location_POWER_USER_SEPARATOR_ICONS_office_POWER_USER_SEPARATOR_ICONS_tower"/>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job_POWER_USER_SEPARATOR_ICONS_location_POWER_USER_SEPARATOR_ICONS_office_POWER_USER_SEPARATOR_ICONS_tower"/>
</p:tagLst>
</file>

<file path=ppt/tags/tag3.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DocumentCreatedDate&quot;)=&quot;&quot;,&quot;&quot;,Translate(&quot;Doc.PPT.Created&quot;) &amp; &quot; &quot; &amp; MasterProperty(&quot;CustomField&quot;, &quot;DocumentCreatedDate&quot;))]]"/>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job_POWER_USER_SEPARATOR_ICONS_location_POWER_USER_SEPARATOR_ICONS_office_POWER_USER_SEPARATOR_ICONS_tower"/>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job_POWER_USER_SEPARATOR_ICONS_location_POWER_USER_SEPARATOR_ICONS_office_POWER_USER_SEPARATOR_ICONS_tower"/>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job_POWER_USER_SEPARATOR_ICONS_location_POWER_USER_SEPARATOR_ICONS_office_POWER_USER_SEPARATOR_ICONS_tower"/>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4.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DocumentModifiedDate&quot;)=&quot;&quot;,&quot;&quot;,Translate(&quot;Doc.PPT.Modified&quot;) &amp; &quot; &quot; &amp; MasterProperty(&quot;CustomField&quot;, &quot;DocumentModifiedDate&quot;))]]"/>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INVHcwPNTmaZR2xSSF1rV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NVHcwPNTmaZR2xSSF1rV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NVHcwPNTmaZR2xSSF1rV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Status&quot;)=&quot;&quot;,&quot;&quot;,Translate(&quot;Doc.PPT.Status&quot;) &amp; &quot; &quot; &amp; MasterProperty(&quot;CustomField&quot;, &quot;Status&quo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3DIhDFt2QJS43tvLbVXO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3DIhDFt2QJS43tvLbVXON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4Mn6o7odgNDh.ZWwqlf_A"/>
</p:tagLst>
</file>

<file path=ppt/tags/tag56.xml><?xml version="1.0" encoding="utf-8"?>
<p:tagLst xmlns:a="http://schemas.openxmlformats.org/drawingml/2006/main" xmlns:r="http://schemas.openxmlformats.org/officeDocument/2006/relationships" xmlns:p="http://schemas.openxmlformats.org/presentationml/2006/main">
  <p:tag name="POWER_USER_TAGS_ICONS" val="construction_POWER_USER_SEPARATOR_ICONS_work-in-progress_POWER_USER_SEPARATOR_ICONS_travaux-publics_POWER_USER_SEPARATOR_ICONS_shovel_POWER_USER_SEPARATOR_ICONS_public-works_POWER_USER_SEPARATOR_ICONS_public_POWER_USER_SEPARATOR_ICONS_progress_POWER_USER_SEPARATOR_ICONS_person_POWER_USER_SEPARATOR_ICONS_maintenance_POWER_USER_SEPARATOR_ICONS_construction-worker_POWER_USER_SEPARATOR_ICONS_worker"/>
</p:tagLst>
</file>

<file path=ppt/tags/tag57.xml><?xml version="1.0" encoding="utf-8"?>
<p:tagLst xmlns:a="http://schemas.openxmlformats.org/drawingml/2006/main" xmlns:r="http://schemas.openxmlformats.org/officeDocument/2006/relationships" xmlns:p="http://schemas.openxmlformats.org/presentationml/2006/main">
  <p:tag name="POWER_USER_TAGS_ICONS" val="microscope*biology*equipment*research*science*zoom*laboratory*scientist*"/>
</p:tagLst>
</file>

<file path=ppt/tags/tag58.xml><?xml version="1.0" encoding="utf-8"?>
<p:tagLst xmlns:a="http://schemas.openxmlformats.org/drawingml/2006/main" xmlns:r="http://schemas.openxmlformats.org/officeDocument/2006/relationships" xmlns:p="http://schemas.openxmlformats.org/presentationml/2006/main">
  <p:tag name="POWER_USER_TAGS_ICONS" val="construction_POWER_USER_SEPARATOR_ICONS_work-in-progress_POWER_USER_SEPARATOR_ICONS_travaux-publics_POWER_USER_SEPARATOR_ICONS_shovel_POWER_USER_SEPARATOR_ICONS_public-works_POWER_USER_SEPARATOR_ICONS_public_POWER_USER_SEPARATOR_ICONS_progress_POWER_USER_SEPARATOR_ICONS_person_POWER_USER_SEPARATOR_ICONS_maintenance_POWER_USER_SEPARATOR_ICONS_construction-worker_POWER_USER_SEPARATOR_ICONS_worker"/>
</p:tagLst>
</file>

<file path=ppt/tags/tag59.xml><?xml version="1.0" encoding="utf-8"?>
<p:tagLst xmlns:a="http://schemas.openxmlformats.org/drawingml/2006/main" xmlns:r="http://schemas.openxmlformats.org/officeDocument/2006/relationships" xmlns:p="http://schemas.openxmlformats.org/presentationml/2006/main">
  <p:tag name="POWER_USER_TAGS_ICONS" val="construction_POWER_USER_SEPARATOR_ICONS_work-in-progress_POWER_USER_SEPARATOR_ICONS_travaux-publics_POWER_USER_SEPARATOR_ICONS_shovel_POWER_USER_SEPARATOR_ICONS_public-works_POWER_USER_SEPARATOR_ICONS_public_POWER_USER_SEPARATOR_ICONS_progress_POWER_USER_SEPARATOR_ICONS_person_POWER_USER_SEPARATOR_ICONS_maintenance_POWER_USER_SEPARATOR_ICONS_construction-worker_POWER_USER_SEPARATOR_ICONS_worker"/>
</p:tagLst>
</file>

<file path=ppt/tags/tag6.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Classification&quot;)=&quot;&quot;,&quot;&quot;,Translate(&quot;Doc.PPT.Classification&quot;) &amp; &quot; &quot; &amp; MasterProperty(&quot;CustomField&quot;, &quot;Classification&quot;))]]"/>
</p:tagLst>
</file>

<file path=ppt/tags/tag60.xml><?xml version="1.0" encoding="utf-8"?>
<p:tagLst xmlns:a="http://schemas.openxmlformats.org/drawingml/2006/main" xmlns:r="http://schemas.openxmlformats.org/officeDocument/2006/relationships" xmlns:p="http://schemas.openxmlformats.org/presentationml/2006/main">
  <p:tag name="POWER_USER_TAGS_ICONS" val="construction_POWER_USER_SEPARATOR_ICONS_work-in-progress_POWER_USER_SEPARATOR_ICONS_travaux-publics_POWER_USER_SEPARATOR_ICONS_shovel_POWER_USER_SEPARATOR_ICONS_public-works_POWER_USER_SEPARATOR_ICONS_public_POWER_USER_SEPARATOR_ICONS_progress_POWER_USER_SEPARATOR_ICONS_person_POWER_USER_SEPARATOR_ICONS_maintenance_POWER_USER_SEPARATOR_ICONS_construction-worker_POWER_USER_SEPARATOR_ICONS_worker"/>
</p:tagLst>
</file>

<file path=ppt/tags/tag61.xml><?xml version="1.0" encoding="utf-8"?>
<p:tagLst xmlns:a="http://schemas.openxmlformats.org/drawingml/2006/main" xmlns:r="http://schemas.openxmlformats.org/officeDocument/2006/relationships" xmlns:p="http://schemas.openxmlformats.org/presentationml/2006/main">
  <p:tag name="POWER_USER_TAGS_ICONS" val="workers*people*laptop*technology*flex office*employees*geeks*hackers*developers"/>
</p:tagLst>
</file>

<file path=ppt/tags/tag6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4.xml><?xml version="1.0" encoding="utf-8"?>
<p:tagLst xmlns:a="http://schemas.openxmlformats.org/drawingml/2006/main" xmlns:r="http://schemas.openxmlformats.org/officeDocument/2006/relationships" xmlns:p="http://schemas.openxmlformats.org/presentationml/2006/main">
  <p:tag name="POWER_USER_TAGS_ICONS" val="team*group*people*users*work*workers*colleagues*friends*friendship*coworkers*mates*family*business"/>
</p:tagLst>
</file>

<file path=ppt/tags/tag6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6.xml><?xml version="1.0" encoding="utf-8"?>
<p:tagLst xmlns:a="http://schemas.openxmlformats.org/drawingml/2006/main" xmlns:r="http://schemas.openxmlformats.org/officeDocument/2006/relationships" xmlns:p="http://schemas.openxmlformats.org/presentationml/2006/main">
  <p:tag name="POWER_USER_TAGS_ICONS" val="customer*service*call center*customer care*hotline*people*telephone*line"/>
</p:tagLst>
</file>

<file path=ppt/tags/tag67.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6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9.xml><?xml version="1.0" encoding="utf-8"?>
<p:tagLst xmlns:a="http://schemas.openxmlformats.org/drawingml/2006/main" xmlns:r="http://schemas.openxmlformats.org/officeDocument/2006/relationships" xmlns:p="http://schemas.openxmlformats.org/presentationml/2006/main">
  <p:tag name="POWER_USER_TAGS_ICONS" val="construction_POWER_USER_SEPARATOR_ICONS_work-in-progress_POWER_USER_SEPARATOR_ICONS_travaux-publics_POWER_USER_SEPARATOR_ICONS_shovel_POWER_USER_SEPARATOR_ICONS_public-works_POWER_USER_SEPARATOR_ICONS_public_POWER_USER_SEPARATOR_ICONS_progress_POWER_USER_SEPARATOR_ICONS_person_POWER_USER_SEPARATOR_ICONS_maintenance_POWER_USER_SEPARATOR_ICONS_construction-worker_POWER_USER_SEPARATOR_ICONS_worker"/>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job_POWER_USER_SEPARATOR_ICONS_location_POWER_USER_SEPARATOR_ICONS_office_POWER_USER_SEPARATOR_ICONS_tower"/>
</p:tagLst>
</file>

<file path=ppt/tags/tag71.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job_POWER_USER_SEPARATOR_ICONS_location_POWER_USER_SEPARATOR_ICONS_office_POWER_USER_SEPARATOR_ICONS_tower"/>
</p:tagLst>
</file>

<file path=ppt/tags/tag72.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job_POWER_USER_SEPARATOR_ICONS_location_POWER_USER_SEPARATOR_ICONS_office_POWER_USER_SEPARATOR_ICONS_tower"/>
</p:tagLst>
</file>

<file path=ppt/tags/tag73.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job_POWER_USER_SEPARATOR_ICONS_location_POWER_USER_SEPARATOR_ICONS_office_POWER_USER_SEPARATOR_ICONS_tower"/>
</p:tagLst>
</file>

<file path=ppt/tags/tag74.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job_POWER_USER_SEPARATOR_ICONS_location_POWER_USER_SEPARATOR_ICONS_office_POWER_USER_SEPARATOR_ICONS_tower"/>
</p:tagLst>
</file>

<file path=ppt/tags/tag75.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job_POWER_USER_SEPARATOR_ICONS_location_POWER_USER_SEPARATOR_ICONS_office_POWER_USER_SEPARATOR_ICONS_tower"/>
</p:tagLst>
</file>

<file path=ppt/tags/tag76.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77.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78.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79.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8.xml><?xml version="1.0" encoding="utf-8"?>
<p:tagLst xmlns:a="http://schemas.openxmlformats.org/drawingml/2006/main" xmlns:r="http://schemas.openxmlformats.org/officeDocument/2006/relationships" xmlns:p="http://schemas.openxmlformats.org/presentationml/2006/main">
  <p:tag name="MM_SLIDE_TYPE" val="6"/>
</p:tagLst>
</file>

<file path=ppt/tags/tag80.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81.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82.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83.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84.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85.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INVHcwPNTmaZR2xSSF1rV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INVHcwPNTmaZR2xSSF1rVw"/>
</p:tagLst>
</file>

<file path=ppt/theme/theme1.xml><?xml version="1.0" encoding="utf-8"?>
<a:theme xmlns:a="http://schemas.openxmlformats.org/drawingml/2006/main" name="Festo 16x9">
  <a:themeElements>
    <a:clrScheme name="HKS47K">
      <a:dk1>
        <a:srgbClr val="000000"/>
      </a:dk1>
      <a:lt1>
        <a:srgbClr val="FFFFFF"/>
      </a:lt1>
      <a:dk2>
        <a:srgbClr val="000000"/>
      </a:dk2>
      <a:lt2>
        <a:srgbClr val="FFFFFF"/>
      </a:lt2>
      <a:accent1>
        <a:srgbClr val="DCEBF6"/>
      </a:accent1>
      <a:accent2>
        <a:srgbClr val="CACCCC"/>
      </a:accent2>
      <a:accent3>
        <a:srgbClr val="969A9A"/>
      </a:accent3>
      <a:accent4>
        <a:srgbClr val="626666"/>
      </a:accent4>
      <a:accent5>
        <a:srgbClr val="000000"/>
      </a:accent5>
      <a:accent6>
        <a:srgbClr val="0091DC"/>
      </a:accent6>
      <a:hlink>
        <a:srgbClr val="000000"/>
      </a:hlink>
      <a:folHlink>
        <a:srgbClr val="808080"/>
      </a:folHlink>
    </a:clrScheme>
    <a:fontScheme name="MetaPlusLF">
      <a:majorFont>
        <a:latin typeface="MetaPlusLF"/>
        <a:ea typeface=""/>
        <a:cs typeface=""/>
      </a:majorFont>
      <a:minorFont>
        <a:latin typeface="MetaPlusLF"/>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a:latin typeface="+mn-lt"/>
          </a:defRPr>
        </a:defPPr>
      </a:lstStyle>
    </a:txDef>
  </a:objectDefaults>
  <a:extraClrSchemeLst/>
  <a:extLst>
    <a:ext uri="{05A4C25C-085E-4340-85A3-A5531E510DB2}">
      <thm15:themeFamily xmlns:thm15="http://schemas.microsoft.com/office/thememl/2012/main" name="Festo 16x9.potx" id="{9BC6A407-7813-4FFF-AB1D-D56572430E7B}" vid="{0809E2E7-EFDE-4619-B439-787C684E53C2}"/>
    </a:ext>
  </a:ext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9C2923330CD8443BB93ABE8F3CD543C" ma:contentTypeVersion="6" ma:contentTypeDescription="Create a new document." ma:contentTypeScope="" ma:versionID="d0edd0614ddb82706608c3f3655c02d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2B6AA04-E876-4632-89B6-D04974D0B59B}">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F2267C69-ABD6-40F4-9C00-E70E4C06FF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D17FD018-B437-43C2-B686-DC4094D2AD4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esto 16x9</Template>
  <TotalTime>0</TotalTime>
  <Words>2039</Words>
  <Application>Microsoft Office PowerPoint</Application>
  <PresentationFormat>Custom</PresentationFormat>
  <Paragraphs>276</Paragraphs>
  <Slides>19</Slides>
  <Notes>4</Notes>
  <HiddenSlides>3</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Wingdings</vt:lpstr>
      <vt:lpstr>Arial</vt:lpstr>
      <vt:lpstr>MetaPlusLF</vt:lpstr>
      <vt:lpstr>Univers for KPMG</vt:lpstr>
      <vt:lpstr>Calibri</vt:lpstr>
      <vt:lpstr>Festo 16x9</vt:lpstr>
      <vt:lpstr>think-cell Slide</vt:lpstr>
      <vt:lpstr>PowerPoint Presentation</vt:lpstr>
      <vt:lpstr>Paslaugų centrai Lietuvoje | Pagrindiniai duomenys </vt:lpstr>
      <vt:lpstr>Global Festo ir UAB Festo duomenys | Pagrindiniai duomenys </vt:lpstr>
      <vt:lpstr>Global Festo ir UAB Festo duomenys | Pagrindiniai duomenys </vt:lpstr>
      <vt:lpstr>UAB Festo evoliucija | FSSC Finnance 2017 m.</vt:lpstr>
      <vt:lpstr>Global Festo projektas (2017 metai): Finansų ir apskaitos paslaugų centras FSSC | Paslaugų centro DNR</vt:lpstr>
      <vt:lpstr>PowerPoint Presentation</vt:lpstr>
      <vt:lpstr>PowerPoint Presentation</vt:lpstr>
      <vt:lpstr>Procesų automatizavimas | Įrankiai</vt:lpstr>
      <vt:lpstr>Procesų automatizavimas | FSSC LT Proceso efektyvumo ataskaita</vt:lpstr>
      <vt:lpstr>Procesų automatizavimas | Lygis per laikotarpį</vt:lpstr>
      <vt:lpstr>PowerPoint Presentation</vt:lpstr>
      <vt:lpstr>PowerPoint Presentation</vt:lpstr>
      <vt:lpstr>UAB Festo evoliucija | Ateities perspektyvos</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9-18T07:12:31Z</dcterms:created>
  <dcterms:modified xsi:type="dcterms:W3CDTF">2021-09-22T12:55: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C2923330CD8443BB93ABE8F3CD543C</vt:lpwstr>
  </property>
  <property fmtid="{D5CDD505-2E9C-101B-9397-08002B2CF9AE}" pid="3" name="Order">
    <vt:r8>119800</vt:r8>
  </property>
  <property fmtid="{D5CDD505-2E9C-101B-9397-08002B2CF9AE}" pid="4" name="xd_ProgID">
    <vt:lpwstr/>
  </property>
  <property fmtid="{D5CDD505-2E9C-101B-9397-08002B2CF9AE}" pid="5" name="DocumentSetDescription">
    <vt:lpwstr/>
  </property>
  <property fmtid="{D5CDD505-2E9C-101B-9397-08002B2CF9AE}" pid="6" name="TemplateUrl">
    <vt:lpwstr/>
  </property>
  <property fmtid="{D5CDD505-2E9C-101B-9397-08002B2CF9AE}" pid="7" name="RelativePath">
    <vt:lpwstr/>
  </property>
  <property fmtid="{D5CDD505-2E9C-101B-9397-08002B2CF9AE}" pid="8" name="Author">
    <vt:lpwstr>Raimonda Jankauskiene</vt:lpwstr>
  </property>
  <property fmtid="{D5CDD505-2E9C-101B-9397-08002B2CF9AE}" pid="9" name="FooterTitle">
    <vt:lpwstr>Festo patirtis skaitmenizuojant ir optimizuojant procesus</vt:lpwstr>
  </property>
  <property fmtid="{D5CDD505-2E9C-101B-9397-08002B2CF9AE}" pid="10" name="FooterLanguage">
    <vt:lpwstr>en</vt:lpwstr>
  </property>
  <property fmtid="{D5CDD505-2E9C-101B-9397-08002B2CF9AE}" pid="11" name="Created">
    <vt:lpwstr>9/21/2021 3:00:00 AM</vt:lpwstr>
  </property>
  <property fmtid="{D5CDD505-2E9C-101B-9397-08002B2CF9AE}" pid="12" name="Modified">
    <vt:lpwstr/>
  </property>
  <property fmtid="{D5CDD505-2E9C-101B-9397-08002B2CF9AE}" pid="13" name="Status">
    <vt:lpwstr>0</vt:lpwstr>
  </property>
  <property fmtid="{D5CDD505-2E9C-101B-9397-08002B2CF9AE}" pid="14" name="Security">
    <vt:lpwstr>1</vt:lpwstr>
  </property>
  <property fmtid="{D5CDD505-2E9C-101B-9397-08002B2CF9AE}" pid="15" name="MSIP_Label_9c86c25f-31f1-46f7-b4f9-3c53b1ed0b07_Enabled">
    <vt:lpwstr>True</vt:lpwstr>
  </property>
  <property fmtid="{D5CDD505-2E9C-101B-9397-08002B2CF9AE}" pid="16" name="MSIP_Label_9c86c25f-31f1-46f7-b4f9-3c53b1ed0b07_SiteId">
    <vt:lpwstr>a1ae89fb-21b9-40bf-9d82-a10ae85a2407</vt:lpwstr>
  </property>
  <property fmtid="{D5CDD505-2E9C-101B-9397-08002B2CF9AE}" pid="17" name="MSIP_Label_9c86c25f-31f1-46f7-b4f9-3c53b1ed0b07_Owner">
    <vt:lpwstr>lt0rjnk@festo.net</vt:lpwstr>
  </property>
  <property fmtid="{D5CDD505-2E9C-101B-9397-08002B2CF9AE}" pid="18" name="MSIP_Label_9c86c25f-31f1-46f7-b4f9-3c53b1ed0b07_SetDate">
    <vt:lpwstr>2020-02-13T14:00:19.0292698Z</vt:lpwstr>
  </property>
  <property fmtid="{D5CDD505-2E9C-101B-9397-08002B2CF9AE}" pid="19" name="MSIP_Label_9c86c25f-31f1-46f7-b4f9-3c53b1ed0b07_Name">
    <vt:lpwstr>Internal</vt:lpwstr>
  </property>
  <property fmtid="{D5CDD505-2E9C-101B-9397-08002B2CF9AE}" pid="20" name="MSIP_Label_9c86c25f-31f1-46f7-b4f9-3c53b1ed0b07_Application">
    <vt:lpwstr>Microsoft Azure Information Protection</vt:lpwstr>
  </property>
  <property fmtid="{D5CDD505-2E9C-101B-9397-08002B2CF9AE}" pid="21" name="MSIP_Label_9c86c25f-31f1-46f7-b4f9-3c53b1ed0b07_ActionId">
    <vt:lpwstr>2e951539-1113-4727-a76e-0633a652e8da</vt:lpwstr>
  </property>
  <property fmtid="{D5CDD505-2E9C-101B-9397-08002B2CF9AE}" pid="22" name="MSIP_Label_9c86c25f-31f1-46f7-b4f9-3c53b1ed0b07_Extended_MSFT_Method">
    <vt:lpwstr>Automatic</vt:lpwstr>
  </property>
  <property fmtid="{D5CDD505-2E9C-101B-9397-08002B2CF9AE}" pid="23" name="Sensitivity">
    <vt:lpwstr>Internal</vt:lpwstr>
  </property>
</Properties>
</file>